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3">
  <p:sldMasterIdLst>
    <p:sldMasterId id="2147483649" r:id="rId1"/>
    <p:sldMasterId id="2147484021" r:id="rId2"/>
    <p:sldMasterId id="2147484033" r:id="rId3"/>
  </p:sldMasterIdLst>
  <p:notesMasterIdLst>
    <p:notesMasterId r:id="rId11"/>
  </p:notesMasterIdLst>
  <p:handoutMasterIdLst>
    <p:handoutMasterId r:id="rId12"/>
  </p:handoutMasterIdLst>
  <p:sldIdLst>
    <p:sldId id="762" r:id="rId4"/>
    <p:sldId id="756" r:id="rId5"/>
    <p:sldId id="748" r:id="rId6"/>
    <p:sldId id="749" r:id="rId7"/>
    <p:sldId id="761" r:id="rId8"/>
    <p:sldId id="763" r:id="rId9"/>
    <p:sldId id="764" r:id="rId10"/>
  </p:sldIdLst>
  <p:sldSz cx="9144000" cy="5143500" type="screen16x9"/>
  <p:notesSz cx="6797675" cy="9928225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981">
          <p15:clr>
            <a:srgbClr val="A4A3A4"/>
          </p15:clr>
        </p15:guide>
        <p15:guide id="2" orient="horz" pos="1979">
          <p15:clr>
            <a:srgbClr val="A4A3A4"/>
          </p15:clr>
        </p15:guide>
        <p15:guide id="3" pos="113">
          <p15:clr>
            <a:srgbClr val="A4A3A4"/>
          </p15:clr>
        </p15:guide>
        <p15:guide id="4" pos="5647">
          <p15:clr>
            <a:srgbClr val="A4A3A4"/>
          </p15:clr>
        </p15:guide>
        <p15:guide id="5" pos="158">
          <p15:clr>
            <a:srgbClr val="A4A3A4"/>
          </p15:clr>
        </p15:guide>
        <p15:guide id="6" pos="2653">
          <p15:clr>
            <a:srgbClr val="A4A3A4"/>
          </p15:clr>
        </p15:guide>
        <p15:guide id="7" pos="567">
          <p15:clr>
            <a:srgbClr val="A4A3A4"/>
          </p15:clr>
        </p15:guide>
        <p15:guide id="8" orient="horz" pos="799">
          <p15:clr>
            <a:srgbClr val="A4A3A4"/>
          </p15:clr>
        </p15:guide>
        <p15:guide id="9" orient="horz" pos="1933">
          <p15:clr>
            <a:srgbClr val="A4A3A4"/>
          </p15:clr>
        </p15:guide>
        <p15:guide id="10" orient="horz" pos="2205">
          <p15:clr>
            <a:srgbClr val="A4A3A4"/>
          </p15:clr>
        </p15:guide>
        <p15:guide id="11" orient="horz" pos="1888">
          <p15:clr>
            <a:srgbClr val="A4A3A4"/>
          </p15:clr>
        </p15:guide>
        <p15:guide id="12" pos="3696">
          <p15:clr>
            <a:srgbClr val="A4A3A4"/>
          </p15:clr>
        </p15:guide>
        <p15:guide id="13" orient="horz" pos="736">
          <p15:clr>
            <a:srgbClr val="A4A3A4"/>
          </p15:clr>
        </p15:guide>
        <p15:guide id="14" orient="horz" pos="1484">
          <p15:clr>
            <a:srgbClr val="A4A3A4"/>
          </p15:clr>
        </p15:guide>
        <p15:guide id="15" orient="horz" pos="599">
          <p15:clr>
            <a:srgbClr val="A4A3A4"/>
          </p15:clr>
        </p15:guide>
        <p15:guide id="16" orient="horz" pos="1450">
          <p15:clr>
            <a:srgbClr val="A4A3A4"/>
          </p15:clr>
        </p15:guide>
        <p15:guide id="17" orient="horz" pos="1654">
          <p15:clr>
            <a:srgbClr val="A4A3A4"/>
          </p15:clr>
        </p15:guide>
        <p15:guide id="18" orient="horz" pos="141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3" userDrawn="1">
          <p15:clr>
            <a:srgbClr val="A4A3A4"/>
          </p15:clr>
        </p15:guide>
        <p15:guide id="2" pos="2138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Родионов Алексей Юрьевич" initials="РАЮ" lastIdx="1" clrIdx="0"/>
  <p:cmAuthor id="1" name="Жартанов Юрий Алексеевич" initials="ЖЮА" lastIdx="17" clrIdx="1"/>
  <p:cmAuthor id="2" name="Есин Петр Дмитриевич" initials="ЕПД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72A7"/>
    <a:srgbClr val="FFFF19"/>
    <a:srgbClr val="FF0500"/>
    <a:srgbClr val="4BACC6"/>
    <a:srgbClr val="F9922B"/>
    <a:srgbClr val="1FBCD1"/>
    <a:srgbClr val="F3F8FB"/>
    <a:srgbClr val="E8F1F8"/>
    <a:srgbClr val="FFC000"/>
    <a:srgbClr val="B1CF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05" autoAdjust="0"/>
    <p:restoredTop sz="94294" autoAdjust="0"/>
  </p:normalViewPr>
  <p:slideViewPr>
    <p:cSldViewPr showGuides="1">
      <p:cViewPr varScale="1">
        <p:scale>
          <a:sx n="93" d="100"/>
          <a:sy n="93" d="100"/>
        </p:scale>
        <p:origin x="-864" y="-102"/>
      </p:cViewPr>
      <p:guideLst>
        <p:guide orient="horz" pos="981"/>
        <p:guide orient="horz" pos="1979"/>
        <p:guide orient="horz" pos="799"/>
        <p:guide orient="horz" pos="1933"/>
        <p:guide orient="horz" pos="2205"/>
        <p:guide orient="horz" pos="1888"/>
        <p:guide orient="horz" pos="736"/>
        <p:guide orient="horz" pos="1484"/>
        <p:guide orient="horz" pos="599"/>
        <p:guide orient="horz" pos="1450"/>
        <p:guide orient="horz" pos="1654"/>
        <p:guide orient="horz" pos="1416"/>
        <p:guide pos="113"/>
        <p:guide pos="5647"/>
        <p:guide pos="158"/>
        <p:guide pos="2653"/>
        <p:guide pos="567"/>
        <p:guide pos="3696"/>
      </p:guideLst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howGuides="1">
      <p:cViewPr varScale="1">
        <p:scale>
          <a:sx n="67" d="100"/>
          <a:sy n="67" d="100"/>
        </p:scale>
        <p:origin x="-2784" y="-96"/>
      </p:cViewPr>
      <p:guideLst>
        <p:guide orient="horz" pos="3123"/>
        <p:guide orient="horz" pos="3127"/>
        <p:guide pos="213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5619263598735197E-2"/>
          <c:w val="1"/>
          <c:h val="0.770530797370344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9</c:f>
              <c:strCache>
                <c:ptCount val="1"/>
                <c:pt idx="0">
                  <c:v>Турбины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1.1494476541990799E-2"/>
                  <c:y val="0.1372039147973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F2E-4AE3-B5C1-4750B1BEFA1E}"/>
                </c:ext>
              </c:extLst>
            </c:dLbl>
            <c:dLbl>
              <c:idx val="2"/>
              <c:layout>
                <c:manualLayout>
                  <c:x val="0"/>
                  <c:y val="0.11930775199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F2E-4AE3-B5C1-4750B1BEFA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l">
                  <a:defRPr sz="1400" b="1" i="0" u="none" strike="noStrike" kern="1200" baseline="0">
                    <a:solidFill>
                      <a:srgbClr val="2972A7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B$8:$E$8</c:f>
              <c:numCache>
                <c:formatCode>General</c:formatCode>
                <c:ptCount val="4"/>
                <c:pt idx="0">
                  <c:v>1985</c:v>
                </c:pt>
                <c:pt idx="1">
                  <c:v>1995</c:v>
                </c:pt>
                <c:pt idx="2">
                  <c:v>2005</c:v>
                </c:pt>
                <c:pt idx="3">
                  <c:v>2016</c:v>
                </c:pt>
              </c:numCache>
            </c:numRef>
          </c:cat>
          <c:val>
            <c:numRef>
              <c:f>Лист1!$B$9:$E$9</c:f>
              <c:numCache>
                <c:formatCode>_-* #,##0\ _₽_-;\-* #,##0\ _₽_-;_-* "-"??\ _₽_-;_-@_-</c:formatCode>
                <c:ptCount val="4"/>
                <c:pt idx="0">
                  <c:v>660</c:v>
                </c:pt>
                <c:pt idx="1">
                  <c:v>1160</c:v>
                </c:pt>
                <c:pt idx="2">
                  <c:v>1180</c:v>
                </c:pt>
                <c:pt idx="3">
                  <c:v>12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39C-44B0-B013-B87E86957F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7"/>
        <c:axId val="113198592"/>
        <c:axId val="113200128"/>
      </c:barChart>
      <c:catAx>
        <c:axId val="113198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13200128"/>
        <c:crosses val="autoZero"/>
        <c:auto val="1"/>
        <c:lblAlgn val="ctr"/>
        <c:lblOffset val="100"/>
        <c:noMultiLvlLbl val="0"/>
      </c:catAx>
      <c:valAx>
        <c:axId val="113200128"/>
        <c:scaling>
          <c:orientation val="minMax"/>
        </c:scaling>
        <c:delete val="1"/>
        <c:axPos val="l"/>
        <c:numFmt formatCode="_-* #,##0\ _₽_-;\-* #,##0\ _₽_-;_-* &quot;-&quot;??\ _₽_-;_-@_-" sourceLinked="1"/>
        <c:majorTickMark val="none"/>
        <c:minorTickMark val="none"/>
        <c:tickLblPos val="nextTo"/>
        <c:crossAx val="113198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336699"/>
          </a:solidFill>
          <a:latin typeface="Arial Narrow" panose="020B0606020202030204" pitchFamily="34" charset="0"/>
        </a:defRPr>
      </a:pPr>
      <a:endParaRPr lang="ru-RU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C6A259-B271-3C4E-8E5C-E8C2C791ACD6}" type="doc">
      <dgm:prSet loTypeId="urn:microsoft.com/office/officeart/2005/8/layout/vList2" loCatId="" qsTypeId="urn:microsoft.com/office/officeart/2005/8/quickstyle/simple4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B55A77E5-DC0D-9642-AEBA-2501C3C0AD58}">
      <dgm:prSet phldrT="[Текст]" custT="1"/>
      <dgm:spPr/>
      <dgm:t>
        <a:bodyPr/>
        <a:lstStyle/>
        <a:p>
          <a:pPr algn="ctr"/>
          <a:r>
            <a:rPr lang="ru-RU" sz="1800" dirty="0" smtClean="0">
              <a:latin typeface="Arial Narrow"/>
              <a:cs typeface="Arial Narrow"/>
            </a:rPr>
            <a:t>Парижское соглашение</a:t>
          </a:r>
          <a:endParaRPr lang="ru-RU" sz="1800" dirty="0">
            <a:latin typeface="Arial Narrow"/>
            <a:cs typeface="Arial Narrow"/>
          </a:endParaRPr>
        </a:p>
      </dgm:t>
    </dgm:pt>
    <dgm:pt modelId="{A806A04A-1291-244E-BB44-19F196A11E1A}" type="parTrans" cxnId="{1CFD1620-4683-1B4E-940E-C708ECC2C37D}">
      <dgm:prSet/>
      <dgm:spPr/>
      <dgm:t>
        <a:bodyPr/>
        <a:lstStyle/>
        <a:p>
          <a:endParaRPr lang="ru-RU">
            <a:latin typeface="Arial Narrow"/>
            <a:cs typeface="Arial Narrow"/>
          </a:endParaRPr>
        </a:p>
      </dgm:t>
    </dgm:pt>
    <dgm:pt modelId="{9F632706-947B-034F-8B5F-09ED20E4ACE2}" type="sibTrans" cxnId="{1CFD1620-4683-1B4E-940E-C708ECC2C37D}">
      <dgm:prSet/>
      <dgm:spPr/>
      <dgm:t>
        <a:bodyPr/>
        <a:lstStyle/>
        <a:p>
          <a:endParaRPr lang="ru-RU">
            <a:latin typeface="Arial Narrow"/>
            <a:cs typeface="Arial Narrow"/>
          </a:endParaRPr>
        </a:p>
      </dgm:t>
    </dgm:pt>
    <dgm:pt modelId="{AA0AFEBB-6077-A04F-91E3-06F11E12D3E9}">
      <dgm:prSet phldrT="[Текст]" custT="1"/>
      <dgm:spPr/>
      <dgm:t>
        <a:bodyPr/>
        <a:lstStyle/>
        <a:p>
          <a:pPr algn="just"/>
          <a:r>
            <a:rPr lang="ru-RU" sz="1800" dirty="0" smtClean="0">
              <a:latin typeface="Arial Narrow"/>
              <a:cs typeface="Arial Narrow"/>
            </a:rPr>
            <a:t>удержание роста глобальной средней температуры «намного ниже» 2 °</a:t>
          </a:r>
          <a:r>
            <a:rPr lang="ru-RU" sz="1800" dirty="0" err="1" smtClean="0">
              <a:latin typeface="Arial Narrow"/>
              <a:cs typeface="Arial Narrow"/>
            </a:rPr>
            <a:t>C</a:t>
          </a:r>
          <a:endParaRPr lang="ru-RU" sz="1800" dirty="0">
            <a:latin typeface="Arial Narrow"/>
            <a:cs typeface="Arial Narrow"/>
          </a:endParaRPr>
        </a:p>
      </dgm:t>
    </dgm:pt>
    <dgm:pt modelId="{C2A2A234-56D1-CB4D-8384-AE2DA58E4219}" type="parTrans" cxnId="{AE3ED1F4-223A-F24B-B250-7CA9B2E2993A}">
      <dgm:prSet/>
      <dgm:spPr/>
      <dgm:t>
        <a:bodyPr/>
        <a:lstStyle/>
        <a:p>
          <a:endParaRPr lang="ru-RU">
            <a:latin typeface="Arial Narrow"/>
            <a:cs typeface="Arial Narrow"/>
          </a:endParaRPr>
        </a:p>
      </dgm:t>
    </dgm:pt>
    <dgm:pt modelId="{B1C46A8D-C730-C24E-9451-FDF6EBC1960C}" type="sibTrans" cxnId="{AE3ED1F4-223A-F24B-B250-7CA9B2E2993A}">
      <dgm:prSet/>
      <dgm:spPr/>
      <dgm:t>
        <a:bodyPr/>
        <a:lstStyle/>
        <a:p>
          <a:endParaRPr lang="ru-RU">
            <a:latin typeface="Arial Narrow"/>
            <a:cs typeface="Arial Narrow"/>
          </a:endParaRPr>
        </a:p>
      </dgm:t>
    </dgm:pt>
    <dgm:pt modelId="{BBF0BA81-2695-2846-8FAC-D3F406F32428}">
      <dgm:prSet phldrT="[Текст]" custT="1"/>
      <dgm:spPr/>
      <dgm:t>
        <a:bodyPr/>
        <a:lstStyle/>
        <a:p>
          <a:pPr algn="just"/>
          <a:r>
            <a:rPr lang="ru-RU" sz="1800" b="0" i="0" spc="0" dirty="0" smtClean="0">
              <a:latin typeface="Arial Narrow"/>
              <a:cs typeface="Arial Narrow"/>
            </a:rPr>
            <a:t>ограничение роста температуры величиной 1,5 °</a:t>
          </a:r>
          <a:r>
            <a:rPr lang="ru-RU" sz="1800" b="0" i="0" spc="0" dirty="0" err="1" smtClean="0">
              <a:latin typeface="Arial Narrow"/>
              <a:cs typeface="Arial Narrow"/>
            </a:rPr>
            <a:t>C</a:t>
          </a:r>
          <a:endParaRPr lang="ru-RU" sz="1800" b="0" i="0" spc="0" dirty="0">
            <a:latin typeface="Arial Narrow"/>
            <a:cs typeface="Arial Narrow"/>
          </a:endParaRPr>
        </a:p>
      </dgm:t>
    </dgm:pt>
    <dgm:pt modelId="{3F90208B-9BA6-CE4A-8615-AC0597D2960F}" type="parTrans" cxnId="{32FE6C58-2F69-6C41-B5EC-3617CC159D42}">
      <dgm:prSet/>
      <dgm:spPr/>
      <dgm:t>
        <a:bodyPr/>
        <a:lstStyle/>
        <a:p>
          <a:endParaRPr lang="ru-RU">
            <a:latin typeface="Arial Narrow"/>
            <a:cs typeface="Arial Narrow"/>
          </a:endParaRPr>
        </a:p>
      </dgm:t>
    </dgm:pt>
    <dgm:pt modelId="{DDDD3628-7831-DD45-A051-2E0192F0CAB1}" type="sibTrans" cxnId="{32FE6C58-2F69-6C41-B5EC-3617CC159D42}">
      <dgm:prSet/>
      <dgm:spPr/>
      <dgm:t>
        <a:bodyPr/>
        <a:lstStyle/>
        <a:p>
          <a:endParaRPr lang="ru-RU">
            <a:latin typeface="Arial Narrow"/>
            <a:cs typeface="Arial Narrow"/>
          </a:endParaRPr>
        </a:p>
      </dgm:t>
    </dgm:pt>
    <dgm:pt modelId="{EEAE40C8-CF4D-AE4A-B40E-26878F452DF7}" type="pres">
      <dgm:prSet presAssocID="{01C6A259-B271-3C4E-8E5C-E8C2C791ACD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13ECE3E-545E-064F-ADE7-53D0E4490AFD}" type="pres">
      <dgm:prSet presAssocID="{B55A77E5-DC0D-9642-AEBA-2501C3C0AD58}" presName="parentText" presStyleLbl="node1" presStyleIdx="0" presStyleCnt="1" custScaleX="100000" custScaleY="40368" custLinFactNeighborX="4918" custLinFactNeighborY="-3798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F2563C-85AA-FF41-9B45-D7707FA908CD}" type="pres">
      <dgm:prSet presAssocID="{B55A77E5-DC0D-9642-AEBA-2501C3C0AD58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2FE6C58-2F69-6C41-B5EC-3617CC159D42}" srcId="{B55A77E5-DC0D-9642-AEBA-2501C3C0AD58}" destId="{BBF0BA81-2695-2846-8FAC-D3F406F32428}" srcOrd="1" destOrd="0" parTransId="{3F90208B-9BA6-CE4A-8615-AC0597D2960F}" sibTransId="{DDDD3628-7831-DD45-A051-2E0192F0CAB1}"/>
    <dgm:cxn modelId="{28468BCA-CBD9-6A48-8111-5A9B779A4127}" type="presOf" srcId="{BBF0BA81-2695-2846-8FAC-D3F406F32428}" destId="{DFF2563C-85AA-FF41-9B45-D7707FA908CD}" srcOrd="0" destOrd="1" presId="urn:microsoft.com/office/officeart/2005/8/layout/vList2"/>
    <dgm:cxn modelId="{254D2F94-9525-F345-AD13-96EB843E5594}" type="presOf" srcId="{AA0AFEBB-6077-A04F-91E3-06F11E12D3E9}" destId="{DFF2563C-85AA-FF41-9B45-D7707FA908CD}" srcOrd="0" destOrd="0" presId="urn:microsoft.com/office/officeart/2005/8/layout/vList2"/>
    <dgm:cxn modelId="{1CFD1620-4683-1B4E-940E-C708ECC2C37D}" srcId="{01C6A259-B271-3C4E-8E5C-E8C2C791ACD6}" destId="{B55A77E5-DC0D-9642-AEBA-2501C3C0AD58}" srcOrd="0" destOrd="0" parTransId="{A806A04A-1291-244E-BB44-19F196A11E1A}" sibTransId="{9F632706-947B-034F-8B5F-09ED20E4ACE2}"/>
    <dgm:cxn modelId="{752FA93E-4429-8D4C-B5D9-D5A2C9ADD9A0}" type="presOf" srcId="{B55A77E5-DC0D-9642-AEBA-2501C3C0AD58}" destId="{A13ECE3E-545E-064F-ADE7-53D0E4490AFD}" srcOrd="0" destOrd="0" presId="urn:microsoft.com/office/officeart/2005/8/layout/vList2"/>
    <dgm:cxn modelId="{DF4F57B9-508F-804F-B6B3-C018A3DF5237}" type="presOf" srcId="{01C6A259-B271-3C4E-8E5C-E8C2C791ACD6}" destId="{EEAE40C8-CF4D-AE4A-B40E-26878F452DF7}" srcOrd="0" destOrd="0" presId="urn:microsoft.com/office/officeart/2005/8/layout/vList2"/>
    <dgm:cxn modelId="{AE3ED1F4-223A-F24B-B250-7CA9B2E2993A}" srcId="{B55A77E5-DC0D-9642-AEBA-2501C3C0AD58}" destId="{AA0AFEBB-6077-A04F-91E3-06F11E12D3E9}" srcOrd="0" destOrd="0" parTransId="{C2A2A234-56D1-CB4D-8384-AE2DA58E4219}" sibTransId="{B1C46A8D-C730-C24E-9451-FDF6EBC1960C}"/>
    <dgm:cxn modelId="{3B9CBA27-03FF-724A-8C6E-87C4D3C2F1F0}" type="presParOf" srcId="{EEAE40C8-CF4D-AE4A-B40E-26878F452DF7}" destId="{A13ECE3E-545E-064F-ADE7-53D0E4490AFD}" srcOrd="0" destOrd="0" presId="urn:microsoft.com/office/officeart/2005/8/layout/vList2"/>
    <dgm:cxn modelId="{A7F957E1-574C-D54D-A205-E8C5752645DB}" type="presParOf" srcId="{EEAE40C8-CF4D-AE4A-B40E-26878F452DF7}" destId="{DFF2563C-85AA-FF41-9B45-D7707FA908CD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13ECE3E-545E-064F-ADE7-53D0E4490AFD}">
      <dsp:nvSpPr>
        <dsp:cNvPr id="0" name=""/>
        <dsp:cNvSpPr/>
      </dsp:nvSpPr>
      <dsp:spPr>
        <a:xfrm>
          <a:off x="0" y="0"/>
          <a:ext cx="3672408" cy="491197"/>
        </a:xfrm>
        <a:prstGeom prst="roundRect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 Narrow"/>
              <a:cs typeface="Arial Narrow"/>
            </a:rPr>
            <a:t>Парижское соглашение</a:t>
          </a:r>
          <a:endParaRPr lang="ru-RU" sz="1800" kern="1200" dirty="0">
            <a:latin typeface="Arial Narrow"/>
            <a:cs typeface="Arial Narrow"/>
          </a:endParaRPr>
        </a:p>
      </dsp:txBody>
      <dsp:txXfrm>
        <a:off x="23978" y="23978"/>
        <a:ext cx="3624452" cy="443241"/>
      </dsp:txXfrm>
    </dsp:sp>
    <dsp:sp modelId="{DFF2563C-85AA-FF41-9B45-D7707FA908CD}">
      <dsp:nvSpPr>
        <dsp:cNvPr id="0" name=""/>
        <dsp:cNvSpPr/>
      </dsp:nvSpPr>
      <dsp:spPr>
        <a:xfrm>
          <a:off x="0" y="642784"/>
          <a:ext cx="3672408" cy="13118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6599" tIns="22860" rIns="128016" bIns="22860" numCol="1" spcCol="1270" anchor="t" anchorCtr="0">
          <a:noAutofit/>
        </a:bodyPr>
        <a:lstStyle/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 smtClean="0">
              <a:latin typeface="Arial Narrow"/>
              <a:cs typeface="Arial Narrow"/>
            </a:rPr>
            <a:t>удержание роста глобальной средней температуры «намного ниже» 2 °</a:t>
          </a:r>
          <a:r>
            <a:rPr lang="ru-RU" sz="1800" kern="1200" dirty="0" err="1" smtClean="0">
              <a:latin typeface="Arial Narrow"/>
              <a:cs typeface="Arial Narrow"/>
            </a:rPr>
            <a:t>C</a:t>
          </a:r>
          <a:endParaRPr lang="ru-RU" sz="1800" kern="1200" dirty="0">
            <a:latin typeface="Arial Narrow"/>
            <a:cs typeface="Arial Narrow"/>
          </a:endParaRPr>
        </a:p>
        <a:p>
          <a:pPr marL="171450" lvl="1" indent="-171450" algn="just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b="0" i="0" kern="1200" spc="0" dirty="0" smtClean="0">
              <a:latin typeface="Arial Narrow"/>
              <a:cs typeface="Arial Narrow"/>
            </a:rPr>
            <a:t>ограничение роста температуры величиной 1,5 °</a:t>
          </a:r>
          <a:r>
            <a:rPr lang="ru-RU" sz="1800" b="0" i="0" kern="1200" spc="0" dirty="0" err="1" smtClean="0">
              <a:latin typeface="Arial Narrow"/>
              <a:cs typeface="Arial Narrow"/>
            </a:rPr>
            <a:t>C</a:t>
          </a:r>
          <a:endParaRPr lang="ru-RU" sz="1800" b="0" i="0" kern="1200" spc="0" dirty="0">
            <a:latin typeface="Arial Narrow"/>
            <a:cs typeface="Arial Narrow"/>
          </a:endParaRPr>
        </a:p>
      </dsp:txBody>
      <dsp:txXfrm>
        <a:off x="0" y="642784"/>
        <a:ext cx="3672408" cy="13118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346" cy="496253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44" y="0"/>
            <a:ext cx="2946345" cy="496253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/>
            </a:lvl1pPr>
          </a:lstStyle>
          <a:p>
            <a:fld id="{B7437FA6-6B73-4FD6-8AB1-EAEDDAB4E0DD}" type="datetimeFigureOut">
              <a:rPr lang="ru-RU" smtClean="0"/>
              <a:t>21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387"/>
            <a:ext cx="2946346" cy="496253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44" y="9430387"/>
            <a:ext cx="2946345" cy="496253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/>
            </a:lvl1pPr>
          </a:lstStyle>
          <a:p>
            <a:fld id="{B85DA445-9790-4485-BF7C-350BFF1890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62521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400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1" rIns="91423" bIns="45711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9" y="0"/>
            <a:ext cx="2946400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1" rIns="91423" bIns="4571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2" y="4716705"/>
            <a:ext cx="5438775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1" rIns="91423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221"/>
            <a:ext cx="2946400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1" rIns="91423" bIns="45711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9" y="9430221"/>
            <a:ext cx="2946400" cy="49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3" tIns="45711" rIns="91423" bIns="4571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BCF3ADD-A7E9-4F90-846B-6F8D243F78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07141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CF3ADD-A7E9-4F90-846B-6F8D243F787A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3969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7782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782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798" indent="-285692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2766" indent="-228554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99873" indent="-228554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6980" indent="-228554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086" indent="-22855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194" indent="-22855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8300" indent="-22855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5407" indent="-22855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57266FCB-9381-4DF6-B190-CA7898541CCE}" type="slidenum">
              <a:rPr lang="ru-RU" altLang="ru-RU" smtClean="0"/>
              <a:pPr/>
              <a:t>3</a:t>
            </a:fld>
            <a:endParaRPr lang="ru-RU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266"/>
            <a:ext cx="1674813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5919"/>
            <a:ext cx="8280400" cy="773906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3404"/>
            <a:ext cx="3743325" cy="486965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1164321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454C61-CE3F-481A-925B-5B6450CABA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847015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4667A1-E3B5-4928-95A9-A003F5A97E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603332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8255726" y="4866502"/>
            <a:ext cx="7103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</a:rPr>
              <a:t>2016 год</a:t>
            </a:r>
            <a:endParaRPr lang="ru-RU" sz="1200" b="1" dirty="0">
              <a:solidFill>
                <a:srgbClr val="2972A7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5965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850" y="220266"/>
            <a:ext cx="1674813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5919"/>
            <a:ext cx="8280400" cy="773906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3404"/>
            <a:ext cx="3743325" cy="486965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6663819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5FAF69-F49D-4112-A665-3234072B7C5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10893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FD7923-61AA-43FB-87D8-664A85659DC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7472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153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153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687629-A8C7-4BDC-939D-B760E1F7FF5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20009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DDA68-B024-444C-ACB9-315B4F45CEF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501003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8041E8-9986-4E7E-99A2-58F46043663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48957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562B87-93CF-4C56-AA7C-D3F4229F77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59278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86070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5FAF69-F49D-4112-A665-3234072B7C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774787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8B97B1-A414-4547-9882-2CD78540705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58782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89589-BFE4-42E3-BC30-177A5C3EE32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05005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454C61-CE3F-481A-925B-5B6450CABA5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48780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4667A1-E3B5-4928-95A9-A003F5A97E5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449384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20266"/>
            <a:ext cx="1674813" cy="111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1635919"/>
            <a:ext cx="8280400" cy="773906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2463404"/>
            <a:ext cx="3743325" cy="486965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4036810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B12C47-DED8-4315-90BC-886641B01C11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857311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07EAA0-0132-4788-9321-BE4927A6E2F6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102785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153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153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8B26D7-9924-416C-9D34-6AA14D16D054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674585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71A159-3301-4907-A770-35F38CD74E25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85241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E933C3-F150-48B4-AD17-91741ED1B457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96720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FD7923-61AA-43FB-87D8-664A85659D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8262983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EBAD58-BA55-47DF-BA2F-18FD5FC0B6C2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8779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D529C0-D5F7-4551-8BB1-CDBDBC5835BD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84869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CAF68F-409F-4A57-A2F0-9661F4A892D3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553220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67844E-5B84-4FD5-BB2B-BBA36770D59C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496960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47053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4" y="0"/>
            <a:ext cx="6167437" cy="47053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051290-8A9F-4915-A351-411ECB242C4A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306686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75233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idx="1"/>
          </p:nvPr>
        </p:nvSpPr>
        <p:spPr bwMode="auto">
          <a:xfrm>
            <a:off x="457200" y="1129904"/>
            <a:ext cx="8208000" cy="3375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2000" tIns="72000" rIns="72000" bIns="72000"/>
          <a:lstStyle>
            <a:lvl1pPr>
              <a:defRPr sz="1600"/>
            </a:lvl1pPr>
            <a:lvl2pPr>
              <a:defRPr sz="1600"/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altLang="ko-KR" smtClean="0"/>
              <a:t>Образец текста</a:t>
            </a:r>
          </a:p>
          <a:p>
            <a:pPr lvl="1"/>
            <a:r>
              <a:rPr lang="ru-RU" altLang="ko-KR" smtClean="0"/>
              <a:t>Второй уровень</a:t>
            </a:r>
          </a:p>
          <a:p>
            <a:pPr lvl="2"/>
            <a:r>
              <a:rPr lang="ru-RU" altLang="ko-KR" smtClean="0"/>
              <a:t>Третий уровень</a:t>
            </a:r>
          </a:p>
          <a:p>
            <a:pPr lvl="3"/>
            <a:r>
              <a:rPr lang="ru-RU" altLang="ko-KR" smtClean="0"/>
              <a:t>Четвертый уровень</a:t>
            </a:r>
          </a:p>
          <a:p>
            <a:pPr lvl="4"/>
            <a:r>
              <a:rPr lang="ru-RU" altLang="ko-KR" smtClean="0"/>
              <a:t>Пятый уровень</a:t>
            </a:r>
            <a:endParaRPr lang="en-US" altLang="ko-KR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21726" y="4860132"/>
            <a:ext cx="422275" cy="283369"/>
          </a:xfrm>
        </p:spPr>
        <p:txBody>
          <a:bodyPr/>
          <a:lstStyle>
            <a:lvl1pPr>
              <a:defRPr sz="1400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36CBCE74-9633-4C0A-9AF1-89B96A3894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6448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844153"/>
            <a:ext cx="4135437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844153"/>
            <a:ext cx="4137025" cy="386119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687629-A8C7-4BDC-939D-B760E1F7FF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167233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DDA68-B024-444C-ACB9-315B4F45CE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17925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8041E8-9986-4E7E-99A2-58F4604366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406867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562B87-93CF-4C56-AA7C-D3F4229F77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318072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8B97B1-A414-4547-9882-2CD7854070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277722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B89589-BFE4-42E3-BC30-177A5C3EE32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994102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8.jpeg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075152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0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36319"/>
            <a:ext cx="627062" cy="283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C465A52-76A2-4347-A99F-48B45BACCC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153"/>
            <a:ext cx="8424862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772"/>
            <a:ext cx="887412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  <p:sldLayoutId id="2147484046" r:id="rId12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36319"/>
            <a:ext cx="627062" cy="283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C465A52-76A2-4347-A99F-48B45BACCC9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153"/>
            <a:ext cx="8424862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5763" y="79772"/>
            <a:ext cx="887412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780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6101033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4836319"/>
            <a:ext cx="627062" cy="283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AF549B6-3209-444F-9574-ED20CC657253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844153"/>
            <a:ext cx="8424862" cy="3861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79772"/>
            <a:ext cx="887412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8615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3" r:id="rId10"/>
    <p:sldLayoutId id="2147484044" r:id="rId11"/>
    <p:sldLayoutId id="214748404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23.png"/><Relationship Id="rId18" Type="http://schemas.microsoft.com/office/2007/relationships/hdphoto" Target="../media/hdphoto8.wdp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7.png"/><Relationship Id="rId7" Type="http://schemas.openxmlformats.org/officeDocument/2006/relationships/image" Target="../media/image20.png"/><Relationship Id="rId12" Type="http://schemas.microsoft.com/office/2007/relationships/hdphoto" Target="../media/hdphoto5.wdp"/><Relationship Id="rId17" Type="http://schemas.openxmlformats.org/officeDocument/2006/relationships/image" Target="../media/image25.png"/><Relationship Id="rId25" Type="http://schemas.microsoft.com/office/2007/relationships/hdphoto" Target="../media/hdphoto11.wdp"/><Relationship Id="rId2" Type="http://schemas.openxmlformats.org/officeDocument/2006/relationships/tags" Target="../tags/tag6.xml"/><Relationship Id="rId16" Type="http://schemas.microsoft.com/office/2007/relationships/hdphoto" Target="../media/hdphoto7.wdp"/><Relationship Id="rId20" Type="http://schemas.microsoft.com/office/2007/relationships/hdphoto" Target="../media/hdphoto9.wdp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11" Type="http://schemas.openxmlformats.org/officeDocument/2006/relationships/image" Target="../media/image22.png"/><Relationship Id="rId24" Type="http://schemas.openxmlformats.org/officeDocument/2006/relationships/image" Target="../media/image29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24.png"/><Relationship Id="rId23" Type="http://schemas.microsoft.com/office/2007/relationships/hdphoto" Target="../media/hdphoto10.wdp"/><Relationship Id="rId10" Type="http://schemas.microsoft.com/office/2007/relationships/hdphoto" Target="../media/hdphoto4.wdp"/><Relationship Id="rId19" Type="http://schemas.openxmlformats.org/officeDocument/2006/relationships/image" Target="../media/image2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1.png"/><Relationship Id="rId14" Type="http://schemas.microsoft.com/office/2007/relationships/hdphoto" Target="../media/hdphoto6.wdp"/><Relationship Id="rId22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2.wdp"/><Relationship Id="rId3" Type="http://schemas.openxmlformats.org/officeDocument/2006/relationships/image" Target="../media/image30.jpe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microsoft.com/office/2007/relationships/hdphoto" Target="../media/hdphoto9.wdp"/><Relationship Id="rId11" Type="http://schemas.openxmlformats.org/officeDocument/2006/relationships/image" Target="../media/image35.png"/><Relationship Id="rId5" Type="http://schemas.openxmlformats.org/officeDocument/2006/relationships/image" Target="../media/image31.png"/><Relationship Id="rId10" Type="http://schemas.openxmlformats.org/officeDocument/2006/relationships/image" Target="../media/image34.png"/><Relationship Id="rId4" Type="http://schemas.openxmlformats.org/officeDocument/2006/relationships/chart" Target="../charts/chart1.xml"/><Relationship Id="rId9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jpeg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3.wdp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-6288"/>
            <a:ext cx="8064896" cy="4093860"/>
          </a:xfrm>
          <a:prstGeom prst="rect">
            <a:avLst/>
          </a:prstGeom>
          <a:ln>
            <a:noFill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903" y="3651870"/>
            <a:ext cx="8785097" cy="882473"/>
          </a:xfrm>
          <a:prstGeom prst="rect">
            <a:avLst/>
          </a:prstGeom>
        </p:spPr>
      </p:pic>
      <p:sp>
        <p:nvSpPr>
          <p:cNvPr id="6" name="Объект 2"/>
          <p:cNvSpPr txBox="1">
            <a:spLocks/>
          </p:cNvSpPr>
          <p:nvPr/>
        </p:nvSpPr>
        <p:spPr>
          <a:xfrm>
            <a:off x="251520" y="4443958"/>
            <a:ext cx="1584176" cy="5596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5"/>
              </a:buBlip>
              <a:defRPr kumimoji="1" sz="16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6"/>
              </a:buBlip>
              <a:defRPr kumimoji="1" sz="14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6"/>
              </a:buBlip>
              <a:defRPr kumimoji="1"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2" indent="0" hangingPunct="1">
              <a:lnSpc>
                <a:spcPct val="90000"/>
              </a:lnSpc>
              <a:spcBef>
                <a:spcPts val="300"/>
              </a:spcBef>
              <a:buSzPct val="100000"/>
              <a:buNone/>
            </a:pPr>
            <a:r>
              <a:rPr lang="ru-RU" sz="1600" kern="0" dirty="0" smtClean="0">
                <a:solidFill>
                  <a:schemeClr val="accent6">
                    <a:lumMod val="75000"/>
                  </a:schemeClr>
                </a:solidFill>
                <a:latin typeface="Arial Narrow"/>
                <a:ea typeface="Yu Gothic UI Light" panose="020B0604020202020204" charset="-128"/>
                <a:cs typeface="Arial Narrow"/>
              </a:rPr>
              <a:t>А.С. Корчагин</a:t>
            </a:r>
          </a:p>
          <a:p>
            <a:pPr marL="0" lvl="2" indent="0" hangingPunct="1">
              <a:lnSpc>
                <a:spcPct val="90000"/>
              </a:lnSpc>
              <a:spcBef>
                <a:spcPts val="300"/>
              </a:spcBef>
              <a:buSzPct val="100000"/>
              <a:buNone/>
            </a:pPr>
            <a:r>
              <a:rPr lang="ru-RU" sz="1600" kern="0" dirty="0" smtClean="0">
                <a:solidFill>
                  <a:schemeClr val="accent6">
                    <a:lumMod val="75000"/>
                  </a:schemeClr>
                </a:solidFill>
                <a:latin typeface="Arial Narrow"/>
                <a:ea typeface="Yu Gothic UI Light" panose="020B0604020202020204" charset="-128"/>
                <a:cs typeface="Arial Narrow"/>
              </a:rPr>
              <a:t>АО «</a:t>
            </a:r>
            <a:r>
              <a:rPr lang="ru-RU" sz="1600" kern="0" dirty="0" err="1" smtClean="0">
                <a:solidFill>
                  <a:schemeClr val="accent6">
                    <a:lumMod val="75000"/>
                  </a:schemeClr>
                </a:solidFill>
                <a:latin typeface="Arial Narrow"/>
                <a:ea typeface="Yu Gothic UI Light" panose="020B0604020202020204" charset="-128"/>
                <a:cs typeface="Arial Narrow"/>
              </a:rPr>
              <a:t>НоваВинд</a:t>
            </a:r>
            <a:r>
              <a:rPr lang="ru-RU" sz="1600" kern="0" dirty="0" smtClean="0">
                <a:solidFill>
                  <a:schemeClr val="accent6">
                    <a:lumMod val="75000"/>
                  </a:schemeClr>
                </a:solidFill>
                <a:latin typeface="Arial Narrow"/>
                <a:ea typeface="Yu Gothic UI Light" panose="020B0604020202020204" charset="-128"/>
                <a:cs typeface="Arial Narrow"/>
              </a:rPr>
              <a:t>»</a:t>
            </a:r>
            <a:endParaRPr lang="ru-RU" sz="1600" kern="0" dirty="0">
              <a:solidFill>
                <a:schemeClr val="accent6">
                  <a:lumMod val="75000"/>
                </a:schemeClr>
              </a:solidFill>
              <a:latin typeface="Arial Narrow"/>
              <a:ea typeface="Yu Gothic UI Light" panose="020B0604020202020204" charset="-128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149962188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Овал 215"/>
          <p:cNvSpPr/>
          <p:nvPr/>
        </p:nvSpPr>
        <p:spPr>
          <a:xfrm>
            <a:off x="393915" y="905986"/>
            <a:ext cx="2294540" cy="1720905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100000">
                <a:schemeClr val="accent3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7" name="Овал 216"/>
          <p:cNvSpPr/>
          <p:nvPr/>
        </p:nvSpPr>
        <p:spPr>
          <a:xfrm>
            <a:off x="1931916" y="888465"/>
            <a:ext cx="1120766" cy="840575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8" name="Picture 2" descr="S:\Ресурсы подразделений\Блок директора по стратегии и инвестициям\Аналитический отдел\Презентации\2017 03 14 Закупки по ветру\rf1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19" t="13363" r="10293" b="15413"/>
          <a:stretch/>
        </p:blipFill>
        <p:spPr bwMode="auto">
          <a:xfrm>
            <a:off x="1150454" y="1368677"/>
            <a:ext cx="781462" cy="598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9" name="TextBox 218"/>
          <p:cNvSpPr txBox="1"/>
          <p:nvPr/>
        </p:nvSpPr>
        <p:spPr>
          <a:xfrm>
            <a:off x="393915" y="2038267"/>
            <a:ext cx="229454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defRPr>
            </a:lvl1pPr>
          </a:lstStyle>
          <a:p>
            <a:pPr algn="ctr"/>
            <a:r>
              <a:rPr lang="ru-RU" sz="1200" dirty="0" smtClean="0"/>
              <a:t>Постановление Правительства РФ</a:t>
            </a:r>
            <a:r>
              <a:rPr lang="ru-RU" sz="1200" baseline="30000" dirty="0" smtClean="0"/>
              <a:t>1)</a:t>
            </a:r>
            <a:r>
              <a:rPr lang="ru-RU" sz="1200" dirty="0"/>
              <a:t> </a:t>
            </a:r>
            <a:r>
              <a:rPr lang="ru-RU" sz="1200" dirty="0" smtClean="0"/>
              <a:t>№ </a:t>
            </a:r>
            <a:r>
              <a:rPr lang="ru-RU" sz="1200" dirty="0"/>
              <a:t>449 от 28.05.2013 «О механизме стимулирования </a:t>
            </a:r>
            <a:r>
              <a:rPr lang="ru-RU" sz="1200" dirty="0" smtClean="0"/>
              <a:t>ВИЭ …»</a:t>
            </a:r>
            <a:endParaRPr lang="ru-RU" sz="1200" dirty="0"/>
          </a:p>
        </p:txBody>
      </p:sp>
      <p:sp>
        <p:nvSpPr>
          <p:cNvPr id="220" name="Овал 219"/>
          <p:cNvSpPr/>
          <p:nvPr/>
        </p:nvSpPr>
        <p:spPr>
          <a:xfrm>
            <a:off x="1277092" y="765559"/>
            <a:ext cx="470934" cy="353201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1" name="Овал 220"/>
          <p:cNvSpPr/>
          <p:nvPr/>
        </p:nvSpPr>
        <p:spPr>
          <a:xfrm>
            <a:off x="533926" y="960754"/>
            <a:ext cx="463998" cy="347999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2" name="Овал 221"/>
          <p:cNvSpPr/>
          <p:nvPr/>
        </p:nvSpPr>
        <p:spPr>
          <a:xfrm>
            <a:off x="297209" y="1584854"/>
            <a:ext cx="229346" cy="17201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3" name="TextBox 222"/>
          <p:cNvSpPr txBox="1"/>
          <p:nvPr/>
        </p:nvSpPr>
        <p:spPr>
          <a:xfrm>
            <a:off x="1413772" y="896773"/>
            <a:ext cx="1975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defRPr>
            </a:lvl1pPr>
          </a:lstStyle>
          <a:p>
            <a:r>
              <a:rPr lang="ru-RU" sz="1050" dirty="0" smtClean="0"/>
              <a:t>…</a:t>
            </a:r>
            <a:endParaRPr lang="ru-RU" sz="1050" dirty="0"/>
          </a:p>
        </p:txBody>
      </p:sp>
      <p:sp>
        <p:nvSpPr>
          <p:cNvPr id="224" name="TextBox 223"/>
          <p:cNvSpPr txBox="1"/>
          <p:nvPr/>
        </p:nvSpPr>
        <p:spPr>
          <a:xfrm>
            <a:off x="667138" y="1089367"/>
            <a:ext cx="1975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defRPr>
            </a:lvl1pPr>
          </a:lstStyle>
          <a:p>
            <a:r>
              <a:rPr lang="ru-RU" sz="1050" dirty="0" smtClean="0"/>
              <a:t>…</a:t>
            </a:r>
            <a:endParaRPr lang="ru-RU" sz="1050" dirty="0"/>
          </a:p>
        </p:txBody>
      </p:sp>
      <p:sp>
        <p:nvSpPr>
          <p:cNvPr id="225" name="TextBox 224"/>
          <p:cNvSpPr txBox="1"/>
          <p:nvPr/>
        </p:nvSpPr>
        <p:spPr>
          <a:xfrm>
            <a:off x="313095" y="1625473"/>
            <a:ext cx="197574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defRPr>
            </a:lvl1pPr>
          </a:lstStyle>
          <a:p>
            <a:r>
              <a:rPr lang="ru-RU" sz="1050" dirty="0" smtClean="0"/>
              <a:t>…</a:t>
            </a:r>
            <a:endParaRPr lang="ru-RU" sz="1050" dirty="0"/>
          </a:p>
        </p:txBody>
      </p:sp>
      <p:sp>
        <p:nvSpPr>
          <p:cNvPr id="226" name="TextBox 225"/>
          <p:cNvSpPr txBox="1"/>
          <p:nvPr/>
        </p:nvSpPr>
        <p:spPr>
          <a:xfrm>
            <a:off x="2154376" y="1058850"/>
            <a:ext cx="2465458" cy="40542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defRPr>
            </a:lvl1pPr>
          </a:lstStyle>
          <a:p>
            <a:pPr algn="l"/>
            <a:r>
              <a:rPr lang="ru-RU" sz="1050" b="0" dirty="0"/>
              <a:t>Правительство поставило задачу по созданию совершенно новой индустрии и создало для этого необходимые условия: требования к локализации и </a:t>
            </a:r>
            <a:r>
              <a:rPr lang="ru-RU" sz="1050" b="0" dirty="0" smtClean="0"/>
              <a:t>механизм ДПМ</a:t>
            </a:r>
            <a:endParaRPr lang="ru-RU" sz="1050" b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1" y="108012"/>
            <a:ext cx="7849493" cy="62753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800" kern="1200" dirty="0" err="1" smtClean="0"/>
              <a:t>Госкорпорация</a:t>
            </a:r>
            <a:r>
              <a:rPr lang="ru-RU" sz="1800" kern="1200" dirty="0" smtClean="0"/>
              <a:t> «</a:t>
            </a:r>
            <a:r>
              <a:rPr lang="ru-RU" sz="1800" kern="1200" dirty="0" err="1" smtClean="0"/>
              <a:t>Росатом</a:t>
            </a:r>
            <a:r>
              <a:rPr lang="ru-RU" sz="1800" kern="1200" dirty="0" smtClean="0"/>
              <a:t>» в лице АО «</a:t>
            </a:r>
            <a:r>
              <a:rPr lang="ru-RU" sz="1800" kern="1200" dirty="0" err="1" smtClean="0"/>
              <a:t>НоваВинд</a:t>
            </a:r>
            <a:r>
              <a:rPr lang="ru-RU" sz="1800" kern="1200" dirty="0" smtClean="0"/>
              <a:t>» участвует в создании в России новой отрасли – ветроэнергетики</a:t>
            </a:r>
            <a:endParaRPr lang="ru-RU" sz="1800" kern="1200" dirty="0"/>
          </a:p>
        </p:txBody>
      </p:sp>
      <p:sp>
        <p:nvSpPr>
          <p:cNvPr id="5" name="TextBox 4"/>
          <p:cNvSpPr txBox="1"/>
          <p:nvPr/>
        </p:nvSpPr>
        <p:spPr>
          <a:xfrm>
            <a:off x="323528" y="4840003"/>
            <a:ext cx="79208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1) Постановление Правительства РФ № 449 от 28.05.2013 «О механизме стимулирования использования возобновляемых источников энергии на оптовом рынке электрической энергии и мощности»</a:t>
            </a:r>
            <a:endParaRPr lang="ru-RU" sz="9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45" name="Овал 144"/>
          <p:cNvSpPr>
            <a:spLocks noChangeAspect="1"/>
          </p:cNvSpPr>
          <p:nvPr/>
        </p:nvSpPr>
        <p:spPr>
          <a:xfrm>
            <a:off x="930821" y="2937188"/>
            <a:ext cx="1728216" cy="1296162"/>
          </a:xfrm>
          <a:prstGeom prst="ellipse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6" name="Овал 145"/>
          <p:cNvSpPr>
            <a:spLocks noChangeAspect="1"/>
          </p:cNvSpPr>
          <p:nvPr/>
        </p:nvSpPr>
        <p:spPr>
          <a:xfrm>
            <a:off x="6187826" y="1099597"/>
            <a:ext cx="2488631" cy="186647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6291482" y="1775273"/>
            <a:ext cx="238497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</a:rPr>
              <a:t>ВЕТРО</a:t>
            </a:r>
            <a:br>
              <a:rPr lang="ru-RU" sz="1600" dirty="0" smtClean="0">
                <a:solidFill>
                  <a:schemeClr val="accent2">
                    <a:lumMod val="50000"/>
                  </a:schemeClr>
                </a:solidFill>
              </a:rPr>
            </a:b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</a:rPr>
              <a:t>-ЭНЕРГЕТИКА</a:t>
            </a:r>
            <a:endParaRPr lang="ru-RU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1046262" y="3437316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accent2"/>
                </a:solidFill>
              </a:rPr>
              <a:t>ВЭУ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149" name="Овал 148"/>
          <p:cNvSpPr/>
          <p:nvPr/>
        </p:nvSpPr>
        <p:spPr>
          <a:xfrm>
            <a:off x="1316782" y="2604306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50" name="Овал 149"/>
          <p:cNvSpPr/>
          <p:nvPr/>
        </p:nvSpPr>
        <p:spPr>
          <a:xfrm>
            <a:off x="411882" y="2928342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51" name="Овал 150"/>
          <p:cNvSpPr/>
          <p:nvPr/>
        </p:nvSpPr>
        <p:spPr>
          <a:xfrm>
            <a:off x="452686" y="3668148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52" name="Овал 151"/>
          <p:cNvSpPr/>
          <p:nvPr/>
        </p:nvSpPr>
        <p:spPr>
          <a:xfrm>
            <a:off x="1343819" y="3992184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2178968" y="3576414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1269157" y="2836444"/>
            <a:ext cx="10298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Проектирование ВЭУ</a:t>
            </a:r>
            <a:endParaRPr lang="ru-RU" sz="800" b="1" dirty="0"/>
          </a:p>
        </p:txBody>
      </p:sp>
      <p:sp>
        <p:nvSpPr>
          <p:cNvPr id="155" name="TextBox 154"/>
          <p:cNvSpPr txBox="1"/>
          <p:nvPr/>
        </p:nvSpPr>
        <p:spPr>
          <a:xfrm>
            <a:off x="405061" y="3894638"/>
            <a:ext cx="10298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Производство лопастей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323528" y="3075806"/>
            <a:ext cx="10298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Производство генератора и редуктора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1259632" y="4227934"/>
            <a:ext cx="10298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Производство башни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2123728" y="3651870"/>
            <a:ext cx="10298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Создание системы управления</a:t>
            </a:r>
          </a:p>
        </p:txBody>
      </p:sp>
      <p:sp>
        <p:nvSpPr>
          <p:cNvPr id="159" name="Овал 158"/>
          <p:cNvSpPr/>
          <p:nvPr/>
        </p:nvSpPr>
        <p:spPr>
          <a:xfrm>
            <a:off x="5859014" y="1195304"/>
            <a:ext cx="914400" cy="685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5539333" y="1453902"/>
            <a:ext cx="15121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solidFill>
                  <a:schemeClr val="accent2">
                    <a:lumMod val="75000"/>
                  </a:schemeClr>
                </a:solidFill>
              </a:rPr>
              <a:t>ВЭС</a:t>
            </a:r>
            <a:endParaRPr lang="ru-RU" sz="10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61" name="Овал 160"/>
          <p:cNvSpPr/>
          <p:nvPr/>
        </p:nvSpPr>
        <p:spPr>
          <a:xfrm>
            <a:off x="6107199" y="1061890"/>
            <a:ext cx="357386" cy="25058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62" name="Овал 161"/>
          <p:cNvSpPr/>
          <p:nvPr/>
        </p:nvSpPr>
        <p:spPr>
          <a:xfrm>
            <a:off x="5760502" y="1233022"/>
            <a:ext cx="357386" cy="2505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63" name="Овал 162"/>
          <p:cNvSpPr/>
          <p:nvPr/>
        </p:nvSpPr>
        <p:spPr>
          <a:xfrm>
            <a:off x="6115397" y="1743382"/>
            <a:ext cx="357386" cy="2505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64" name="Овал 163"/>
          <p:cNvSpPr/>
          <p:nvPr/>
        </p:nvSpPr>
        <p:spPr>
          <a:xfrm>
            <a:off x="6561162" y="1351333"/>
            <a:ext cx="357386" cy="2505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65" name="Овал 164"/>
          <p:cNvSpPr/>
          <p:nvPr/>
        </p:nvSpPr>
        <p:spPr>
          <a:xfrm>
            <a:off x="6504012" y="1646514"/>
            <a:ext cx="357386" cy="2505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66" name="Овал 165"/>
          <p:cNvSpPr/>
          <p:nvPr/>
        </p:nvSpPr>
        <p:spPr>
          <a:xfrm>
            <a:off x="5710432" y="1610074"/>
            <a:ext cx="357386" cy="25058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67" name="Овал 166"/>
          <p:cNvSpPr>
            <a:spLocks noChangeAspect="1"/>
          </p:cNvSpPr>
          <p:nvPr/>
        </p:nvSpPr>
        <p:spPr>
          <a:xfrm>
            <a:off x="5812123" y="1561091"/>
            <a:ext cx="160824" cy="11276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68" name="Овал 167"/>
          <p:cNvSpPr>
            <a:spLocks noChangeAspect="1"/>
          </p:cNvSpPr>
          <p:nvPr/>
        </p:nvSpPr>
        <p:spPr>
          <a:xfrm>
            <a:off x="5658197" y="1611075"/>
            <a:ext cx="160824" cy="11276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69" name="Овал 168"/>
          <p:cNvSpPr>
            <a:spLocks noChangeAspect="1"/>
          </p:cNvSpPr>
          <p:nvPr/>
        </p:nvSpPr>
        <p:spPr>
          <a:xfrm>
            <a:off x="5654772" y="1736419"/>
            <a:ext cx="160824" cy="11276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70" name="Овал 169"/>
          <p:cNvSpPr>
            <a:spLocks noChangeAspect="1"/>
          </p:cNvSpPr>
          <p:nvPr/>
        </p:nvSpPr>
        <p:spPr>
          <a:xfrm>
            <a:off x="5810557" y="1793467"/>
            <a:ext cx="160824" cy="11276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71" name="Овал 170"/>
          <p:cNvSpPr>
            <a:spLocks noChangeAspect="1"/>
          </p:cNvSpPr>
          <p:nvPr/>
        </p:nvSpPr>
        <p:spPr>
          <a:xfrm>
            <a:off x="5962957" y="1704799"/>
            <a:ext cx="160824" cy="11276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72" name="Овал 171"/>
          <p:cNvSpPr/>
          <p:nvPr/>
        </p:nvSpPr>
        <p:spPr>
          <a:xfrm>
            <a:off x="6888435" y="756697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6876256" y="915566"/>
            <a:ext cx="10030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 smtClean="0"/>
              <a:t>Регулировани</a:t>
            </a:r>
            <a:r>
              <a:rPr lang="ru-RU" dirty="0"/>
              <a:t>е</a:t>
            </a:r>
            <a:r>
              <a:rPr lang="ru-RU" dirty="0" smtClean="0"/>
              <a:t>, </a:t>
            </a:r>
            <a:r>
              <a:rPr lang="ru-RU" dirty="0"/>
              <a:t>нормы, правила </a:t>
            </a:r>
          </a:p>
        </p:txBody>
      </p:sp>
      <p:sp>
        <p:nvSpPr>
          <p:cNvPr id="175" name="Овал 174"/>
          <p:cNvSpPr>
            <a:spLocks noChangeAspect="1"/>
          </p:cNvSpPr>
          <p:nvPr/>
        </p:nvSpPr>
        <p:spPr>
          <a:xfrm>
            <a:off x="3489858" y="1825575"/>
            <a:ext cx="2073859" cy="15553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3763516" y="2419641"/>
            <a:ext cx="1512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</a:rPr>
              <a:t>ВЭС</a:t>
            </a:r>
            <a:endParaRPr lang="ru-RU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77" name="Овал 176"/>
          <p:cNvSpPr/>
          <p:nvPr/>
        </p:nvSpPr>
        <p:spPr>
          <a:xfrm>
            <a:off x="3148098" y="1717562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78" name="Овал 177"/>
          <p:cNvSpPr/>
          <p:nvPr/>
        </p:nvSpPr>
        <p:spPr>
          <a:xfrm>
            <a:off x="3918198" y="3067712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3086869" y="1955036"/>
            <a:ext cx="10298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Проектирование ВЭС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3771901" y="3309619"/>
            <a:ext cx="11627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Транспортировка компонентов</a:t>
            </a:r>
          </a:p>
        </p:txBody>
      </p:sp>
      <p:sp>
        <p:nvSpPr>
          <p:cNvPr id="181" name="Овал 180"/>
          <p:cNvSpPr/>
          <p:nvPr/>
        </p:nvSpPr>
        <p:spPr>
          <a:xfrm>
            <a:off x="4979113" y="2877480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82" name="TextBox 181"/>
          <p:cNvSpPr txBox="1"/>
          <p:nvPr/>
        </p:nvSpPr>
        <p:spPr>
          <a:xfrm>
            <a:off x="4934694" y="3051218"/>
            <a:ext cx="10298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Строительно-монтажные работы</a:t>
            </a:r>
          </a:p>
        </p:txBody>
      </p:sp>
      <p:sp>
        <p:nvSpPr>
          <p:cNvPr id="183" name="Овал 182"/>
          <p:cNvSpPr/>
          <p:nvPr/>
        </p:nvSpPr>
        <p:spPr>
          <a:xfrm>
            <a:off x="5165576" y="2103109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2"/>
              </a:solidFill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5109964" y="2280642"/>
            <a:ext cx="10298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Эксплуатация, обслуживание и ремонты</a:t>
            </a:r>
          </a:p>
        </p:txBody>
      </p:sp>
      <p:sp>
        <p:nvSpPr>
          <p:cNvPr id="185" name="Овал 184"/>
          <p:cNvSpPr/>
          <p:nvPr/>
        </p:nvSpPr>
        <p:spPr>
          <a:xfrm>
            <a:off x="3052961" y="2533345"/>
            <a:ext cx="914400" cy="6858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86" name="Овал 185"/>
          <p:cNvSpPr/>
          <p:nvPr/>
        </p:nvSpPr>
        <p:spPr>
          <a:xfrm>
            <a:off x="3331468" y="2439091"/>
            <a:ext cx="357386" cy="2505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87" name="Овал 186"/>
          <p:cNvSpPr/>
          <p:nvPr/>
        </p:nvSpPr>
        <p:spPr>
          <a:xfrm>
            <a:off x="2947045" y="2603090"/>
            <a:ext cx="357386" cy="2505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88" name="Овал 187"/>
          <p:cNvSpPr/>
          <p:nvPr/>
        </p:nvSpPr>
        <p:spPr>
          <a:xfrm>
            <a:off x="2971428" y="2925145"/>
            <a:ext cx="357386" cy="2505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89" name="Овал 188"/>
          <p:cNvSpPr/>
          <p:nvPr/>
        </p:nvSpPr>
        <p:spPr>
          <a:xfrm>
            <a:off x="3338314" y="3087163"/>
            <a:ext cx="357386" cy="2505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90" name="Овал 189"/>
          <p:cNvSpPr/>
          <p:nvPr/>
        </p:nvSpPr>
        <p:spPr>
          <a:xfrm>
            <a:off x="3694162" y="2925145"/>
            <a:ext cx="357386" cy="25058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191" name="Овал 190"/>
          <p:cNvSpPr/>
          <p:nvPr/>
        </p:nvSpPr>
        <p:spPr>
          <a:xfrm>
            <a:off x="4243189" y="1386140"/>
            <a:ext cx="914400" cy="6858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2" name="TextBox 191"/>
          <p:cNvSpPr txBox="1"/>
          <p:nvPr/>
        </p:nvSpPr>
        <p:spPr>
          <a:xfrm>
            <a:off x="4206627" y="1654083"/>
            <a:ext cx="10298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 err="1" smtClean="0">
                <a:solidFill>
                  <a:schemeClr val="bg1"/>
                </a:solidFill>
              </a:rPr>
              <a:t>Ветроизмерения</a:t>
            </a:r>
            <a:endParaRPr lang="ru-RU" sz="800" dirty="0">
              <a:solidFill>
                <a:schemeClr val="bg1"/>
              </a:solidFill>
            </a:endParaRPr>
          </a:p>
        </p:txBody>
      </p:sp>
      <p:sp>
        <p:nvSpPr>
          <p:cNvPr id="193" name="TextBox 192"/>
          <p:cNvSpPr txBox="1"/>
          <p:nvPr/>
        </p:nvSpPr>
        <p:spPr>
          <a:xfrm>
            <a:off x="2731021" y="2804052"/>
            <a:ext cx="15121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solidFill>
                  <a:schemeClr val="accent2"/>
                </a:solidFill>
              </a:rPr>
              <a:t>ВЭУ</a:t>
            </a:r>
            <a:endParaRPr lang="ru-RU" sz="1000" dirty="0">
              <a:solidFill>
                <a:schemeClr val="accent2"/>
              </a:solidFill>
            </a:endParaRPr>
          </a:p>
        </p:txBody>
      </p:sp>
      <p:cxnSp>
        <p:nvCxnSpPr>
          <p:cNvPr id="194" name="Прямая со стрелкой 193"/>
          <p:cNvCxnSpPr/>
          <p:nvPr/>
        </p:nvCxnSpPr>
        <p:spPr>
          <a:xfrm flipV="1">
            <a:off x="2606056" y="3098118"/>
            <a:ext cx="350515" cy="181619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Прямая со стрелкой 194"/>
          <p:cNvCxnSpPr/>
          <p:nvPr/>
        </p:nvCxnSpPr>
        <p:spPr>
          <a:xfrm flipV="1">
            <a:off x="5285619" y="1825575"/>
            <a:ext cx="350515" cy="181619"/>
          </a:xfrm>
          <a:prstGeom prst="straightConnector1">
            <a:avLst/>
          </a:prstGeom>
          <a:ln>
            <a:solidFill>
              <a:schemeClr val="accent2">
                <a:lumMod val="75000"/>
              </a:schemeClr>
            </a:solidFill>
            <a:tailEnd type="stealth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7" name="Группа 226"/>
          <p:cNvGrpSpPr/>
          <p:nvPr/>
        </p:nvGrpSpPr>
        <p:grpSpPr>
          <a:xfrm>
            <a:off x="6648894" y="3063695"/>
            <a:ext cx="1963116" cy="785678"/>
            <a:chOff x="3523282" y="1456899"/>
            <a:chExt cx="3121360" cy="1665638"/>
          </a:xfrm>
        </p:grpSpPr>
        <p:sp>
          <p:nvSpPr>
            <p:cNvPr id="228" name="Freeform 4"/>
            <p:cNvSpPr>
              <a:spLocks/>
            </p:cNvSpPr>
            <p:nvPr/>
          </p:nvSpPr>
          <p:spPr bwMode="auto">
            <a:xfrm>
              <a:off x="4263705" y="2285392"/>
              <a:ext cx="224371" cy="249362"/>
            </a:xfrm>
            <a:custGeom>
              <a:avLst/>
              <a:gdLst>
                <a:gd name="T0" fmla="*/ 321 w 430"/>
                <a:gd name="T1" fmla="*/ 33 h 490"/>
                <a:gd name="T2" fmla="*/ 303 w 430"/>
                <a:gd name="T3" fmla="*/ 61 h 490"/>
                <a:gd name="T4" fmla="*/ 266 w 430"/>
                <a:gd name="T5" fmla="*/ 102 h 490"/>
                <a:gd name="T6" fmla="*/ 233 w 430"/>
                <a:gd name="T7" fmla="*/ 130 h 490"/>
                <a:gd name="T8" fmla="*/ 216 w 430"/>
                <a:gd name="T9" fmla="*/ 133 h 490"/>
                <a:gd name="T10" fmla="*/ 198 w 430"/>
                <a:gd name="T11" fmla="*/ 152 h 490"/>
                <a:gd name="T12" fmla="*/ 198 w 430"/>
                <a:gd name="T13" fmla="*/ 166 h 490"/>
                <a:gd name="T14" fmla="*/ 205 w 430"/>
                <a:gd name="T15" fmla="*/ 178 h 490"/>
                <a:gd name="T16" fmla="*/ 192 w 430"/>
                <a:gd name="T17" fmla="*/ 200 h 490"/>
                <a:gd name="T18" fmla="*/ 194 w 430"/>
                <a:gd name="T19" fmla="*/ 216 h 490"/>
                <a:gd name="T20" fmla="*/ 190 w 430"/>
                <a:gd name="T21" fmla="*/ 229 h 490"/>
                <a:gd name="T22" fmla="*/ 140 w 430"/>
                <a:gd name="T23" fmla="*/ 253 h 490"/>
                <a:gd name="T24" fmla="*/ 118 w 430"/>
                <a:gd name="T25" fmla="*/ 274 h 490"/>
                <a:gd name="T26" fmla="*/ 107 w 430"/>
                <a:gd name="T27" fmla="*/ 263 h 490"/>
                <a:gd name="T28" fmla="*/ 94 w 430"/>
                <a:gd name="T29" fmla="*/ 253 h 490"/>
                <a:gd name="T30" fmla="*/ 83 w 430"/>
                <a:gd name="T31" fmla="*/ 259 h 490"/>
                <a:gd name="T32" fmla="*/ 76 w 430"/>
                <a:gd name="T33" fmla="*/ 277 h 490"/>
                <a:gd name="T34" fmla="*/ 70 w 430"/>
                <a:gd name="T35" fmla="*/ 300 h 490"/>
                <a:gd name="T36" fmla="*/ 50 w 430"/>
                <a:gd name="T37" fmla="*/ 301 h 490"/>
                <a:gd name="T38" fmla="*/ 41 w 430"/>
                <a:gd name="T39" fmla="*/ 292 h 490"/>
                <a:gd name="T40" fmla="*/ 30 w 430"/>
                <a:gd name="T41" fmla="*/ 287 h 490"/>
                <a:gd name="T42" fmla="*/ 0 w 430"/>
                <a:gd name="T43" fmla="*/ 325 h 490"/>
                <a:gd name="T44" fmla="*/ 2 w 430"/>
                <a:gd name="T45" fmla="*/ 325 h 490"/>
                <a:gd name="T46" fmla="*/ 9 w 430"/>
                <a:gd name="T47" fmla="*/ 349 h 490"/>
                <a:gd name="T48" fmla="*/ 28 w 430"/>
                <a:gd name="T49" fmla="*/ 361 h 490"/>
                <a:gd name="T50" fmla="*/ 61 w 430"/>
                <a:gd name="T51" fmla="*/ 392 h 490"/>
                <a:gd name="T52" fmla="*/ 72 w 430"/>
                <a:gd name="T53" fmla="*/ 386 h 490"/>
                <a:gd name="T54" fmla="*/ 96 w 430"/>
                <a:gd name="T55" fmla="*/ 401 h 490"/>
                <a:gd name="T56" fmla="*/ 137 w 430"/>
                <a:gd name="T57" fmla="*/ 434 h 490"/>
                <a:gd name="T58" fmla="*/ 166 w 430"/>
                <a:gd name="T59" fmla="*/ 446 h 490"/>
                <a:gd name="T60" fmla="*/ 194 w 430"/>
                <a:gd name="T61" fmla="*/ 457 h 490"/>
                <a:gd name="T62" fmla="*/ 225 w 430"/>
                <a:gd name="T63" fmla="*/ 458 h 490"/>
                <a:gd name="T64" fmla="*/ 251 w 430"/>
                <a:gd name="T65" fmla="*/ 479 h 490"/>
                <a:gd name="T66" fmla="*/ 272 w 430"/>
                <a:gd name="T67" fmla="*/ 490 h 490"/>
                <a:gd name="T68" fmla="*/ 308 w 430"/>
                <a:gd name="T69" fmla="*/ 481 h 490"/>
                <a:gd name="T70" fmla="*/ 323 w 430"/>
                <a:gd name="T71" fmla="*/ 477 h 490"/>
                <a:gd name="T72" fmla="*/ 336 w 430"/>
                <a:gd name="T73" fmla="*/ 434 h 490"/>
                <a:gd name="T74" fmla="*/ 358 w 430"/>
                <a:gd name="T75" fmla="*/ 423 h 490"/>
                <a:gd name="T76" fmla="*/ 384 w 430"/>
                <a:gd name="T77" fmla="*/ 431 h 490"/>
                <a:gd name="T78" fmla="*/ 419 w 430"/>
                <a:gd name="T79" fmla="*/ 420 h 490"/>
                <a:gd name="T80" fmla="*/ 419 w 430"/>
                <a:gd name="T81" fmla="*/ 409 h 490"/>
                <a:gd name="T82" fmla="*/ 425 w 430"/>
                <a:gd name="T83" fmla="*/ 383 h 490"/>
                <a:gd name="T84" fmla="*/ 430 w 430"/>
                <a:gd name="T85" fmla="*/ 377 h 490"/>
                <a:gd name="T86" fmla="*/ 421 w 430"/>
                <a:gd name="T87" fmla="*/ 344 h 490"/>
                <a:gd name="T88" fmla="*/ 427 w 430"/>
                <a:gd name="T89" fmla="*/ 314 h 490"/>
                <a:gd name="T90" fmla="*/ 410 w 430"/>
                <a:gd name="T91" fmla="*/ 281 h 490"/>
                <a:gd name="T92" fmla="*/ 414 w 430"/>
                <a:gd name="T93" fmla="*/ 222 h 490"/>
                <a:gd name="T94" fmla="*/ 408 w 430"/>
                <a:gd name="T95" fmla="*/ 185 h 490"/>
                <a:gd name="T96" fmla="*/ 406 w 430"/>
                <a:gd name="T97" fmla="*/ 159 h 490"/>
                <a:gd name="T98" fmla="*/ 425 w 430"/>
                <a:gd name="T99" fmla="*/ 122 h 490"/>
                <a:gd name="T100" fmla="*/ 414 w 430"/>
                <a:gd name="T101" fmla="*/ 81 h 490"/>
                <a:gd name="T102" fmla="*/ 393 w 430"/>
                <a:gd name="T103" fmla="*/ 54 h 490"/>
                <a:gd name="T104" fmla="*/ 369 w 430"/>
                <a:gd name="T105" fmla="*/ 35 h 490"/>
                <a:gd name="T106" fmla="*/ 356 w 430"/>
                <a:gd name="T107" fmla="*/ 11 h 490"/>
                <a:gd name="T108" fmla="*/ 351 w 430"/>
                <a:gd name="T109" fmla="*/ 0 h 49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0"/>
                <a:gd name="T166" fmla="*/ 0 h 490"/>
                <a:gd name="T167" fmla="*/ 430 w 430"/>
                <a:gd name="T168" fmla="*/ 490 h 49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0" h="490">
                  <a:moveTo>
                    <a:pt x="342" y="4"/>
                  </a:moveTo>
                  <a:lnTo>
                    <a:pt x="329" y="24"/>
                  </a:lnTo>
                  <a:lnTo>
                    <a:pt x="321" y="33"/>
                  </a:lnTo>
                  <a:lnTo>
                    <a:pt x="318" y="37"/>
                  </a:lnTo>
                  <a:lnTo>
                    <a:pt x="310" y="45"/>
                  </a:lnTo>
                  <a:lnTo>
                    <a:pt x="303" y="61"/>
                  </a:lnTo>
                  <a:lnTo>
                    <a:pt x="296" y="78"/>
                  </a:lnTo>
                  <a:lnTo>
                    <a:pt x="283" y="89"/>
                  </a:lnTo>
                  <a:lnTo>
                    <a:pt x="266" y="102"/>
                  </a:lnTo>
                  <a:lnTo>
                    <a:pt x="249" y="113"/>
                  </a:lnTo>
                  <a:lnTo>
                    <a:pt x="242" y="124"/>
                  </a:lnTo>
                  <a:lnTo>
                    <a:pt x="233" y="130"/>
                  </a:lnTo>
                  <a:lnTo>
                    <a:pt x="225" y="130"/>
                  </a:lnTo>
                  <a:lnTo>
                    <a:pt x="220" y="131"/>
                  </a:lnTo>
                  <a:lnTo>
                    <a:pt x="216" y="133"/>
                  </a:lnTo>
                  <a:lnTo>
                    <a:pt x="211" y="139"/>
                  </a:lnTo>
                  <a:lnTo>
                    <a:pt x="203" y="144"/>
                  </a:lnTo>
                  <a:lnTo>
                    <a:pt x="198" y="152"/>
                  </a:lnTo>
                  <a:lnTo>
                    <a:pt x="196" y="159"/>
                  </a:lnTo>
                  <a:lnTo>
                    <a:pt x="196" y="163"/>
                  </a:lnTo>
                  <a:lnTo>
                    <a:pt x="198" y="166"/>
                  </a:lnTo>
                  <a:lnTo>
                    <a:pt x="201" y="170"/>
                  </a:lnTo>
                  <a:lnTo>
                    <a:pt x="203" y="174"/>
                  </a:lnTo>
                  <a:lnTo>
                    <a:pt x="205" y="178"/>
                  </a:lnTo>
                  <a:lnTo>
                    <a:pt x="205" y="183"/>
                  </a:lnTo>
                  <a:lnTo>
                    <a:pt x="198" y="191"/>
                  </a:lnTo>
                  <a:lnTo>
                    <a:pt x="192" y="200"/>
                  </a:lnTo>
                  <a:lnTo>
                    <a:pt x="192" y="205"/>
                  </a:lnTo>
                  <a:lnTo>
                    <a:pt x="194" y="213"/>
                  </a:lnTo>
                  <a:lnTo>
                    <a:pt x="194" y="216"/>
                  </a:lnTo>
                  <a:lnTo>
                    <a:pt x="194" y="220"/>
                  </a:lnTo>
                  <a:lnTo>
                    <a:pt x="194" y="226"/>
                  </a:lnTo>
                  <a:lnTo>
                    <a:pt x="190" y="229"/>
                  </a:lnTo>
                  <a:lnTo>
                    <a:pt x="164" y="237"/>
                  </a:lnTo>
                  <a:lnTo>
                    <a:pt x="146" y="239"/>
                  </a:lnTo>
                  <a:lnTo>
                    <a:pt x="140" y="253"/>
                  </a:lnTo>
                  <a:lnTo>
                    <a:pt x="135" y="270"/>
                  </a:lnTo>
                  <a:lnTo>
                    <a:pt x="126" y="274"/>
                  </a:lnTo>
                  <a:lnTo>
                    <a:pt x="118" y="274"/>
                  </a:lnTo>
                  <a:lnTo>
                    <a:pt x="114" y="272"/>
                  </a:lnTo>
                  <a:lnTo>
                    <a:pt x="111" y="268"/>
                  </a:lnTo>
                  <a:lnTo>
                    <a:pt x="107" y="263"/>
                  </a:lnTo>
                  <a:lnTo>
                    <a:pt x="103" y="259"/>
                  </a:lnTo>
                  <a:lnTo>
                    <a:pt x="100" y="255"/>
                  </a:lnTo>
                  <a:lnTo>
                    <a:pt x="94" y="253"/>
                  </a:lnTo>
                  <a:lnTo>
                    <a:pt x="90" y="255"/>
                  </a:lnTo>
                  <a:lnTo>
                    <a:pt x="87" y="257"/>
                  </a:lnTo>
                  <a:lnTo>
                    <a:pt x="83" y="259"/>
                  </a:lnTo>
                  <a:lnTo>
                    <a:pt x="81" y="263"/>
                  </a:lnTo>
                  <a:lnTo>
                    <a:pt x="78" y="270"/>
                  </a:lnTo>
                  <a:lnTo>
                    <a:pt x="76" y="277"/>
                  </a:lnTo>
                  <a:lnTo>
                    <a:pt x="76" y="287"/>
                  </a:lnTo>
                  <a:lnTo>
                    <a:pt x="74" y="294"/>
                  </a:lnTo>
                  <a:lnTo>
                    <a:pt x="70" y="300"/>
                  </a:lnTo>
                  <a:lnTo>
                    <a:pt x="63" y="303"/>
                  </a:lnTo>
                  <a:lnTo>
                    <a:pt x="55" y="303"/>
                  </a:lnTo>
                  <a:lnTo>
                    <a:pt x="50" y="301"/>
                  </a:lnTo>
                  <a:lnTo>
                    <a:pt x="46" y="298"/>
                  </a:lnTo>
                  <a:lnTo>
                    <a:pt x="42" y="296"/>
                  </a:lnTo>
                  <a:lnTo>
                    <a:pt x="41" y="292"/>
                  </a:lnTo>
                  <a:lnTo>
                    <a:pt x="37" y="288"/>
                  </a:lnTo>
                  <a:lnTo>
                    <a:pt x="35" y="287"/>
                  </a:lnTo>
                  <a:lnTo>
                    <a:pt x="30" y="287"/>
                  </a:lnTo>
                  <a:lnTo>
                    <a:pt x="17" y="305"/>
                  </a:lnTo>
                  <a:lnTo>
                    <a:pt x="0" y="325"/>
                  </a:lnTo>
                  <a:lnTo>
                    <a:pt x="2" y="325"/>
                  </a:lnTo>
                  <a:lnTo>
                    <a:pt x="4" y="336"/>
                  </a:lnTo>
                  <a:lnTo>
                    <a:pt x="7" y="344"/>
                  </a:lnTo>
                  <a:lnTo>
                    <a:pt x="9" y="349"/>
                  </a:lnTo>
                  <a:lnTo>
                    <a:pt x="13" y="353"/>
                  </a:lnTo>
                  <a:lnTo>
                    <a:pt x="20" y="357"/>
                  </a:lnTo>
                  <a:lnTo>
                    <a:pt x="28" y="361"/>
                  </a:lnTo>
                  <a:lnTo>
                    <a:pt x="42" y="375"/>
                  </a:lnTo>
                  <a:lnTo>
                    <a:pt x="61" y="392"/>
                  </a:lnTo>
                  <a:lnTo>
                    <a:pt x="63" y="390"/>
                  </a:lnTo>
                  <a:lnTo>
                    <a:pt x="66" y="388"/>
                  </a:lnTo>
                  <a:lnTo>
                    <a:pt x="72" y="386"/>
                  </a:lnTo>
                  <a:lnTo>
                    <a:pt x="78" y="388"/>
                  </a:lnTo>
                  <a:lnTo>
                    <a:pt x="83" y="388"/>
                  </a:lnTo>
                  <a:lnTo>
                    <a:pt x="96" y="401"/>
                  </a:lnTo>
                  <a:lnTo>
                    <a:pt x="109" y="414"/>
                  </a:lnTo>
                  <a:lnTo>
                    <a:pt x="124" y="421"/>
                  </a:lnTo>
                  <a:lnTo>
                    <a:pt x="137" y="434"/>
                  </a:lnTo>
                  <a:lnTo>
                    <a:pt x="146" y="433"/>
                  </a:lnTo>
                  <a:lnTo>
                    <a:pt x="155" y="433"/>
                  </a:lnTo>
                  <a:lnTo>
                    <a:pt x="166" y="446"/>
                  </a:lnTo>
                  <a:lnTo>
                    <a:pt x="177" y="460"/>
                  </a:lnTo>
                  <a:lnTo>
                    <a:pt x="194" y="457"/>
                  </a:lnTo>
                  <a:lnTo>
                    <a:pt x="211" y="451"/>
                  </a:lnTo>
                  <a:lnTo>
                    <a:pt x="216" y="453"/>
                  </a:lnTo>
                  <a:lnTo>
                    <a:pt x="225" y="458"/>
                  </a:lnTo>
                  <a:lnTo>
                    <a:pt x="233" y="464"/>
                  </a:lnTo>
                  <a:lnTo>
                    <a:pt x="242" y="471"/>
                  </a:lnTo>
                  <a:lnTo>
                    <a:pt x="251" y="479"/>
                  </a:lnTo>
                  <a:lnTo>
                    <a:pt x="259" y="484"/>
                  </a:lnTo>
                  <a:lnTo>
                    <a:pt x="266" y="490"/>
                  </a:lnTo>
                  <a:lnTo>
                    <a:pt x="272" y="490"/>
                  </a:lnTo>
                  <a:lnTo>
                    <a:pt x="284" y="484"/>
                  </a:lnTo>
                  <a:lnTo>
                    <a:pt x="297" y="481"/>
                  </a:lnTo>
                  <a:lnTo>
                    <a:pt x="308" y="481"/>
                  </a:lnTo>
                  <a:lnTo>
                    <a:pt x="320" y="482"/>
                  </a:lnTo>
                  <a:lnTo>
                    <a:pt x="323" y="477"/>
                  </a:lnTo>
                  <a:lnTo>
                    <a:pt x="327" y="473"/>
                  </a:lnTo>
                  <a:lnTo>
                    <a:pt x="332" y="455"/>
                  </a:lnTo>
                  <a:lnTo>
                    <a:pt x="336" y="434"/>
                  </a:lnTo>
                  <a:lnTo>
                    <a:pt x="344" y="427"/>
                  </a:lnTo>
                  <a:lnTo>
                    <a:pt x="351" y="423"/>
                  </a:lnTo>
                  <a:lnTo>
                    <a:pt x="358" y="423"/>
                  </a:lnTo>
                  <a:lnTo>
                    <a:pt x="364" y="423"/>
                  </a:lnTo>
                  <a:lnTo>
                    <a:pt x="375" y="429"/>
                  </a:lnTo>
                  <a:lnTo>
                    <a:pt x="384" y="431"/>
                  </a:lnTo>
                  <a:lnTo>
                    <a:pt x="401" y="425"/>
                  </a:lnTo>
                  <a:lnTo>
                    <a:pt x="417" y="420"/>
                  </a:lnTo>
                  <a:lnTo>
                    <a:pt x="419" y="420"/>
                  </a:lnTo>
                  <a:lnTo>
                    <a:pt x="419" y="416"/>
                  </a:lnTo>
                  <a:lnTo>
                    <a:pt x="419" y="412"/>
                  </a:lnTo>
                  <a:lnTo>
                    <a:pt x="419" y="409"/>
                  </a:lnTo>
                  <a:lnTo>
                    <a:pt x="419" y="399"/>
                  </a:lnTo>
                  <a:lnTo>
                    <a:pt x="421" y="390"/>
                  </a:lnTo>
                  <a:lnTo>
                    <a:pt x="425" y="383"/>
                  </a:lnTo>
                  <a:lnTo>
                    <a:pt x="430" y="377"/>
                  </a:lnTo>
                  <a:lnTo>
                    <a:pt x="425" y="364"/>
                  </a:lnTo>
                  <a:lnTo>
                    <a:pt x="423" y="353"/>
                  </a:lnTo>
                  <a:lnTo>
                    <a:pt x="421" y="344"/>
                  </a:lnTo>
                  <a:lnTo>
                    <a:pt x="423" y="333"/>
                  </a:lnTo>
                  <a:lnTo>
                    <a:pt x="425" y="324"/>
                  </a:lnTo>
                  <a:lnTo>
                    <a:pt x="427" y="314"/>
                  </a:lnTo>
                  <a:lnTo>
                    <a:pt x="427" y="305"/>
                  </a:lnTo>
                  <a:lnTo>
                    <a:pt x="425" y="296"/>
                  </a:lnTo>
                  <a:lnTo>
                    <a:pt x="410" y="281"/>
                  </a:lnTo>
                  <a:lnTo>
                    <a:pt x="395" y="266"/>
                  </a:lnTo>
                  <a:lnTo>
                    <a:pt x="405" y="244"/>
                  </a:lnTo>
                  <a:lnTo>
                    <a:pt x="414" y="222"/>
                  </a:lnTo>
                  <a:lnTo>
                    <a:pt x="410" y="211"/>
                  </a:lnTo>
                  <a:lnTo>
                    <a:pt x="406" y="198"/>
                  </a:lnTo>
                  <a:lnTo>
                    <a:pt x="408" y="185"/>
                  </a:lnTo>
                  <a:lnTo>
                    <a:pt x="410" y="172"/>
                  </a:lnTo>
                  <a:lnTo>
                    <a:pt x="408" y="165"/>
                  </a:lnTo>
                  <a:lnTo>
                    <a:pt x="406" y="159"/>
                  </a:lnTo>
                  <a:lnTo>
                    <a:pt x="416" y="148"/>
                  </a:lnTo>
                  <a:lnTo>
                    <a:pt x="427" y="137"/>
                  </a:lnTo>
                  <a:lnTo>
                    <a:pt x="425" y="122"/>
                  </a:lnTo>
                  <a:lnTo>
                    <a:pt x="421" y="102"/>
                  </a:lnTo>
                  <a:lnTo>
                    <a:pt x="417" y="91"/>
                  </a:lnTo>
                  <a:lnTo>
                    <a:pt x="414" y="81"/>
                  </a:lnTo>
                  <a:lnTo>
                    <a:pt x="410" y="74"/>
                  </a:lnTo>
                  <a:lnTo>
                    <a:pt x="405" y="69"/>
                  </a:lnTo>
                  <a:lnTo>
                    <a:pt x="393" y="54"/>
                  </a:lnTo>
                  <a:lnTo>
                    <a:pt x="388" y="46"/>
                  </a:lnTo>
                  <a:lnTo>
                    <a:pt x="377" y="41"/>
                  </a:lnTo>
                  <a:lnTo>
                    <a:pt x="369" y="35"/>
                  </a:lnTo>
                  <a:lnTo>
                    <a:pt x="364" y="30"/>
                  </a:lnTo>
                  <a:lnTo>
                    <a:pt x="360" y="24"/>
                  </a:lnTo>
                  <a:lnTo>
                    <a:pt x="356" y="11"/>
                  </a:lnTo>
                  <a:lnTo>
                    <a:pt x="351" y="0"/>
                  </a:lnTo>
                  <a:lnTo>
                    <a:pt x="345" y="2"/>
                  </a:lnTo>
                  <a:lnTo>
                    <a:pt x="342" y="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29" name="Freeform 5"/>
            <p:cNvSpPr>
              <a:spLocks/>
            </p:cNvSpPr>
            <p:nvPr/>
          </p:nvSpPr>
          <p:spPr bwMode="auto">
            <a:xfrm>
              <a:off x="4213613" y="2265545"/>
              <a:ext cx="228545" cy="186258"/>
            </a:xfrm>
            <a:custGeom>
              <a:avLst/>
              <a:gdLst>
                <a:gd name="T0" fmla="*/ 94 w 438"/>
                <a:gd name="T1" fmla="*/ 122 h 366"/>
                <a:gd name="T2" fmla="*/ 79 w 438"/>
                <a:gd name="T3" fmla="*/ 143 h 366"/>
                <a:gd name="T4" fmla="*/ 70 w 438"/>
                <a:gd name="T5" fmla="*/ 163 h 366"/>
                <a:gd name="T6" fmla="*/ 39 w 438"/>
                <a:gd name="T7" fmla="*/ 204 h 366"/>
                <a:gd name="T8" fmla="*/ 33 w 438"/>
                <a:gd name="T9" fmla="*/ 230 h 366"/>
                <a:gd name="T10" fmla="*/ 28 w 438"/>
                <a:gd name="T11" fmla="*/ 241 h 366"/>
                <a:gd name="T12" fmla="*/ 2 w 438"/>
                <a:gd name="T13" fmla="*/ 255 h 366"/>
                <a:gd name="T14" fmla="*/ 0 w 438"/>
                <a:gd name="T15" fmla="*/ 283 h 366"/>
                <a:gd name="T16" fmla="*/ 24 w 438"/>
                <a:gd name="T17" fmla="*/ 316 h 366"/>
                <a:gd name="T18" fmla="*/ 55 w 438"/>
                <a:gd name="T19" fmla="*/ 329 h 366"/>
                <a:gd name="T20" fmla="*/ 72 w 438"/>
                <a:gd name="T21" fmla="*/ 344 h 366"/>
                <a:gd name="T22" fmla="*/ 83 w 438"/>
                <a:gd name="T23" fmla="*/ 366 h 366"/>
                <a:gd name="T24" fmla="*/ 96 w 438"/>
                <a:gd name="T25" fmla="*/ 364 h 366"/>
                <a:gd name="T26" fmla="*/ 113 w 438"/>
                <a:gd name="T27" fmla="*/ 344 h 366"/>
                <a:gd name="T28" fmla="*/ 133 w 438"/>
                <a:gd name="T29" fmla="*/ 327 h 366"/>
                <a:gd name="T30" fmla="*/ 142 w 438"/>
                <a:gd name="T31" fmla="*/ 337 h 366"/>
                <a:gd name="T32" fmla="*/ 159 w 438"/>
                <a:gd name="T33" fmla="*/ 342 h 366"/>
                <a:gd name="T34" fmla="*/ 172 w 438"/>
                <a:gd name="T35" fmla="*/ 326 h 366"/>
                <a:gd name="T36" fmla="*/ 177 w 438"/>
                <a:gd name="T37" fmla="*/ 302 h 366"/>
                <a:gd name="T38" fmla="*/ 186 w 438"/>
                <a:gd name="T39" fmla="*/ 294 h 366"/>
                <a:gd name="T40" fmla="*/ 199 w 438"/>
                <a:gd name="T41" fmla="*/ 298 h 366"/>
                <a:gd name="T42" fmla="*/ 210 w 438"/>
                <a:gd name="T43" fmla="*/ 311 h 366"/>
                <a:gd name="T44" fmla="*/ 231 w 438"/>
                <a:gd name="T45" fmla="*/ 309 h 366"/>
                <a:gd name="T46" fmla="*/ 260 w 438"/>
                <a:gd name="T47" fmla="*/ 276 h 366"/>
                <a:gd name="T48" fmla="*/ 290 w 438"/>
                <a:gd name="T49" fmla="*/ 259 h 366"/>
                <a:gd name="T50" fmla="*/ 288 w 438"/>
                <a:gd name="T51" fmla="*/ 244 h 366"/>
                <a:gd name="T52" fmla="*/ 301 w 438"/>
                <a:gd name="T53" fmla="*/ 222 h 366"/>
                <a:gd name="T54" fmla="*/ 297 w 438"/>
                <a:gd name="T55" fmla="*/ 209 h 366"/>
                <a:gd name="T56" fmla="*/ 292 w 438"/>
                <a:gd name="T57" fmla="*/ 198 h 366"/>
                <a:gd name="T58" fmla="*/ 307 w 438"/>
                <a:gd name="T59" fmla="*/ 178 h 366"/>
                <a:gd name="T60" fmla="*/ 321 w 438"/>
                <a:gd name="T61" fmla="*/ 169 h 366"/>
                <a:gd name="T62" fmla="*/ 345 w 438"/>
                <a:gd name="T63" fmla="*/ 152 h 366"/>
                <a:gd name="T64" fmla="*/ 392 w 438"/>
                <a:gd name="T65" fmla="*/ 117 h 366"/>
                <a:gd name="T66" fmla="*/ 414 w 438"/>
                <a:gd name="T67" fmla="*/ 76 h 366"/>
                <a:gd name="T68" fmla="*/ 438 w 438"/>
                <a:gd name="T69" fmla="*/ 43 h 366"/>
                <a:gd name="T70" fmla="*/ 427 w 438"/>
                <a:gd name="T71" fmla="*/ 47 h 366"/>
                <a:gd name="T72" fmla="*/ 401 w 438"/>
                <a:gd name="T73" fmla="*/ 41 h 366"/>
                <a:gd name="T74" fmla="*/ 366 w 438"/>
                <a:gd name="T75" fmla="*/ 21 h 366"/>
                <a:gd name="T76" fmla="*/ 318 w 438"/>
                <a:gd name="T77" fmla="*/ 19 h 366"/>
                <a:gd name="T78" fmla="*/ 295 w 438"/>
                <a:gd name="T79" fmla="*/ 11 h 366"/>
                <a:gd name="T80" fmla="*/ 271 w 438"/>
                <a:gd name="T81" fmla="*/ 0 h 366"/>
                <a:gd name="T82" fmla="*/ 240 w 438"/>
                <a:gd name="T83" fmla="*/ 21 h 366"/>
                <a:gd name="T84" fmla="*/ 225 w 438"/>
                <a:gd name="T85" fmla="*/ 63 h 366"/>
                <a:gd name="T86" fmla="*/ 199 w 438"/>
                <a:gd name="T87" fmla="*/ 100 h 366"/>
                <a:gd name="T88" fmla="*/ 192 w 438"/>
                <a:gd name="T89" fmla="*/ 122 h 366"/>
                <a:gd name="T90" fmla="*/ 207 w 438"/>
                <a:gd name="T91" fmla="*/ 150 h 366"/>
                <a:gd name="T92" fmla="*/ 192 w 438"/>
                <a:gd name="T93" fmla="*/ 157 h 366"/>
                <a:gd name="T94" fmla="*/ 148 w 438"/>
                <a:gd name="T95" fmla="*/ 145 h 366"/>
                <a:gd name="T96" fmla="*/ 127 w 438"/>
                <a:gd name="T97" fmla="*/ 145 h 366"/>
                <a:gd name="T98" fmla="*/ 118 w 438"/>
                <a:gd name="T99" fmla="*/ 148 h 366"/>
                <a:gd name="T100" fmla="*/ 107 w 438"/>
                <a:gd name="T101" fmla="*/ 135 h 36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38"/>
                <a:gd name="T154" fmla="*/ 0 h 366"/>
                <a:gd name="T155" fmla="*/ 438 w 438"/>
                <a:gd name="T156" fmla="*/ 366 h 36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38" h="366">
                  <a:moveTo>
                    <a:pt x="105" y="119"/>
                  </a:moveTo>
                  <a:lnTo>
                    <a:pt x="100" y="120"/>
                  </a:lnTo>
                  <a:lnTo>
                    <a:pt x="94" y="122"/>
                  </a:lnTo>
                  <a:lnTo>
                    <a:pt x="89" y="128"/>
                  </a:lnTo>
                  <a:lnTo>
                    <a:pt x="85" y="137"/>
                  </a:lnTo>
                  <a:lnTo>
                    <a:pt x="79" y="143"/>
                  </a:lnTo>
                  <a:lnTo>
                    <a:pt x="76" y="148"/>
                  </a:lnTo>
                  <a:lnTo>
                    <a:pt x="72" y="154"/>
                  </a:lnTo>
                  <a:lnTo>
                    <a:pt x="70" y="163"/>
                  </a:lnTo>
                  <a:lnTo>
                    <a:pt x="59" y="176"/>
                  </a:lnTo>
                  <a:lnTo>
                    <a:pt x="44" y="194"/>
                  </a:lnTo>
                  <a:lnTo>
                    <a:pt x="39" y="204"/>
                  </a:lnTo>
                  <a:lnTo>
                    <a:pt x="35" y="217"/>
                  </a:lnTo>
                  <a:lnTo>
                    <a:pt x="33" y="222"/>
                  </a:lnTo>
                  <a:lnTo>
                    <a:pt x="33" y="230"/>
                  </a:lnTo>
                  <a:lnTo>
                    <a:pt x="33" y="235"/>
                  </a:lnTo>
                  <a:lnTo>
                    <a:pt x="35" y="241"/>
                  </a:lnTo>
                  <a:lnTo>
                    <a:pt x="28" y="241"/>
                  </a:lnTo>
                  <a:lnTo>
                    <a:pt x="18" y="242"/>
                  </a:lnTo>
                  <a:lnTo>
                    <a:pt x="11" y="248"/>
                  </a:lnTo>
                  <a:lnTo>
                    <a:pt x="2" y="255"/>
                  </a:lnTo>
                  <a:lnTo>
                    <a:pt x="2" y="268"/>
                  </a:lnTo>
                  <a:lnTo>
                    <a:pt x="0" y="283"/>
                  </a:lnTo>
                  <a:lnTo>
                    <a:pt x="2" y="283"/>
                  </a:lnTo>
                  <a:lnTo>
                    <a:pt x="13" y="298"/>
                  </a:lnTo>
                  <a:lnTo>
                    <a:pt x="24" y="316"/>
                  </a:lnTo>
                  <a:lnTo>
                    <a:pt x="39" y="320"/>
                  </a:lnTo>
                  <a:lnTo>
                    <a:pt x="52" y="324"/>
                  </a:lnTo>
                  <a:lnTo>
                    <a:pt x="55" y="329"/>
                  </a:lnTo>
                  <a:lnTo>
                    <a:pt x="57" y="337"/>
                  </a:lnTo>
                  <a:lnTo>
                    <a:pt x="65" y="340"/>
                  </a:lnTo>
                  <a:lnTo>
                    <a:pt x="72" y="344"/>
                  </a:lnTo>
                  <a:lnTo>
                    <a:pt x="76" y="355"/>
                  </a:lnTo>
                  <a:lnTo>
                    <a:pt x="79" y="364"/>
                  </a:lnTo>
                  <a:lnTo>
                    <a:pt x="83" y="366"/>
                  </a:lnTo>
                  <a:lnTo>
                    <a:pt x="87" y="366"/>
                  </a:lnTo>
                  <a:lnTo>
                    <a:pt x="92" y="366"/>
                  </a:lnTo>
                  <a:lnTo>
                    <a:pt x="96" y="364"/>
                  </a:lnTo>
                  <a:lnTo>
                    <a:pt x="113" y="344"/>
                  </a:lnTo>
                  <a:lnTo>
                    <a:pt x="126" y="326"/>
                  </a:lnTo>
                  <a:lnTo>
                    <a:pt x="131" y="326"/>
                  </a:lnTo>
                  <a:lnTo>
                    <a:pt x="133" y="327"/>
                  </a:lnTo>
                  <a:lnTo>
                    <a:pt x="137" y="331"/>
                  </a:lnTo>
                  <a:lnTo>
                    <a:pt x="138" y="335"/>
                  </a:lnTo>
                  <a:lnTo>
                    <a:pt x="142" y="337"/>
                  </a:lnTo>
                  <a:lnTo>
                    <a:pt x="146" y="340"/>
                  </a:lnTo>
                  <a:lnTo>
                    <a:pt x="151" y="342"/>
                  </a:lnTo>
                  <a:lnTo>
                    <a:pt x="159" y="342"/>
                  </a:lnTo>
                  <a:lnTo>
                    <a:pt x="166" y="339"/>
                  </a:lnTo>
                  <a:lnTo>
                    <a:pt x="170" y="333"/>
                  </a:lnTo>
                  <a:lnTo>
                    <a:pt x="172" y="326"/>
                  </a:lnTo>
                  <a:lnTo>
                    <a:pt x="172" y="316"/>
                  </a:lnTo>
                  <a:lnTo>
                    <a:pt x="174" y="309"/>
                  </a:lnTo>
                  <a:lnTo>
                    <a:pt x="177" y="302"/>
                  </a:lnTo>
                  <a:lnTo>
                    <a:pt x="179" y="298"/>
                  </a:lnTo>
                  <a:lnTo>
                    <a:pt x="183" y="296"/>
                  </a:lnTo>
                  <a:lnTo>
                    <a:pt x="186" y="294"/>
                  </a:lnTo>
                  <a:lnTo>
                    <a:pt x="190" y="292"/>
                  </a:lnTo>
                  <a:lnTo>
                    <a:pt x="196" y="294"/>
                  </a:lnTo>
                  <a:lnTo>
                    <a:pt x="199" y="298"/>
                  </a:lnTo>
                  <a:lnTo>
                    <a:pt x="203" y="302"/>
                  </a:lnTo>
                  <a:lnTo>
                    <a:pt x="207" y="307"/>
                  </a:lnTo>
                  <a:lnTo>
                    <a:pt x="210" y="311"/>
                  </a:lnTo>
                  <a:lnTo>
                    <a:pt x="214" y="313"/>
                  </a:lnTo>
                  <a:lnTo>
                    <a:pt x="222" y="313"/>
                  </a:lnTo>
                  <a:lnTo>
                    <a:pt x="231" y="309"/>
                  </a:lnTo>
                  <a:lnTo>
                    <a:pt x="236" y="292"/>
                  </a:lnTo>
                  <a:lnTo>
                    <a:pt x="242" y="278"/>
                  </a:lnTo>
                  <a:lnTo>
                    <a:pt x="260" y="276"/>
                  </a:lnTo>
                  <a:lnTo>
                    <a:pt x="286" y="268"/>
                  </a:lnTo>
                  <a:lnTo>
                    <a:pt x="290" y="265"/>
                  </a:lnTo>
                  <a:lnTo>
                    <a:pt x="290" y="259"/>
                  </a:lnTo>
                  <a:lnTo>
                    <a:pt x="290" y="255"/>
                  </a:lnTo>
                  <a:lnTo>
                    <a:pt x="290" y="252"/>
                  </a:lnTo>
                  <a:lnTo>
                    <a:pt x="288" y="244"/>
                  </a:lnTo>
                  <a:lnTo>
                    <a:pt x="288" y="239"/>
                  </a:lnTo>
                  <a:lnTo>
                    <a:pt x="294" y="230"/>
                  </a:lnTo>
                  <a:lnTo>
                    <a:pt x="301" y="222"/>
                  </a:lnTo>
                  <a:lnTo>
                    <a:pt x="301" y="217"/>
                  </a:lnTo>
                  <a:lnTo>
                    <a:pt x="299" y="213"/>
                  </a:lnTo>
                  <a:lnTo>
                    <a:pt x="297" y="209"/>
                  </a:lnTo>
                  <a:lnTo>
                    <a:pt x="294" y="205"/>
                  </a:lnTo>
                  <a:lnTo>
                    <a:pt x="292" y="202"/>
                  </a:lnTo>
                  <a:lnTo>
                    <a:pt x="292" y="198"/>
                  </a:lnTo>
                  <a:lnTo>
                    <a:pt x="294" y="191"/>
                  </a:lnTo>
                  <a:lnTo>
                    <a:pt x="299" y="183"/>
                  </a:lnTo>
                  <a:lnTo>
                    <a:pt x="307" y="178"/>
                  </a:lnTo>
                  <a:lnTo>
                    <a:pt x="312" y="172"/>
                  </a:lnTo>
                  <a:lnTo>
                    <a:pt x="316" y="170"/>
                  </a:lnTo>
                  <a:lnTo>
                    <a:pt x="321" y="169"/>
                  </a:lnTo>
                  <a:lnTo>
                    <a:pt x="329" y="169"/>
                  </a:lnTo>
                  <a:lnTo>
                    <a:pt x="338" y="163"/>
                  </a:lnTo>
                  <a:lnTo>
                    <a:pt x="345" y="152"/>
                  </a:lnTo>
                  <a:lnTo>
                    <a:pt x="362" y="141"/>
                  </a:lnTo>
                  <a:lnTo>
                    <a:pt x="379" y="128"/>
                  </a:lnTo>
                  <a:lnTo>
                    <a:pt x="392" y="117"/>
                  </a:lnTo>
                  <a:lnTo>
                    <a:pt x="399" y="100"/>
                  </a:lnTo>
                  <a:lnTo>
                    <a:pt x="406" y="84"/>
                  </a:lnTo>
                  <a:lnTo>
                    <a:pt x="414" y="76"/>
                  </a:lnTo>
                  <a:lnTo>
                    <a:pt x="417" y="72"/>
                  </a:lnTo>
                  <a:lnTo>
                    <a:pt x="425" y="63"/>
                  </a:lnTo>
                  <a:lnTo>
                    <a:pt x="438" y="43"/>
                  </a:lnTo>
                  <a:lnTo>
                    <a:pt x="427" y="47"/>
                  </a:lnTo>
                  <a:lnTo>
                    <a:pt x="419" y="48"/>
                  </a:lnTo>
                  <a:lnTo>
                    <a:pt x="410" y="47"/>
                  </a:lnTo>
                  <a:lnTo>
                    <a:pt x="401" y="41"/>
                  </a:lnTo>
                  <a:lnTo>
                    <a:pt x="392" y="37"/>
                  </a:lnTo>
                  <a:lnTo>
                    <a:pt x="382" y="32"/>
                  </a:lnTo>
                  <a:lnTo>
                    <a:pt x="366" y="21"/>
                  </a:lnTo>
                  <a:lnTo>
                    <a:pt x="347" y="11"/>
                  </a:lnTo>
                  <a:lnTo>
                    <a:pt x="332" y="15"/>
                  </a:lnTo>
                  <a:lnTo>
                    <a:pt x="318" y="19"/>
                  </a:lnTo>
                  <a:lnTo>
                    <a:pt x="308" y="15"/>
                  </a:lnTo>
                  <a:lnTo>
                    <a:pt x="301" y="11"/>
                  </a:lnTo>
                  <a:lnTo>
                    <a:pt x="295" y="11"/>
                  </a:lnTo>
                  <a:lnTo>
                    <a:pt x="290" y="11"/>
                  </a:lnTo>
                  <a:lnTo>
                    <a:pt x="281" y="6"/>
                  </a:lnTo>
                  <a:lnTo>
                    <a:pt x="271" y="0"/>
                  </a:lnTo>
                  <a:lnTo>
                    <a:pt x="270" y="0"/>
                  </a:lnTo>
                  <a:lnTo>
                    <a:pt x="268" y="0"/>
                  </a:lnTo>
                  <a:lnTo>
                    <a:pt x="240" y="21"/>
                  </a:lnTo>
                  <a:lnTo>
                    <a:pt x="225" y="32"/>
                  </a:lnTo>
                  <a:lnTo>
                    <a:pt x="225" y="47"/>
                  </a:lnTo>
                  <a:lnTo>
                    <a:pt x="225" y="63"/>
                  </a:lnTo>
                  <a:lnTo>
                    <a:pt x="216" y="76"/>
                  </a:lnTo>
                  <a:lnTo>
                    <a:pt x="205" y="93"/>
                  </a:lnTo>
                  <a:lnTo>
                    <a:pt x="199" y="100"/>
                  </a:lnTo>
                  <a:lnTo>
                    <a:pt x="196" y="108"/>
                  </a:lnTo>
                  <a:lnTo>
                    <a:pt x="192" y="115"/>
                  </a:lnTo>
                  <a:lnTo>
                    <a:pt x="192" y="122"/>
                  </a:lnTo>
                  <a:lnTo>
                    <a:pt x="201" y="135"/>
                  </a:lnTo>
                  <a:lnTo>
                    <a:pt x="209" y="146"/>
                  </a:lnTo>
                  <a:lnTo>
                    <a:pt x="207" y="150"/>
                  </a:lnTo>
                  <a:lnTo>
                    <a:pt x="203" y="154"/>
                  </a:lnTo>
                  <a:lnTo>
                    <a:pt x="199" y="156"/>
                  </a:lnTo>
                  <a:lnTo>
                    <a:pt x="192" y="157"/>
                  </a:lnTo>
                  <a:lnTo>
                    <a:pt x="175" y="154"/>
                  </a:lnTo>
                  <a:lnTo>
                    <a:pt x="161" y="152"/>
                  </a:lnTo>
                  <a:lnTo>
                    <a:pt x="148" y="145"/>
                  </a:lnTo>
                  <a:lnTo>
                    <a:pt x="138" y="137"/>
                  </a:lnTo>
                  <a:lnTo>
                    <a:pt x="133" y="139"/>
                  </a:lnTo>
                  <a:lnTo>
                    <a:pt x="127" y="145"/>
                  </a:lnTo>
                  <a:lnTo>
                    <a:pt x="124" y="146"/>
                  </a:lnTo>
                  <a:lnTo>
                    <a:pt x="122" y="148"/>
                  </a:lnTo>
                  <a:lnTo>
                    <a:pt x="118" y="148"/>
                  </a:lnTo>
                  <a:lnTo>
                    <a:pt x="114" y="146"/>
                  </a:lnTo>
                  <a:lnTo>
                    <a:pt x="111" y="141"/>
                  </a:lnTo>
                  <a:lnTo>
                    <a:pt x="107" y="135"/>
                  </a:lnTo>
                  <a:lnTo>
                    <a:pt x="105" y="128"/>
                  </a:lnTo>
                  <a:lnTo>
                    <a:pt x="105" y="11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0" name="Freeform 6"/>
            <p:cNvSpPr>
              <a:spLocks/>
            </p:cNvSpPr>
            <p:nvPr/>
          </p:nvSpPr>
          <p:spPr bwMode="auto">
            <a:xfrm>
              <a:off x="4595043" y="1851807"/>
              <a:ext cx="92879" cy="116539"/>
            </a:xfrm>
            <a:custGeom>
              <a:avLst/>
              <a:gdLst>
                <a:gd name="T0" fmla="*/ 84 w 178"/>
                <a:gd name="T1" fmla="*/ 224 h 229"/>
                <a:gd name="T2" fmla="*/ 85 w 178"/>
                <a:gd name="T3" fmla="*/ 211 h 229"/>
                <a:gd name="T4" fmla="*/ 82 w 178"/>
                <a:gd name="T5" fmla="*/ 183 h 229"/>
                <a:gd name="T6" fmla="*/ 89 w 178"/>
                <a:gd name="T7" fmla="*/ 144 h 229"/>
                <a:gd name="T8" fmla="*/ 93 w 178"/>
                <a:gd name="T9" fmla="*/ 126 h 229"/>
                <a:gd name="T10" fmla="*/ 93 w 178"/>
                <a:gd name="T11" fmla="*/ 115 h 229"/>
                <a:gd name="T12" fmla="*/ 108 w 178"/>
                <a:gd name="T13" fmla="*/ 104 h 229"/>
                <a:gd name="T14" fmla="*/ 122 w 178"/>
                <a:gd name="T15" fmla="*/ 89 h 229"/>
                <a:gd name="T16" fmla="*/ 128 w 178"/>
                <a:gd name="T17" fmla="*/ 78 h 229"/>
                <a:gd name="T18" fmla="*/ 135 w 178"/>
                <a:gd name="T19" fmla="*/ 76 h 229"/>
                <a:gd name="T20" fmla="*/ 141 w 178"/>
                <a:gd name="T21" fmla="*/ 72 h 229"/>
                <a:gd name="T22" fmla="*/ 146 w 178"/>
                <a:gd name="T23" fmla="*/ 69 h 229"/>
                <a:gd name="T24" fmla="*/ 156 w 178"/>
                <a:gd name="T25" fmla="*/ 63 h 229"/>
                <a:gd name="T26" fmla="*/ 163 w 178"/>
                <a:gd name="T27" fmla="*/ 59 h 229"/>
                <a:gd name="T28" fmla="*/ 169 w 178"/>
                <a:gd name="T29" fmla="*/ 50 h 229"/>
                <a:gd name="T30" fmla="*/ 176 w 178"/>
                <a:gd name="T31" fmla="*/ 48 h 229"/>
                <a:gd name="T32" fmla="*/ 178 w 178"/>
                <a:gd name="T33" fmla="*/ 41 h 229"/>
                <a:gd name="T34" fmla="*/ 167 w 178"/>
                <a:gd name="T35" fmla="*/ 23 h 229"/>
                <a:gd name="T36" fmla="*/ 145 w 178"/>
                <a:gd name="T37" fmla="*/ 6 h 229"/>
                <a:gd name="T38" fmla="*/ 122 w 178"/>
                <a:gd name="T39" fmla="*/ 2 h 229"/>
                <a:gd name="T40" fmla="*/ 109 w 178"/>
                <a:gd name="T41" fmla="*/ 11 h 229"/>
                <a:gd name="T42" fmla="*/ 100 w 178"/>
                <a:gd name="T43" fmla="*/ 13 h 229"/>
                <a:gd name="T44" fmla="*/ 95 w 178"/>
                <a:gd name="T45" fmla="*/ 8 h 229"/>
                <a:gd name="T46" fmla="*/ 89 w 178"/>
                <a:gd name="T47" fmla="*/ 8 h 229"/>
                <a:gd name="T48" fmla="*/ 84 w 178"/>
                <a:gd name="T49" fmla="*/ 13 h 229"/>
                <a:gd name="T50" fmla="*/ 89 w 178"/>
                <a:gd name="T51" fmla="*/ 23 h 229"/>
                <a:gd name="T52" fmla="*/ 85 w 178"/>
                <a:gd name="T53" fmla="*/ 32 h 229"/>
                <a:gd name="T54" fmla="*/ 65 w 178"/>
                <a:gd name="T55" fmla="*/ 45 h 229"/>
                <a:gd name="T56" fmla="*/ 45 w 178"/>
                <a:gd name="T57" fmla="*/ 58 h 229"/>
                <a:gd name="T58" fmla="*/ 36 w 178"/>
                <a:gd name="T59" fmla="*/ 48 h 229"/>
                <a:gd name="T60" fmla="*/ 28 w 178"/>
                <a:gd name="T61" fmla="*/ 43 h 229"/>
                <a:gd name="T62" fmla="*/ 15 w 178"/>
                <a:gd name="T63" fmla="*/ 54 h 229"/>
                <a:gd name="T64" fmla="*/ 4 w 178"/>
                <a:gd name="T65" fmla="*/ 69 h 229"/>
                <a:gd name="T66" fmla="*/ 0 w 178"/>
                <a:gd name="T67" fmla="*/ 83 h 229"/>
                <a:gd name="T68" fmla="*/ 10 w 178"/>
                <a:gd name="T69" fmla="*/ 89 h 229"/>
                <a:gd name="T70" fmla="*/ 19 w 178"/>
                <a:gd name="T71" fmla="*/ 95 h 229"/>
                <a:gd name="T72" fmla="*/ 26 w 178"/>
                <a:gd name="T73" fmla="*/ 108 h 229"/>
                <a:gd name="T74" fmla="*/ 28 w 178"/>
                <a:gd name="T75" fmla="*/ 122 h 229"/>
                <a:gd name="T76" fmla="*/ 37 w 178"/>
                <a:gd name="T77" fmla="*/ 122 h 229"/>
                <a:gd name="T78" fmla="*/ 41 w 178"/>
                <a:gd name="T79" fmla="*/ 128 h 229"/>
                <a:gd name="T80" fmla="*/ 26 w 178"/>
                <a:gd name="T81" fmla="*/ 126 h 229"/>
                <a:gd name="T82" fmla="*/ 24 w 178"/>
                <a:gd name="T83" fmla="*/ 135 h 229"/>
                <a:gd name="T84" fmla="*/ 32 w 178"/>
                <a:gd name="T85" fmla="*/ 143 h 229"/>
                <a:gd name="T86" fmla="*/ 28 w 178"/>
                <a:gd name="T87" fmla="*/ 146 h 229"/>
                <a:gd name="T88" fmla="*/ 24 w 178"/>
                <a:gd name="T89" fmla="*/ 144 h 229"/>
                <a:gd name="T90" fmla="*/ 17 w 178"/>
                <a:gd name="T91" fmla="*/ 139 h 229"/>
                <a:gd name="T92" fmla="*/ 10 w 178"/>
                <a:gd name="T93" fmla="*/ 156 h 229"/>
                <a:gd name="T94" fmla="*/ 13 w 178"/>
                <a:gd name="T95" fmla="*/ 163 h 229"/>
                <a:gd name="T96" fmla="*/ 23 w 178"/>
                <a:gd name="T97" fmla="*/ 174 h 229"/>
                <a:gd name="T98" fmla="*/ 19 w 178"/>
                <a:gd name="T99" fmla="*/ 191 h 229"/>
                <a:gd name="T100" fmla="*/ 23 w 178"/>
                <a:gd name="T101" fmla="*/ 194 h 229"/>
                <a:gd name="T102" fmla="*/ 36 w 178"/>
                <a:gd name="T103" fmla="*/ 194 h 229"/>
                <a:gd name="T104" fmla="*/ 45 w 178"/>
                <a:gd name="T105" fmla="*/ 205 h 229"/>
                <a:gd name="T106" fmla="*/ 50 w 178"/>
                <a:gd name="T107" fmla="*/ 209 h 229"/>
                <a:gd name="T108" fmla="*/ 60 w 178"/>
                <a:gd name="T109" fmla="*/ 209 h 229"/>
                <a:gd name="T110" fmla="*/ 69 w 178"/>
                <a:gd name="T111" fmla="*/ 226 h 229"/>
                <a:gd name="T112" fmla="*/ 80 w 178"/>
                <a:gd name="T113" fmla="*/ 229 h 22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8"/>
                <a:gd name="T172" fmla="*/ 0 h 229"/>
                <a:gd name="T173" fmla="*/ 178 w 178"/>
                <a:gd name="T174" fmla="*/ 229 h 22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8" h="229">
                  <a:moveTo>
                    <a:pt x="80" y="229"/>
                  </a:moveTo>
                  <a:lnTo>
                    <a:pt x="84" y="224"/>
                  </a:lnTo>
                  <a:lnTo>
                    <a:pt x="84" y="218"/>
                  </a:lnTo>
                  <a:lnTo>
                    <a:pt x="85" y="211"/>
                  </a:lnTo>
                  <a:lnTo>
                    <a:pt x="84" y="202"/>
                  </a:lnTo>
                  <a:lnTo>
                    <a:pt x="82" y="183"/>
                  </a:lnTo>
                  <a:lnTo>
                    <a:pt x="82" y="165"/>
                  </a:lnTo>
                  <a:lnTo>
                    <a:pt x="89" y="144"/>
                  </a:lnTo>
                  <a:lnTo>
                    <a:pt x="95" y="132"/>
                  </a:lnTo>
                  <a:lnTo>
                    <a:pt x="93" y="126"/>
                  </a:lnTo>
                  <a:lnTo>
                    <a:pt x="93" y="120"/>
                  </a:lnTo>
                  <a:lnTo>
                    <a:pt x="93" y="115"/>
                  </a:lnTo>
                  <a:lnTo>
                    <a:pt x="95" y="113"/>
                  </a:lnTo>
                  <a:lnTo>
                    <a:pt x="108" y="104"/>
                  </a:lnTo>
                  <a:lnTo>
                    <a:pt x="120" y="95"/>
                  </a:lnTo>
                  <a:lnTo>
                    <a:pt x="122" y="89"/>
                  </a:lnTo>
                  <a:lnTo>
                    <a:pt x="120" y="80"/>
                  </a:lnTo>
                  <a:lnTo>
                    <a:pt x="128" y="78"/>
                  </a:lnTo>
                  <a:lnTo>
                    <a:pt x="133" y="80"/>
                  </a:lnTo>
                  <a:lnTo>
                    <a:pt x="135" y="76"/>
                  </a:lnTo>
                  <a:lnTo>
                    <a:pt x="135" y="72"/>
                  </a:lnTo>
                  <a:lnTo>
                    <a:pt x="141" y="72"/>
                  </a:lnTo>
                  <a:lnTo>
                    <a:pt x="145" y="74"/>
                  </a:lnTo>
                  <a:lnTo>
                    <a:pt x="146" y="69"/>
                  </a:lnTo>
                  <a:lnTo>
                    <a:pt x="152" y="65"/>
                  </a:lnTo>
                  <a:lnTo>
                    <a:pt x="156" y="63"/>
                  </a:lnTo>
                  <a:lnTo>
                    <a:pt x="161" y="65"/>
                  </a:lnTo>
                  <a:lnTo>
                    <a:pt x="163" y="59"/>
                  </a:lnTo>
                  <a:lnTo>
                    <a:pt x="163" y="50"/>
                  </a:lnTo>
                  <a:lnTo>
                    <a:pt x="169" y="50"/>
                  </a:lnTo>
                  <a:lnTo>
                    <a:pt x="174" y="50"/>
                  </a:lnTo>
                  <a:lnTo>
                    <a:pt x="176" y="48"/>
                  </a:lnTo>
                  <a:lnTo>
                    <a:pt x="178" y="45"/>
                  </a:lnTo>
                  <a:lnTo>
                    <a:pt x="178" y="41"/>
                  </a:lnTo>
                  <a:lnTo>
                    <a:pt x="176" y="34"/>
                  </a:lnTo>
                  <a:lnTo>
                    <a:pt x="167" y="23"/>
                  </a:lnTo>
                  <a:lnTo>
                    <a:pt x="156" y="13"/>
                  </a:lnTo>
                  <a:lnTo>
                    <a:pt x="145" y="6"/>
                  </a:lnTo>
                  <a:lnTo>
                    <a:pt x="132" y="0"/>
                  </a:lnTo>
                  <a:lnTo>
                    <a:pt x="122" y="2"/>
                  </a:lnTo>
                  <a:lnTo>
                    <a:pt x="115" y="6"/>
                  </a:lnTo>
                  <a:lnTo>
                    <a:pt x="109" y="11"/>
                  </a:lnTo>
                  <a:lnTo>
                    <a:pt x="106" y="17"/>
                  </a:lnTo>
                  <a:lnTo>
                    <a:pt x="100" y="13"/>
                  </a:lnTo>
                  <a:lnTo>
                    <a:pt x="96" y="10"/>
                  </a:lnTo>
                  <a:lnTo>
                    <a:pt x="95" y="8"/>
                  </a:lnTo>
                  <a:lnTo>
                    <a:pt x="91" y="8"/>
                  </a:lnTo>
                  <a:lnTo>
                    <a:pt x="89" y="8"/>
                  </a:lnTo>
                  <a:lnTo>
                    <a:pt x="85" y="8"/>
                  </a:lnTo>
                  <a:lnTo>
                    <a:pt x="84" y="13"/>
                  </a:lnTo>
                  <a:lnTo>
                    <a:pt x="87" y="17"/>
                  </a:lnTo>
                  <a:lnTo>
                    <a:pt x="89" y="23"/>
                  </a:lnTo>
                  <a:lnTo>
                    <a:pt x="91" y="26"/>
                  </a:lnTo>
                  <a:lnTo>
                    <a:pt x="85" y="32"/>
                  </a:lnTo>
                  <a:lnTo>
                    <a:pt x="80" y="37"/>
                  </a:lnTo>
                  <a:lnTo>
                    <a:pt x="65" y="45"/>
                  </a:lnTo>
                  <a:lnTo>
                    <a:pt x="50" y="56"/>
                  </a:lnTo>
                  <a:lnTo>
                    <a:pt x="45" y="58"/>
                  </a:lnTo>
                  <a:lnTo>
                    <a:pt x="39" y="54"/>
                  </a:lnTo>
                  <a:lnTo>
                    <a:pt x="36" y="48"/>
                  </a:lnTo>
                  <a:lnTo>
                    <a:pt x="34" y="41"/>
                  </a:lnTo>
                  <a:lnTo>
                    <a:pt x="28" y="43"/>
                  </a:lnTo>
                  <a:lnTo>
                    <a:pt x="23" y="47"/>
                  </a:lnTo>
                  <a:lnTo>
                    <a:pt x="15" y="54"/>
                  </a:lnTo>
                  <a:lnTo>
                    <a:pt x="10" y="61"/>
                  </a:lnTo>
                  <a:lnTo>
                    <a:pt x="4" y="69"/>
                  </a:lnTo>
                  <a:lnTo>
                    <a:pt x="0" y="76"/>
                  </a:lnTo>
                  <a:lnTo>
                    <a:pt x="0" y="83"/>
                  </a:lnTo>
                  <a:lnTo>
                    <a:pt x="0" y="87"/>
                  </a:lnTo>
                  <a:lnTo>
                    <a:pt x="10" y="89"/>
                  </a:lnTo>
                  <a:lnTo>
                    <a:pt x="17" y="87"/>
                  </a:lnTo>
                  <a:lnTo>
                    <a:pt x="19" y="95"/>
                  </a:lnTo>
                  <a:lnTo>
                    <a:pt x="23" y="102"/>
                  </a:lnTo>
                  <a:lnTo>
                    <a:pt x="26" y="108"/>
                  </a:lnTo>
                  <a:lnTo>
                    <a:pt x="32" y="113"/>
                  </a:lnTo>
                  <a:lnTo>
                    <a:pt x="28" y="122"/>
                  </a:lnTo>
                  <a:lnTo>
                    <a:pt x="34" y="122"/>
                  </a:lnTo>
                  <a:lnTo>
                    <a:pt x="37" y="122"/>
                  </a:lnTo>
                  <a:lnTo>
                    <a:pt x="39" y="126"/>
                  </a:lnTo>
                  <a:lnTo>
                    <a:pt x="41" y="128"/>
                  </a:lnTo>
                  <a:lnTo>
                    <a:pt x="34" y="128"/>
                  </a:lnTo>
                  <a:lnTo>
                    <a:pt x="26" y="126"/>
                  </a:lnTo>
                  <a:lnTo>
                    <a:pt x="24" y="132"/>
                  </a:lnTo>
                  <a:lnTo>
                    <a:pt x="24" y="135"/>
                  </a:lnTo>
                  <a:lnTo>
                    <a:pt x="30" y="137"/>
                  </a:lnTo>
                  <a:lnTo>
                    <a:pt x="32" y="143"/>
                  </a:lnTo>
                  <a:lnTo>
                    <a:pt x="30" y="144"/>
                  </a:lnTo>
                  <a:lnTo>
                    <a:pt x="28" y="146"/>
                  </a:lnTo>
                  <a:lnTo>
                    <a:pt x="26" y="144"/>
                  </a:lnTo>
                  <a:lnTo>
                    <a:pt x="24" y="144"/>
                  </a:lnTo>
                  <a:lnTo>
                    <a:pt x="21" y="141"/>
                  </a:lnTo>
                  <a:lnTo>
                    <a:pt x="17" y="139"/>
                  </a:lnTo>
                  <a:lnTo>
                    <a:pt x="12" y="148"/>
                  </a:lnTo>
                  <a:lnTo>
                    <a:pt x="10" y="156"/>
                  </a:lnTo>
                  <a:lnTo>
                    <a:pt x="12" y="159"/>
                  </a:lnTo>
                  <a:lnTo>
                    <a:pt x="13" y="163"/>
                  </a:lnTo>
                  <a:lnTo>
                    <a:pt x="19" y="167"/>
                  </a:lnTo>
                  <a:lnTo>
                    <a:pt x="23" y="174"/>
                  </a:lnTo>
                  <a:lnTo>
                    <a:pt x="19" y="183"/>
                  </a:lnTo>
                  <a:lnTo>
                    <a:pt x="19" y="191"/>
                  </a:lnTo>
                  <a:lnTo>
                    <a:pt x="21" y="194"/>
                  </a:lnTo>
                  <a:lnTo>
                    <a:pt x="23" y="194"/>
                  </a:lnTo>
                  <a:lnTo>
                    <a:pt x="30" y="193"/>
                  </a:lnTo>
                  <a:lnTo>
                    <a:pt x="36" y="194"/>
                  </a:lnTo>
                  <a:lnTo>
                    <a:pt x="41" y="202"/>
                  </a:lnTo>
                  <a:lnTo>
                    <a:pt x="45" y="205"/>
                  </a:lnTo>
                  <a:lnTo>
                    <a:pt x="48" y="207"/>
                  </a:lnTo>
                  <a:lnTo>
                    <a:pt x="50" y="209"/>
                  </a:lnTo>
                  <a:lnTo>
                    <a:pt x="54" y="207"/>
                  </a:lnTo>
                  <a:lnTo>
                    <a:pt x="60" y="209"/>
                  </a:lnTo>
                  <a:lnTo>
                    <a:pt x="65" y="220"/>
                  </a:lnTo>
                  <a:lnTo>
                    <a:pt x="69" y="226"/>
                  </a:lnTo>
                  <a:lnTo>
                    <a:pt x="74" y="229"/>
                  </a:lnTo>
                  <a:lnTo>
                    <a:pt x="80" y="22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1" name="Freeform 7"/>
            <p:cNvSpPr>
              <a:spLocks/>
            </p:cNvSpPr>
            <p:nvPr/>
          </p:nvSpPr>
          <p:spPr bwMode="auto">
            <a:xfrm>
              <a:off x="4594521" y="1902698"/>
              <a:ext cx="6783" cy="13231"/>
            </a:xfrm>
            <a:custGeom>
              <a:avLst/>
              <a:gdLst>
                <a:gd name="T0" fmla="*/ 1 w 13"/>
                <a:gd name="T1" fmla="*/ 0 h 26"/>
                <a:gd name="T2" fmla="*/ 0 w 13"/>
                <a:gd name="T3" fmla="*/ 4 h 26"/>
                <a:gd name="T4" fmla="*/ 0 w 13"/>
                <a:gd name="T5" fmla="*/ 8 h 26"/>
                <a:gd name="T6" fmla="*/ 1 w 13"/>
                <a:gd name="T7" fmla="*/ 11 h 26"/>
                <a:gd name="T8" fmla="*/ 3 w 13"/>
                <a:gd name="T9" fmla="*/ 15 h 26"/>
                <a:gd name="T10" fmla="*/ 1 w 13"/>
                <a:gd name="T11" fmla="*/ 22 h 26"/>
                <a:gd name="T12" fmla="*/ 0 w 13"/>
                <a:gd name="T13" fmla="*/ 26 h 26"/>
                <a:gd name="T14" fmla="*/ 3 w 13"/>
                <a:gd name="T15" fmla="*/ 26 h 26"/>
                <a:gd name="T16" fmla="*/ 5 w 13"/>
                <a:gd name="T17" fmla="*/ 26 h 26"/>
                <a:gd name="T18" fmla="*/ 7 w 13"/>
                <a:gd name="T19" fmla="*/ 24 h 26"/>
                <a:gd name="T20" fmla="*/ 9 w 13"/>
                <a:gd name="T21" fmla="*/ 22 h 26"/>
                <a:gd name="T22" fmla="*/ 11 w 13"/>
                <a:gd name="T23" fmla="*/ 19 h 26"/>
                <a:gd name="T24" fmla="*/ 13 w 13"/>
                <a:gd name="T25" fmla="*/ 13 h 26"/>
                <a:gd name="T26" fmla="*/ 13 w 13"/>
                <a:gd name="T27" fmla="*/ 8 h 26"/>
                <a:gd name="T28" fmla="*/ 11 w 13"/>
                <a:gd name="T29" fmla="*/ 4 h 26"/>
                <a:gd name="T30" fmla="*/ 5 w 13"/>
                <a:gd name="T31" fmla="*/ 0 h 26"/>
                <a:gd name="T32" fmla="*/ 1 w 13"/>
                <a:gd name="T33" fmla="*/ 0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3"/>
                <a:gd name="T52" fmla="*/ 0 h 26"/>
                <a:gd name="T53" fmla="*/ 13 w 13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3" h="26">
                  <a:moveTo>
                    <a:pt x="1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1" y="11"/>
                  </a:lnTo>
                  <a:lnTo>
                    <a:pt x="3" y="15"/>
                  </a:lnTo>
                  <a:lnTo>
                    <a:pt x="1" y="22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7" y="24"/>
                  </a:lnTo>
                  <a:lnTo>
                    <a:pt x="9" y="22"/>
                  </a:lnTo>
                  <a:lnTo>
                    <a:pt x="11" y="19"/>
                  </a:lnTo>
                  <a:lnTo>
                    <a:pt x="13" y="13"/>
                  </a:lnTo>
                  <a:lnTo>
                    <a:pt x="13" y="8"/>
                  </a:lnTo>
                  <a:lnTo>
                    <a:pt x="11" y="4"/>
                  </a:lnTo>
                  <a:lnTo>
                    <a:pt x="5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2" name="Freeform 8"/>
            <p:cNvSpPr>
              <a:spLocks noEditPoints="1"/>
            </p:cNvSpPr>
            <p:nvPr/>
          </p:nvSpPr>
          <p:spPr bwMode="auto">
            <a:xfrm>
              <a:off x="4815761" y="1563260"/>
              <a:ext cx="150798" cy="102289"/>
            </a:xfrm>
            <a:custGeom>
              <a:avLst/>
              <a:gdLst>
                <a:gd name="T0" fmla="*/ 102 w 289"/>
                <a:gd name="T1" fmla="*/ 28 h 201"/>
                <a:gd name="T2" fmla="*/ 211 w 289"/>
                <a:gd name="T3" fmla="*/ 83 h 201"/>
                <a:gd name="T4" fmla="*/ 226 w 289"/>
                <a:gd name="T5" fmla="*/ 67 h 201"/>
                <a:gd name="T6" fmla="*/ 222 w 289"/>
                <a:gd name="T7" fmla="*/ 55 h 201"/>
                <a:gd name="T8" fmla="*/ 276 w 289"/>
                <a:gd name="T9" fmla="*/ 115 h 201"/>
                <a:gd name="T10" fmla="*/ 209 w 289"/>
                <a:gd name="T11" fmla="*/ 91 h 201"/>
                <a:gd name="T12" fmla="*/ 213 w 289"/>
                <a:gd name="T13" fmla="*/ 89 h 201"/>
                <a:gd name="T14" fmla="*/ 191 w 289"/>
                <a:gd name="T15" fmla="*/ 96 h 201"/>
                <a:gd name="T16" fmla="*/ 156 w 289"/>
                <a:gd name="T17" fmla="*/ 76 h 201"/>
                <a:gd name="T18" fmla="*/ 148 w 289"/>
                <a:gd name="T19" fmla="*/ 98 h 201"/>
                <a:gd name="T20" fmla="*/ 167 w 289"/>
                <a:gd name="T21" fmla="*/ 102 h 201"/>
                <a:gd name="T22" fmla="*/ 189 w 289"/>
                <a:gd name="T23" fmla="*/ 109 h 201"/>
                <a:gd name="T24" fmla="*/ 176 w 289"/>
                <a:gd name="T25" fmla="*/ 92 h 201"/>
                <a:gd name="T26" fmla="*/ 146 w 289"/>
                <a:gd name="T27" fmla="*/ 102 h 201"/>
                <a:gd name="T28" fmla="*/ 126 w 289"/>
                <a:gd name="T29" fmla="*/ 94 h 201"/>
                <a:gd name="T30" fmla="*/ 152 w 289"/>
                <a:gd name="T31" fmla="*/ 118 h 201"/>
                <a:gd name="T32" fmla="*/ 254 w 289"/>
                <a:gd name="T33" fmla="*/ 102 h 201"/>
                <a:gd name="T34" fmla="*/ 180 w 289"/>
                <a:gd name="T35" fmla="*/ 126 h 201"/>
                <a:gd name="T36" fmla="*/ 189 w 289"/>
                <a:gd name="T37" fmla="*/ 133 h 201"/>
                <a:gd name="T38" fmla="*/ 159 w 289"/>
                <a:gd name="T39" fmla="*/ 129 h 201"/>
                <a:gd name="T40" fmla="*/ 169 w 289"/>
                <a:gd name="T41" fmla="*/ 150 h 201"/>
                <a:gd name="T42" fmla="*/ 169 w 289"/>
                <a:gd name="T43" fmla="*/ 137 h 201"/>
                <a:gd name="T44" fmla="*/ 154 w 289"/>
                <a:gd name="T45" fmla="*/ 176 h 201"/>
                <a:gd name="T46" fmla="*/ 161 w 289"/>
                <a:gd name="T47" fmla="*/ 174 h 201"/>
                <a:gd name="T48" fmla="*/ 163 w 289"/>
                <a:gd name="T49" fmla="*/ 194 h 201"/>
                <a:gd name="T50" fmla="*/ 133 w 289"/>
                <a:gd name="T51" fmla="*/ 194 h 201"/>
                <a:gd name="T52" fmla="*/ 102 w 289"/>
                <a:gd name="T53" fmla="*/ 85 h 201"/>
                <a:gd name="T54" fmla="*/ 106 w 289"/>
                <a:gd name="T55" fmla="*/ 85 h 201"/>
                <a:gd name="T56" fmla="*/ 187 w 289"/>
                <a:gd name="T57" fmla="*/ 87 h 201"/>
                <a:gd name="T58" fmla="*/ 178 w 289"/>
                <a:gd name="T59" fmla="*/ 68 h 201"/>
                <a:gd name="T60" fmla="*/ 235 w 289"/>
                <a:gd name="T61" fmla="*/ 181 h 201"/>
                <a:gd name="T62" fmla="*/ 278 w 289"/>
                <a:gd name="T63" fmla="*/ 177 h 201"/>
                <a:gd name="T64" fmla="*/ 281 w 289"/>
                <a:gd name="T65" fmla="*/ 155 h 201"/>
                <a:gd name="T66" fmla="*/ 266 w 289"/>
                <a:gd name="T67" fmla="*/ 157 h 201"/>
                <a:gd name="T68" fmla="*/ 231 w 289"/>
                <a:gd name="T69" fmla="*/ 174 h 201"/>
                <a:gd name="T70" fmla="*/ 220 w 289"/>
                <a:gd name="T71" fmla="*/ 148 h 201"/>
                <a:gd name="T72" fmla="*/ 237 w 289"/>
                <a:gd name="T73" fmla="*/ 133 h 201"/>
                <a:gd name="T74" fmla="*/ 172 w 289"/>
                <a:gd name="T75" fmla="*/ 165 h 201"/>
                <a:gd name="T76" fmla="*/ 198 w 289"/>
                <a:gd name="T77" fmla="*/ 181 h 201"/>
                <a:gd name="T78" fmla="*/ 228 w 289"/>
                <a:gd name="T79" fmla="*/ 159 h 201"/>
                <a:gd name="T80" fmla="*/ 189 w 289"/>
                <a:gd name="T81" fmla="*/ 144 h 201"/>
                <a:gd name="T82" fmla="*/ 135 w 289"/>
                <a:gd name="T83" fmla="*/ 168 h 201"/>
                <a:gd name="T84" fmla="*/ 157 w 289"/>
                <a:gd name="T85" fmla="*/ 170 h 201"/>
                <a:gd name="T86" fmla="*/ 157 w 289"/>
                <a:gd name="T87" fmla="*/ 144 h 201"/>
                <a:gd name="T88" fmla="*/ 130 w 289"/>
                <a:gd name="T89" fmla="*/ 139 h 201"/>
                <a:gd name="T90" fmla="*/ 113 w 289"/>
                <a:gd name="T91" fmla="*/ 159 h 201"/>
                <a:gd name="T92" fmla="*/ 67 w 289"/>
                <a:gd name="T93" fmla="*/ 109 h 201"/>
                <a:gd name="T94" fmla="*/ 85 w 289"/>
                <a:gd name="T95" fmla="*/ 126 h 201"/>
                <a:gd name="T96" fmla="*/ 84 w 289"/>
                <a:gd name="T97" fmla="*/ 104 h 201"/>
                <a:gd name="T98" fmla="*/ 48 w 289"/>
                <a:gd name="T99" fmla="*/ 100 h 201"/>
                <a:gd name="T100" fmla="*/ 32 w 289"/>
                <a:gd name="T101" fmla="*/ 107 h 201"/>
                <a:gd name="T102" fmla="*/ 6 w 289"/>
                <a:gd name="T103" fmla="*/ 63 h 201"/>
                <a:gd name="T104" fmla="*/ 30 w 289"/>
                <a:gd name="T105" fmla="*/ 68 h 201"/>
                <a:gd name="T106" fmla="*/ 71 w 289"/>
                <a:gd name="T107" fmla="*/ 78 h 201"/>
                <a:gd name="T108" fmla="*/ 87 w 289"/>
                <a:gd name="T109" fmla="*/ 55 h 201"/>
                <a:gd name="T110" fmla="*/ 67 w 289"/>
                <a:gd name="T111" fmla="*/ 39 h 201"/>
                <a:gd name="T112" fmla="*/ 26 w 289"/>
                <a:gd name="T113" fmla="*/ 46 h 201"/>
                <a:gd name="T114" fmla="*/ 6 w 289"/>
                <a:gd name="T115" fmla="*/ 63 h 201"/>
                <a:gd name="T116" fmla="*/ 48 w 289"/>
                <a:gd name="T117" fmla="*/ 35 h 201"/>
                <a:gd name="T118" fmla="*/ 63 w 289"/>
                <a:gd name="T119" fmla="*/ 30 h 201"/>
                <a:gd name="T120" fmla="*/ 19 w 289"/>
                <a:gd name="T121" fmla="*/ 4 h 201"/>
                <a:gd name="T122" fmla="*/ 4 w 289"/>
                <a:gd name="T123" fmla="*/ 13 h 20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9"/>
                <a:gd name="T187" fmla="*/ 0 h 201"/>
                <a:gd name="T188" fmla="*/ 289 w 289"/>
                <a:gd name="T189" fmla="*/ 201 h 20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9" h="201">
                  <a:moveTo>
                    <a:pt x="100" y="28"/>
                  </a:moveTo>
                  <a:lnTo>
                    <a:pt x="100" y="28"/>
                  </a:lnTo>
                  <a:lnTo>
                    <a:pt x="97" y="28"/>
                  </a:lnTo>
                  <a:lnTo>
                    <a:pt x="97" y="31"/>
                  </a:lnTo>
                  <a:lnTo>
                    <a:pt x="97" y="35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4" y="37"/>
                  </a:lnTo>
                  <a:lnTo>
                    <a:pt x="106" y="33"/>
                  </a:lnTo>
                  <a:lnTo>
                    <a:pt x="106" y="31"/>
                  </a:lnTo>
                  <a:lnTo>
                    <a:pt x="106" y="30"/>
                  </a:lnTo>
                  <a:lnTo>
                    <a:pt x="104" y="28"/>
                  </a:lnTo>
                  <a:lnTo>
                    <a:pt x="102" y="28"/>
                  </a:lnTo>
                  <a:lnTo>
                    <a:pt x="100" y="28"/>
                  </a:lnTo>
                  <a:close/>
                  <a:moveTo>
                    <a:pt x="198" y="65"/>
                  </a:moveTo>
                  <a:lnTo>
                    <a:pt x="196" y="67"/>
                  </a:lnTo>
                  <a:lnTo>
                    <a:pt x="196" y="68"/>
                  </a:lnTo>
                  <a:lnTo>
                    <a:pt x="194" y="68"/>
                  </a:lnTo>
                  <a:lnTo>
                    <a:pt x="194" y="70"/>
                  </a:lnTo>
                  <a:lnTo>
                    <a:pt x="194" y="72"/>
                  </a:lnTo>
                  <a:lnTo>
                    <a:pt x="194" y="74"/>
                  </a:lnTo>
                  <a:lnTo>
                    <a:pt x="196" y="74"/>
                  </a:lnTo>
                  <a:lnTo>
                    <a:pt x="196" y="76"/>
                  </a:lnTo>
                  <a:lnTo>
                    <a:pt x="200" y="78"/>
                  </a:lnTo>
                  <a:lnTo>
                    <a:pt x="206" y="81"/>
                  </a:lnTo>
                  <a:lnTo>
                    <a:pt x="207" y="81"/>
                  </a:lnTo>
                  <a:lnTo>
                    <a:pt x="211" y="83"/>
                  </a:lnTo>
                  <a:lnTo>
                    <a:pt x="211" y="78"/>
                  </a:lnTo>
                  <a:lnTo>
                    <a:pt x="211" y="74"/>
                  </a:lnTo>
                  <a:lnTo>
                    <a:pt x="211" y="72"/>
                  </a:lnTo>
                  <a:lnTo>
                    <a:pt x="209" y="70"/>
                  </a:lnTo>
                  <a:lnTo>
                    <a:pt x="209" y="68"/>
                  </a:lnTo>
                  <a:lnTo>
                    <a:pt x="207" y="68"/>
                  </a:lnTo>
                  <a:lnTo>
                    <a:pt x="204" y="67"/>
                  </a:lnTo>
                  <a:lnTo>
                    <a:pt x="200" y="65"/>
                  </a:lnTo>
                  <a:lnTo>
                    <a:pt x="198" y="65"/>
                  </a:lnTo>
                  <a:close/>
                  <a:moveTo>
                    <a:pt x="215" y="59"/>
                  </a:moveTo>
                  <a:lnTo>
                    <a:pt x="217" y="61"/>
                  </a:lnTo>
                  <a:lnTo>
                    <a:pt x="218" y="65"/>
                  </a:lnTo>
                  <a:lnTo>
                    <a:pt x="222" y="65"/>
                  </a:lnTo>
                  <a:lnTo>
                    <a:pt x="224" y="67"/>
                  </a:lnTo>
                  <a:lnTo>
                    <a:pt x="226" y="67"/>
                  </a:lnTo>
                  <a:lnTo>
                    <a:pt x="228" y="68"/>
                  </a:lnTo>
                  <a:lnTo>
                    <a:pt x="230" y="68"/>
                  </a:lnTo>
                  <a:lnTo>
                    <a:pt x="231" y="68"/>
                  </a:lnTo>
                  <a:lnTo>
                    <a:pt x="235" y="67"/>
                  </a:lnTo>
                  <a:lnTo>
                    <a:pt x="239" y="67"/>
                  </a:lnTo>
                  <a:lnTo>
                    <a:pt x="244" y="65"/>
                  </a:lnTo>
                  <a:lnTo>
                    <a:pt x="248" y="63"/>
                  </a:lnTo>
                  <a:lnTo>
                    <a:pt x="244" y="61"/>
                  </a:lnTo>
                  <a:lnTo>
                    <a:pt x="239" y="57"/>
                  </a:lnTo>
                  <a:lnTo>
                    <a:pt x="235" y="55"/>
                  </a:lnTo>
                  <a:lnTo>
                    <a:pt x="231" y="55"/>
                  </a:lnTo>
                  <a:lnTo>
                    <a:pt x="230" y="55"/>
                  </a:lnTo>
                  <a:lnTo>
                    <a:pt x="228" y="55"/>
                  </a:lnTo>
                  <a:lnTo>
                    <a:pt x="224" y="55"/>
                  </a:lnTo>
                  <a:lnTo>
                    <a:pt x="222" y="55"/>
                  </a:lnTo>
                  <a:lnTo>
                    <a:pt x="220" y="55"/>
                  </a:lnTo>
                  <a:lnTo>
                    <a:pt x="218" y="57"/>
                  </a:lnTo>
                  <a:lnTo>
                    <a:pt x="215" y="59"/>
                  </a:lnTo>
                  <a:close/>
                  <a:moveTo>
                    <a:pt x="276" y="92"/>
                  </a:moveTo>
                  <a:lnTo>
                    <a:pt x="272" y="96"/>
                  </a:lnTo>
                  <a:lnTo>
                    <a:pt x="272" y="98"/>
                  </a:lnTo>
                  <a:lnTo>
                    <a:pt x="270" y="100"/>
                  </a:lnTo>
                  <a:lnTo>
                    <a:pt x="270" y="102"/>
                  </a:lnTo>
                  <a:lnTo>
                    <a:pt x="270" y="104"/>
                  </a:lnTo>
                  <a:lnTo>
                    <a:pt x="272" y="107"/>
                  </a:lnTo>
                  <a:lnTo>
                    <a:pt x="272" y="109"/>
                  </a:lnTo>
                  <a:lnTo>
                    <a:pt x="274" y="113"/>
                  </a:lnTo>
                  <a:lnTo>
                    <a:pt x="276" y="115"/>
                  </a:lnTo>
                  <a:lnTo>
                    <a:pt x="278" y="115"/>
                  </a:lnTo>
                  <a:lnTo>
                    <a:pt x="278" y="116"/>
                  </a:lnTo>
                  <a:lnTo>
                    <a:pt x="279" y="116"/>
                  </a:lnTo>
                  <a:lnTo>
                    <a:pt x="281" y="118"/>
                  </a:lnTo>
                  <a:lnTo>
                    <a:pt x="283" y="118"/>
                  </a:lnTo>
                  <a:lnTo>
                    <a:pt x="289" y="118"/>
                  </a:lnTo>
                  <a:lnTo>
                    <a:pt x="283" y="105"/>
                  </a:lnTo>
                  <a:lnTo>
                    <a:pt x="276" y="92"/>
                  </a:lnTo>
                  <a:close/>
                  <a:moveTo>
                    <a:pt x="213" y="89"/>
                  </a:moveTo>
                  <a:lnTo>
                    <a:pt x="213" y="89"/>
                  </a:lnTo>
                  <a:lnTo>
                    <a:pt x="211" y="89"/>
                  </a:lnTo>
                  <a:lnTo>
                    <a:pt x="209" y="89"/>
                  </a:lnTo>
                  <a:lnTo>
                    <a:pt x="209" y="91"/>
                  </a:lnTo>
                  <a:lnTo>
                    <a:pt x="207" y="92"/>
                  </a:lnTo>
                  <a:lnTo>
                    <a:pt x="207" y="94"/>
                  </a:lnTo>
                  <a:lnTo>
                    <a:pt x="209" y="96"/>
                  </a:lnTo>
                  <a:lnTo>
                    <a:pt x="209" y="98"/>
                  </a:lnTo>
                  <a:lnTo>
                    <a:pt x="211" y="100"/>
                  </a:lnTo>
                  <a:lnTo>
                    <a:pt x="211" y="102"/>
                  </a:lnTo>
                  <a:lnTo>
                    <a:pt x="213" y="104"/>
                  </a:lnTo>
                  <a:lnTo>
                    <a:pt x="215" y="105"/>
                  </a:lnTo>
                  <a:lnTo>
                    <a:pt x="218" y="107"/>
                  </a:lnTo>
                  <a:lnTo>
                    <a:pt x="220" y="102"/>
                  </a:lnTo>
                  <a:lnTo>
                    <a:pt x="220" y="98"/>
                  </a:lnTo>
                  <a:lnTo>
                    <a:pt x="220" y="94"/>
                  </a:lnTo>
                  <a:lnTo>
                    <a:pt x="218" y="92"/>
                  </a:lnTo>
                  <a:lnTo>
                    <a:pt x="217" y="91"/>
                  </a:lnTo>
                  <a:lnTo>
                    <a:pt x="213" y="89"/>
                  </a:lnTo>
                  <a:close/>
                  <a:moveTo>
                    <a:pt x="185" y="92"/>
                  </a:moveTo>
                  <a:lnTo>
                    <a:pt x="183" y="92"/>
                  </a:lnTo>
                  <a:lnTo>
                    <a:pt x="183" y="94"/>
                  </a:lnTo>
                  <a:lnTo>
                    <a:pt x="181" y="94"/>
                  </a:lnTo>
                  <a:lnTo>
                    <a:pt x="181" y="96"/>
                  </a:lnTo>
                  <a:lnTo>
                    <a:pt x="180" y="98"/>
                  </a:lnTo>
                  <a:lnTo>
                    <a:pt x="181" y="100"/>
                  </a:lnTo>
                  <a:lnTo>
                    <a:pt x="183" y="102"/>
                  </a:lnTo>
                  <a:lnTo>
                    <a:pt x="187" y="104"/>
                  </a:lnTo>
                  <a:lnTo>
                    <a:pt x="189" y="102"/>
                  </a:lnTo>
                  <a:lnTo>
                    <a:pt x="191" y="102"/>
                  </a:lnTo>
                  <a:lnTo>
                    <a:pt x="191" y="100"/>
                  </a:lnTo>
                  <a:lnTo>
                    <a:pt x="191" y="96"/>
                  </a:lnTo>
                  <a:lnTo>
                    <a:pt x="189" y="94"/>
                  </a:lnTo>
                  <a:lnTo>
                    <a:pt x="187" y="92"/>
                  </a:lnTo>
                  <a:lnTo>
                    <a:pt x="185" y="92"/>
                  </a:lnTo>
                  <a:close/>
                  <a:moveTo>
                    <a:pt x="167" y="92"/>
                  </a:moveTo>
                  <a:lnTo>
                    <a:pt x="167" y="96"/>
                  </a:lnTo>
                  <a:lnTo>
                    <a:pt x="167" y="98"/>
                  </a:lnTo>
                  <a:lnTo>
                    <a:pt x="165" y="96"/>
                  </a:lnTo>
                  <a:lnTo>
                    <a:pt x="163" y="92"/>
                  </a:lnTo>
                  <a:lnTo>
                    <a:pt x="161" y="91"/>
                  </a:lnTo>
                  <a:lnTo>
                    <a:pt x="161" y="89"/>
                  </a:lnTo>
                  <a:lnTo>
                    <a:pt x="159" y="87"/>
                  </a:lnTo>
                  <a:lnTo>
                    <a:pt x="157" y="81"/>
                  </a:lnTo>
                  <a:lnTo>
                    <a:pt x="156" y="76"/>
                  </a:lnTo>
                  <a:lnTo>
                    <a:pt x="154" y="74"/>
                  </a:lnTo>
                  <a:lnTo>
                    <a:pt x="152" y="72"/>
                  </a:lnTo>
                  <a:lnTo>
                    <a:pt x="150" y="72"/>
                  </a:lnTo>
                  <a:lnTo>
                    <a:pt x="148" y="72"/>
                  </a:lnTo>
                  <a:lnTo>
                    <a:pt x="146" y="72"/>
                  </a:lnTo>
                  <a:lnTo>
                    <a:pt x="145" y="74"/>
                  </a:lnTo>
                  <a:lnTo>
                    <a:pt x="143" y="81"/>
                  </a:lnTo>
                  <a:lnTo>
                    <a:pt x="145" y="87"/>
                  </a:lnTo>
                  <a:lnTo>
                    <a:pt x="146" y="92"/>
                  </a:lnTo>
                  <a:lnTo>
                    <a:pt x="148" y="98"/>
                  </a:lnTo>
                  <a:lnTo>
                    <a:pt x="150" y="102"/>
                  </a:lnTo>
                  <a:lnTo>
                    <a:pt x="150" y="107"/>
                  </a:lnTo>
                  <a:lnTo>
                    <a:pt x="152" y="111"/>
                  </a:lnTo>
                  <a:lnTo>
                    <a:pt x="154" y="115"/>
                  </a:lnTo>
                  <a:lnTo>
                    <a:pt x="154" y="118"/>
                  </a:lnTo>
                  <a:lnTo>
                    <a:pt x="156" y="120"/>
                  </a:lnTo>
                  <a:lnTo>
                    <a:pt x="157" y="122"/>
                  </a:lnTo>
                  <a:lnTo>
                    <a:pt x="159" y="124"/>
                  </a:lnTo>
                  <a:lnTo>
                    <a:pt x="163" y="128"/>
                  </a:lnTo>
                  <a:lnTo>
                    <a:pt x="165" y="124"/>
                  </a:lnTo>
                  <a:lnTo>
                    <a:pt x="165" y="122"/>
                  </a:lnTo>
                  <a:lnTo>
                    <a:pt x="167" y="122"/>
                  </a:lnTo>
                  <a:lnTo>
                    <a:pt x="167" y="120"/>
                  </a:lnTo>
                  <a:lnTo>
                    <a:pt x="165" y="111"/>
                  </a:lnTo>
                  <a:lnTo>
                    <a:pt x="167" y="102"/>
                  </a:lnTo>
                  <a:lnTo>
                    <a:pt x="167" y="107"/>
                  </a:lnTo>
                  <a:lnTo>
                    <a:pt x="167" y="111"/>
                  </a:lnTo>
                  <a:lnTo>
                    <a:pt x="169" y="118"/>
                  </a:lnTo>
                  <a:lnTo>
                    <a:pt x="178" y="120"/>
                  </a:lnTo>
                  <a:lnTo>
                    <a:pt x="180" y="116"/>
                  </a:lnTo>
                  <a:lnTo>
                    <a:pt x="181" y="118"/>
                  </a:lnTo>
                  <a:lnTo>
                    <a:pt x="181" y="120"/>
                  </a:lnTo>
                  <a:lnTo>
                    <a:pt x="183" y="120"/>
                  </a:lnTo>
                  <a:lnTo>
                    <a:pt x="185" y="120"/>
                  </a:lnTo>
                  <a:lnTo>
                    <a:pt x="187" y="120"/>
                  </a:lnTo>
                  <a:lnTo>
                    <a:pt x="187" y="118"/>
                  </a:lnTo>
                  <a:lnTo>
                    <a:pt x="189" y="116"/>
                  </a:lnTo>
                  <a:lnTo>
                    <a:pt x="189" y="109"/>
                  </a:lnTo>
                  <a:lnTo>
                    <a:pt x="187" y="105"/>
                  </a:lnTo>
                  <a:lnTo>
                    <a:pt x="185" y="105"/>
                  </a:lnTo>
                  <a:lnTo>
                    <a:pt x="183" y="105"/>
                  </a:lnTo>
                  <a:lnTo>
                    <a:pt x="181" y="105"/>
                  </a:lnTo>
                  <a:lnTo>
                    <a:pt x="181" y="107"/>
                  </a:lnTo>
                  <a:lnTo>
                    <a:pt x="180" y="109"/>
                  </a:lnTo>
                  <a:lnTo>
                    <a:pt x="180" y="105"/>
                  </a:lnTo>
                  <a:lnTo>
                    <a:pt x="178" y="100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4" y="91"/>
                  </a:lnTo>
                  <a:lnTo>
                    <a:pt x="172" y="91"/>
                  </a:lnTo>
                  <a:lnTo>
                    <a:pt x="170" y="91"/>
                  </a:lnTo>
                  <a:lnTo>
                    <a:pt x="169" y="91"/>
                  </a:lnTo>
                  <a:lnTo>
                    <a:pt x="169" y="92"/>
                  </a:lnTo>
                  <a:lnTo>
                    <a:pt x="167" y="92"/>
                  </a:lnTo>
                  <a:close/>
                  <a:moveTo>
                    <a:pt x="130" y="96"/>
                  </a:moveTo>
                  <a:lnTo>
                    <a:pt x="133" y="98"/>
                  </a:lnTo>
                  <a:lnTo>
                    <a:pt x="137" y="98"/>
                  </a:lnTo>
                  <a:lnTo>
                    <a:pt x="139" y="100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5" y="102"/>
                  </a:lnTo>
                  <a:lnTo>
                    <a:pt x="146" y="102"/>
                  </a:lnTo>
                  <a:lnTo>
                    <a:pt x="148" y="100"/>
                  </a:lnTo>
                  <a:lnTo>
                    <a:pt x="146" y="96"/>
                  </a:lnTo>
                  <a:lnTo>
                    <a:pt x="145" y="92"/>
                  </a:lnTo>
                  <a:lnTo>
                    <a:pt x="143" y="89"/>
                  </a:lnTo>
                  <a:lnTo>
                    <a:pt x="141" y="87"/>
                  </a:lnTo>
                  <a:lnTo>
                    <a:pt x="139" y="87"/>
                  </a:lnTo>
                  <a:lnTo>
                    <a:pt x="137" y="85"/>
                  </a:lnTo>
                  <a:lnTo>
                    <a:pt x="133" y="83"/>
                  </a:lnTo>
                  <a:lnTo>
                    <a:pt x="132" y="83"/>
                  </a:lnTo>
                  <a:lnTo>
                    <a:pt x="128" y="85"/>
                  </a:lnTo>
                  <a:lnTo>
                    <a:pt x="126" y="87"/>
                  </a:lnTo>
                  <a:lnTo>
                    <a:pt x="124" y="89"/>
                  </a:lnTo>
                  <a:lnTo>
                    <a:pt x="124" y="92"/>
                  </a:lnTo>
                  <a:lnTo>
                    <a:pt x="126" y="94"/>
                  </a:lnTo>
                  <a:lnTo>
                    <a:pt x="128" y="94"/>
                  </a:lnTo>
                  <a:lnTo>
                    <a:pt x="130" y="96"/>
                  </a:lnTo>
                  <a:close/>
                  <a:moveTo>
                    <a:pt x="135" y="111"/>
                  </a:moveTo>
                  <a:lnTo>
                    <a:pt x="135" y="113"/>
                  </a:lnTo>
                  <a:lnTo>
                    <a:pt x="135" y="115"/>
                  </a:lnTo>
                  <a:lnTo>
                    <a:pt x="137" y="116"/>
                  </a:lnTo>
                  <a:lnTo>
                    <a:pt x="137" y="118"/>
                  </a:lnTo>
                  <a:lnTo>
                    <a:pt x="139" y="120"/>
                  </a:lnTo>
                  <a:lnTo>
                    <a:pt x="141" y="122"/>
                  </a:lnTo>
                  <a:lnTo>
                    <a:pt x="146" y="124"/>
                  </a:lnTo>
                  <a:lnTo>
                    <a:pt x="152" y="126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2" y="118"/>
                  </a:lnTo>
                  <a:lnTo>
                    <a:pt x="152" y="116"/>
                  </a:lnTo>
                  <a:lnTo>
                    <a:pt x="148" y="113"/>
                  </a:lnTo>
                  <a:lnTo>
                    <a:pt x="146" y="111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7" y="109"/>
                  </a:lnTo>
                  <a:lnTo>
                    <a:pt x="135" y="111"/>
                  </a:lnTo>
                  <a:close/>
                  <a:moveTo>
                    <a:pt x="257" y="98"/>
                  </a:moveTo>
                  <a:lnTo>
                    <a:pt x="255" y="100"/>
                  </a:lnTo>
                  <a:lnTo>
                    <a:pt x="254" y="102"/>
                  </a:lnTo>
                  <a:lnTo>
                    <a:pt x="252" y="104"/>
                  </a:lnTo>
                  <a:lnTo>
                    <a:pt x="252" y="105"/>
                  </a:lnTo>
                  <a:lnTo>
                    <a:pt x="252" y="111"/>
                  </a:lnTo>
                  <a:lnTo>
                    <a:pt x="255" y="115"/>
                  </a:lnTo>
                  <a:lnTo>
                    <a:pt x="259" y="115"/>
                  </a:lnTo>
                  <a:lnTo>
                    <a:pt x="261" y="115"/>
                  </a:lnTo>
                  <a:lnTo>
                    <a:pt x="263" y="111"/>
                  </a:lnTo>
                  <a:lnTo>
                    <a:pt x="263" y="107"/>
                  </a:lnTo>
                  <a:lnTo>
                    <a:pt x="263" y="102"/>
                  </a:lnTo>
                  <a:lnTo>
                    <a:pt x="259" y="98"/>
                  </a:lnTo>
                  <a:lnTo>
                    <a:pt x="257" y="98"/>
                  </a:lnTo>
                  <a:close/>
                  <a:moveTo>
                    <a:pt x="183" y="126"/>
                  </a:moveTo>
                  <a:lnTo>
                    <a:pt x="181" y="126"/>
                  </a:lnTo>
                  <a:lnTo>
                    <a:pt x="180" y="126"/>
                  </a:lnTo>
                  <a:lnTo>
                    <a:pt x="178" y="128"/>
                  </a:lnTo>
                  <a:lnTo>
                    <a:pt x="178" y="129"/>
                  </a:lnTo>
                  <a:lnTo>
                    <a:pt x="176" y="131"/>
                  </a:lnTo>
                  <a:lnTo>
                    <a:pt x="178" y="133"/>
                  </a:lnTo>
                  <a:lnTo>
                    <a:pt x="178" y="135"/>
                  </a:lnTo>
                  <a:lnTo>
                    <a:pt x="180" y="135"/>
                  </a:lnTo>
                  <a:lnTo>
                    <a:pt x="181" y="137"/>
                  </a:lnTo>
                  <a:lnTo>
                    <a:pt x="183" y="137"/>
                  </a:lnTo>
                  <a:lnTo>
                    <a:pt x="187" y="137"/>
                  </a:lnTo>
                  <a:lnTo>
                    <a:pt x="189" y="135"/>
                  </a:lnTo>
                  <a:lnTo>
                    <a:pt x="189" y="133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89" y="129"/>
                  </a:lnTo>
                  <a:lnTo>
                    <a:pt x="189" y="128"/>
                  </a:lnTo>
                  <a:lnTo>
                    <a:pt x="187" y="126"/>
                  </a:lnTo>
                  <a:lnTo>
                    <a:pt x="185" y="126"/>
                  </a:lnTo>
                  <a:lnTo>
                    <a:pt x="183" y="126"/>
                  </a:lnTo>
                  <a:close/>
                  <a:moveTo>
                    <a:pt x="163" y="128"/>
                  </a:moveTo>
                  <a:lnTo>
                    <a:pt x="163" y="128"/>
                  </a:lnTo>
                  <a:lnTo>
                    <a:pt x="161" y="128"/>
                  </a:lnTo>
                  <a:lnTo>
                    <a:pt x="161" y="129"/>
                  </a:lnTo>
                  <a:lnTo>
                    <a:pt x="159" y="129"/>
                  </a:lnTo>
                  <a:lnTo>
                    <a:pt x="159" y="133"/>
                  </a:lnTo>
                  <a:lnTo>
                    <a:pt x="159" y="139"/>
                  </a:lnTo>
                  <a:lnTo>
                    <a:pt x="159" y="140"/>
                  </a:lnTo>
                  <a:lnTo>
                    <a:pt x="161" y="140"/>
                  </a:lnTo>
                  <a:lnTo>
                    <a:pt x="161" y="142"/>
                  </a:lnTo>
                  <a:lnTo>
                    <a:pt x="163" y="142"/>
                  </a:lnTo>
                  <a:lnTo>
                    <a:pt x="165" y="140"/>
                  </a:lnTo>
                  <a:lnTo>
                    <a:pt x="165" y="142"/>
                  </a:lnTo>
                  <a:lnTo>
                    <a:pt x="165" y="144"/>
                  </a:lnTo>
                  <a:lnTo>
                    <a:pt x="165" y="146"/>
                  </a:lnTo>
                  <a:lnTo>
                    <a:pt x="165" y="148"/>
                  </a:lnTo>
                  <a:lnTo>
                    <a:pt x="167" y="148"/>
                  </a:lnTo>
                  <a:lnTo>
                    <a:pt x="169" y="150"/>
                  </a:lnTo>
                  <a:lnTo>
                    <a:pt x="170" y="150"/>
                  </a:lnTo>
                  <a:lnTo>
                    <a:pt x="172" y="150"/>
                  </a:lnTo>
                  <a:lnTo>
                    <a:pt x="174" y="150"/>
                  </a:lnTo>
                  <a:lnTo>
                    <a:pt x="176" y="148"/>
                  </a:lnTo>
                  <a:lnTo>
                    <a:pt x="176" y="146"/>
                  </a:lnTo>
                  <a:lnTo>
                    <a:pt x="176" y="144"/>
                  </a:lnTo>
                  <a:lnTo>
                    <a:pt x="178" y="142"/>
                  </a:lnTo>
                  <a:lnTo>
                    <a:pt x="176" y="142"/>
                  </a:lnTo>
                  <a:lnTo>
                    <a:pt x="176" y="140"/>
                  </a:lnTo>
                  <a:lnTo>
                    <a:pt x="174" y="139"/>
                  </a:lnTo>
                  <a:lnTo>
                    <a:pt x="172" y="137"/>
                  </a:lnTo>
                  <a:lnTo>
                    <a:pt x="170" y="137"/>
                  </a:lnTo>
                  <a:lnTo>
                    <a:pt x="169" y="137"/>
                  </a:lnTo>
                  <a:lnTo>
                    <a:pt x="169" y="139"/>
                  </a:lnTo>
                  <a:lnTo>
                    <a:pt x="167" y="139"/>
                  </a:lnTo>
                  <a:lnTo>
                    <a:pt x="169" y="137"/>
                  </a:lnTo>
                  <a:lnTo>
                    <a:pt x="169" y="135"/>
                  </a:lnTo>
                  <a:lnTo>
                    <a:pt x="167" y="131"/>
                  </a:lnTo>
                  <a:lnTo>
                    <a:pt x="165" y="128"/>
                  </a:lnTo>
                  <a:lnTo>
                    <a:pt x="163" y="128"/>
                  </a:lnTo>
                  <a:close/>
                  <a:moveTo>
                    <a:pt x="159" y="174"/>
                  </a:moveTo>
                  <a:lnTo>
                    <a:pt x="157" y="174"/>
                  </a:lnTo>
                  <a:lnTo>
                    <a:pt x="156" y="174"/>
                  </a:lnTo>
                  <a:lnTo>
                    <a:pt x="154" y="176"/>
                  </a:lnTo>
                  <a:lnTo>
                    <a:pt x="154" y="177"/>
                  </a:lnTo>
                  <a:lnTo>
                    <a:pt x="154" y="179"/>
                  </a:lnTo>
                  <a:lnTo>
                    <a:pt x="156" y="181"/>
                  </a:lnTo>
                  <a:lnTo>
                    <a:pt x="157" y="181"/>
                  </a:lnTo>
                  <a:lnTo>
                    <a:pt x="159" y="183"/>
                  </a:lnTo>
                  <a:lnTo>
                    <a:pt x="159" y="181"/>
                  </a:lnTo>
                  <a:lnTo>
                    <a:pt x="161" y="181"/>
                  </a:lnTo>
                  <a:lnTo>
                    <a:pt x="163" y="179"/>
                  </a:lnTo>
                  <a:lnTo>
                    <a:pt x="163" y="177"/>
                  </a:lnTo>
                  <a:lnTo>
                    <a:pt x="163" y="176"/>
                  </a:lnTo>
                  <a:lnTo>
                    <a:pt x="161" y="174"/>
                  </a:lnTo>
                  <a:lnTo>
                    <a:pt x="159" y="174"/>
                  </a:lnTo>
                  <a:close/>
                  <a:moveTo>
                    <a:pt x="156" y="183"/>
                  </a:moveTo>
                  <a:lnTo>
                    <a:pt x="154" y="185"/>
                  </a:lnTo>
                  <a:lnTo>
                    <a:pt x="152" y="185"/>
                  </a:lnTo>
                  <a:lnTo>
                    <a:pt x="148" y="190"/>
                  </a:lnTo>
                  <a:lnTo>
                    <a:pt x="148" y="196"/>
                  </a:lnTo>
                  <a:lnTo>
                    <a:pt x="150" y="200"/>
                  </a:lnTo>
                  <a:lnTo>
                    <a:pt x="154" y="201"/>
                  </a:lnTo>
                  <a:lnTo>
                    <a:pt x="156" y="201"/>
                  </a:lnTo>
                  <a:lnTo>
                    <a:pt x="159" y="200"/>
                  </a:lnTo>
                  <a:lnTo>
                    <a:pt x="161" y="198"/>
                  </a:lnTo>
                  <a:lnTo>
                    <a:pt x="163" y="194"/>
                  </a:lnTo>
                  <a:lnTo>
                    <a:pt x="163" y="189"/>
                  </a:lnTo>
                  <a:lnTo>
                    <a:pt x="159" y="185"/>
                  </a:lnTo>
                  <a:lnTo>
                    <a:pt x="157" y="185"/>
                  </a:lnTo>
                  <a:lnTo>
                    <a:pt x="156" y="183"/>
                  </a:lnTo>
                  <a:close/>
                  <a:moveTo>
                    <a:pt x="141" y="185"/>
                  </a:moveTo>
                  <a:lnTo>
                    <a:pt x="137" y="187"/>
                  </a:lnTo>
                  <a:lnTo>
                    <a:pt x="135" y="187"/>
                  </a:lnTo>
                  <a:lnTo>
                    <a:pt x="133" y="189"/>
                  </a:lnTo>
                  <a:lnTo>
                    <a:pt x="133" y="190"/>
                  </a:lnTo>
                  <a:lnTo>
                    <a:pt x="133" y="192"/>
                  </a:lnTo>
                  <a:lnTo>
                    <a:pt x="133" y="194"/>
                  </a:lnTo>
                  <a:lnTo>
                    <a:pt x="135" y="194"/>
                  </a:lnTo>
                  <a:lnTo>
                    <a:pt x="141" y="196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8" y="192"/>
                  </a:lnTo>
                  <a:lnTo>
                    <a:pt x="148" y="190"/>
                  </a:lnTo>
                  <a:lnTo>
                    <a:pt x="146" y="189"/>
                  </a:lnTo>
                  <a:lnTo>
                    <a:pt x="146" y="187"/>
                  </a:lnTo>
                  <a:lnTo>
                    <a:pt x="143" y="187"/>
                  </a:lnTo>
                  <a:lnTo>
                    <a:pt x="141" y="185"/>
                  </a:lnTo>
                  <a:close/>
                  <a:moveTo>
                    <a:pt x="102" y="85"/>
                  </a:moveTo>
                  <a:lnTo>
                    <a:pt x="100" y="85"/>
                  </a:lnTo>
                  <a:lnTo>
                    <a:pt x="98" y="87"/>
                  </a:lnTo>
                  <a:lnTo>
                    <a:pt x="97" y="91"/>
                  </a:lnTo>
                  <a:lnTo>
                    <a:pt x="98" y="94"/>
                  </a:lnTo>
                  <a:lnTo>
                    <a:pt x="100" y="96"/>
                  </a:lnTo>
                  <a:lnTo>
                    <a:pt x="102" y="96"/>
                  </a:lnTo>
                  <a:lnTo>
                    <a:pt x="104" y="96"/>
                  </a:lnTo>
                  <a:lnTo>
                    <a:pt x="106" y="96"/>
                  </a:lnTo>
                  <a:lnTo>
                    <a:pt x="106" y="94"/>
                  </a:lnTo>
                  <a:lnTo>
                    <a:pt x="108" y="92"/>
                  </a:lnTo>
                  <a:lnTo>
                    <a:pt x="108" y="91"/>
                  </a:lnTo>
                  <a:lnTo>
                    <a:pt x="108" y="87"/>
                  </a:lnTo>
                  <a:lnTo>
                    <a:pt x="106" y="87"/>
                  </a:lnTo>
                  <a:lnTo>
                    <a:pt x="106" y="85"/>
                  </a:lnTo>
                  <a:lnTo>
                    <a:pt x="104" y="85"/>
                  </a:lnTo>
                  <a:lnTo>
                    <a:pt x="102" y="85"/>
                  </a:lnTo>
                  <a:close/>
                  <a:moveTo>
                    <a:pt x="167" y="76"/>
                  </a:moveTo>
                  <a:lnTo>
                    <a:pt x="169" y="80"/>
                  </a:lnTo>
                  <a:lnTo>
                    <a:pt x="170" y="81"/>
                  </a:lnTo>
                  <a:lnTo>
                    <a:pt x="172" y="81"/>
                  </a:lnTo>
                  <a:lnTo>
                    <a:pt x="174" y="83"/>
                  </a:lnTo>
                  <a:lnTo>
                    <a:pt x="176" y="85"/>
                  </a:lnTo>
                  <a:lnTo>
                    <a:pt x="180" y="85"/>
                  </a:lnTo>
                  <a:lnTo>
                    <a:pt x="181" y="87"/>
                  </a:lnTo>
                  <a:lnTo>
                    <a:pt x="183" y="87"/>
                  </a:lnTo>
                  <a:lnTo>
                    <a:pt x="185" y="87"/>
                  </a:lnTo>
                  <a:lnTo>
                    <a:pt x="187" y="87"/>
                  </a:lnTo>
                  <a:lnTo>
                    <a:pt x="189" y="87"/>
                  </a:lnTo>
                  <a:lnTo>
                    <a:pt x="191" y="85"/>
                  </a:lnTo>
                  <a:lnTo>
                    <a:pt x="191" y="83"/>
                  </a:lnTo>
                  <a:lnTo>
                    <a:pt x="193" y="81"/>
                  </a:lnTo>
                  <a:lnTo>
                    <a:pt x="193" y="80"/>
                  </a:lnTo>
                  <a:lnTo>
                    <a:pt x="193" y="78"/>
                  </a:lnTo>
                  <a:lnTo>
                    <a:pt x="193" y="72"/>
                  </a:lnTo>
                  <a:lnTo>
                    <a:pt x="191" y="67"/>
                  </a:lnTo>
                  <a:lnTo>
                    <a:pt x="185" y="70"/>
                  </a:lnTo>
                  <a:lnTo>
                    <a:pt x="183" y="70"/>
                  </a:lnTo>
                  <a:lnTo>
                    <a:pt x="181" y="70"/>
                  </a:lnTo>
                  <a:lnTo>
                    <a:pt x="180" y="70"/>
                  </a:lnTo>
                  <a:lnTo>
                    <a:pt x="178" y="68"/>
                  </a:lnTo>
                  <a:lnTo>
                    <a:pt x="176" y="67"/>
                  </a:lnTo>
                  <a:lnTo>
                    <a:pt x="174" y="67"/>
                  </a:lnTo>
                  <a:lnTo>
                    <a:pt x="172" y="67"/>
                  </a:lnTo>
                  <a:lnTo>
                    <a:pt x="170" y="67"/>
                  </a:lnTo>
                  <a:lnTo>
                    <a:pt x="169" y="67"/>
                  </a:lnTo>
                  <a:lnTo>
                    <a:pt x="165" y="68"/>
                  </a:lnTo>
                  <a:lnTo>
                    <a:pt x="165" y="72"/>
                  </a:lnTo>
                  <a:lnTo>
                    <a:pt x="165" y="74"/>
                  </a:lnTo>
                  <a:lnTo>
                    <a:pt x="167" y="76"/>
                  </a:lnTo>
                  <a:close/>
                  <a:moveTo>
                    <a:pt x="233" y="179"/>
                  </a:moveTo>
                  <a:lnTo>
                    <a:pt x="233" y="179"/>
                  </a:lnTo>
                  <a:lnTo>
                    <a:pt x="235" y="181"/>
                  </a:lnTo>
                  <a:lnTo>
                    <a:pt x="239" y="183"/>
                  </a:lnTo>
                  <a:lnTo>
                    <a:pt x="241" y="185"/>
                  </a:lnTo>
                  <a:lnTo>
                    <a:pt x="242" y="185"/>
                  </a:lnTo>
                  <a:lnTo>
                    <a:pt x="244" y="187"/>
                  </a:lnTo>
                  <a:lnTo>
                    <a:pt x="246" y="187"/>
                  </a:lnTo>
                  <a:lnTo>
                    <a:pt x="248" y="187"/>
                  </a:lnTo>
                  <a:lnTo>
                    <a:pt x="250" y="187"/>
                  </a:lnTo>
                  <a:lnTo>
                    <a:pt x="254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1" y="187"/>
                  </a:lnTo>
                  <a:lnTo>
                    <a:pt x="265" y="185"/>
                  </a:lnTo>
                  <a:lnTo>
                    <a:pt x="274" y="179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1" y="176"/>
                  </a:lnTo>
                  <a:lnTo>
                    <a:pt x="281" y="174"/>
                  </a:lnTo>
                  <a:lnTo>
                    <a:pt x="283" y="172"/>
                  </a:lnTo>
                  <a:lnTo>
                    <a:pt x="283" y="170"/>
                  </a:lnTo>
                  <a:lnTo>
                    <a:pt x="283" y="168"/>
                  </a:lnTo>
                  <a:lnTo>
                    <a:pt x="283" y="166"/>
                  </a:lnTo>
                  <a:lnTo>
                    <a:pt x="283" y="163"/>
                  </a:lnTo>
                  <a:lnTo>
                    <a:pt x="283" y="161"/>
                  </a:lnTo>
                  <a:lnTo>
                    <a:pt x="281" y="157"/>
                  </a:lnTo>
                  <a:lnTo>
                    <a:pt x="281" y="155"/>
                  </a:lnTo>
                  <a:lnTo>
                    <a:pt x="279" y="153"/>
                  </a:lnTo>
                  <a:lnTo>
                    <a:pt x="278" y="152"/>
                  </a:lnTo>
                  <a:lnTo>
                    <a:pt x="276" y="152"/>
                  </a:lnTo>
                  <a:lnTo>
                    <a:pt x="274" y="152"/>
                  </a:lnTo>
                  <a:lnTo>
                    <a:pt x="270" y="152"/>
                  </a:lnTo>
                  <a:lnTo>
                    <a:pt x="268" y="153"/>
                  </a:lnTo>
                  <a:lnTo>
                    <a:pt x="268" y="155"/>
                  </a:lnTo>
                  <a:lnTo>
                    <a:pt x="266" y="157"/>
                  </a:lnTo>
                  <a:lnTo>
                    <a:pt x="266" y="159"/>
                  </a:lnTo>
                  <a:lnTo>
                    <a:pt x="266" y="157"/>
                  </a:lnTo>
                  <a:lnTo>
                    <a:pt x="263" y="157"/>
                  </a:lnTo>
                  <a:lnTo>
                    <a:pt x="259" y="157"/>
                  </a:lnTo>
                  <a:lnTo>
                    <a:pt x="250" y="157"/>
                  </a:lnTo>
                  <a:lnTo>
                    <a:pt x="242" y="159"/>
                  </a:lnTo>
                  <a:lnTo>
                    <a:pt x="241" y="159"/>
                  </a:lnTo>
                  <a:lnTo>
                    <a:pt x="239" y="159"/>
                  </a:lnTo>
                  <a:lnTo>
                    <a:pt x="237" y="161"/>
                  </a:lnTo>
                  <a:lnTo>
                    <a:pt x="237" y="163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3" y="166"/>
                  </a:lnTo>
                  <a:lnTo>
                    <a:pt x="233" y="168"/>
                  </a:lnTo>
                  <a:lnTo>
                    <a:pt x="231" y="170"/>
                  </a:lnTo>
                  <a:lnTo>
                    <a:pt x="231" y="172"/>
                  </a:lnTo>
                  <a:lnTo>
                    <a:pt x="231" y="174"/>
                  </a:lnTo>
                  <a:lnTo>
                    <a:pt x="231" y="176"/>
                  </a:lnTo>
                  <a:lnTo>
                    <a:pt x="233" y="177"/>
                  </a:lnTo>
                  <a:lnTo>
                    <a:pt x="233" y="179"/>
                  </a:lnTo>
                  <a:close/>
                  <a:moveTo>
                    <a:pt x="202" y="133"/>
                  </a:moveTo>
                  <a:lnTo>
                    <a:pt x="204" y="139"/>
                  </a:lnTo>
                  <a:lnTo>
                    <a:pt x="206" y="140"/>
                  </a:lnTo>
                  <a:lnTo>
                    <a:pt x="207" y="142"/>
                  </a:lnTo>
                  <a:lnTo>
                    <a:pt x="209" y="144"/>
                  </a:lnTo>
                  <a:lnTo>
                    <a:pt x="211" y="144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7" y="148"/>
                  </a:lnTo>
                  <a:lnTo>
                    <a:pt x="220" y="148"/>
                  </a:lnTo>
                  <a:lnTo>
                    <a:pt x="224" y="148"/>
                  </a:lnTo>
                  <a:lnTo>
                    <a:pt x="228" y="148"/>
                  </a:lnTo>
                  <a:lnTo>
                    <a:pt x="230" y="146"/>
                  </a:lnTo>
                  <a:lnTo>
                    <a:pt x="231" y="146"/>
                  </a:lnTo>
                  <a:lnTo>
                    <a:pt x="233" y="146"/>
                  </a:lnTo>
                  <a:lnTo>
                    <a:pt x="233" y="144"/>
                  </a:lnTo>
                  <a:lnTo>
                    <a:pt x="235" y="144"/>
                  </a:lnTo>
                  <a:lnTo>
                    <a:pt x="235" y="142"/>
                  </a:lnTo>
                  <a:lnTo>
                    <a:pt x="237" y="142"/>
                  </a:lnTo>
                  <a:lnTo>
                    <a:pt x="237" y="140"/>
                  </a:lnTo>
                  <a:lnTo>
                    <a:pt x="237" y="139"/>
                  </a:lnTo>
                  <a:lnTo>
                    <a:pt x="237" y="137"/>
                  </a:lnTo>
                  <a:lnTo>
                    <a:pt x="237" y="135"/>
                  </a:lnTo>
                  <a:lnTo>
                    <a:pt x="237" y="133"/>
                  </a:lnTo>
                  <a:lnTo>
                    <a:pt x="235" y="131"/>
                  </a:lnTo>
                  <a:lnTo>
                    <a:pt x="233" y="129"/>
                  </a:lnTo>
                  <a:lnTo>
                    <a:pt x="224" y="129"/>
                  </a:lnTo>
                  <a:lnTo>
                    <a:pt x="215" y="129"/>
                  </a:lnTo>
                  <a:lnTo>
                    <a:pt x="209" y="131"/>
                  </a:lnTo>
                  <a:lnTo>
                    <a:pt x="206" y="131"/>
                  </a:lnTo>
                  <a:lnTo>
                    <a:pt x="202" y="133"/>
                  </a:lnTo>
                  <a:close/>
                  <a:moveTo>
                    <a:pt x="187" y="144"/>
                  </a:moveTo>
                  <a:lnTo>
                    <a:pt x="178" y="153"/>
                  </a:lnTo>
                  <a:lnTo>
                    <a:pt x="176" y="155"/>
                  </a:lnTo>
                  <a:lnTo>
                    <a:pt x="174" y="157"/>
                  </a:lnTo>
                  <a:lnTo>
                    <a:pt x="172" y="159"/>
                  </a:lnTo>
                  <a:lnTo>
                    <a:pt x="172" y="161"/>
                  </a:lnTo>
                  <a:lnTo>
                    <a:pt x="172" y="163"/>
                  </a:lnTo>
                  <a:lnTo>
                    <a:pt x="172" y="165"/>
                  </a:lnTo>
                  <a:lnTo>
                    <a:pt x="172" y="166"/>
                  </a:lnTo>
                  <a:lnTo>
                    <a:pt x="172" y="168"/>
                  </a:lnTo>
                  <a:lnTo>
                    <a:pt x="174" y="170"/>
                  </a:lnTo>
                  <a:lnTo>
                    <a:pt x="174" y="172"/>
                  </a:lnTo>
                  <a:lnTo>
                    <a:pt x="176" y="174"/>
                  </a:lnTo>
                  <a:lnTo>
                    <a:pt x="178" y="176"/>
                  </a:lnTo>
                  <a:lnTo>
                    <a:pt x="180" y="177"/>
                  </a:lnTo>
                  <a:lnTo>
                    <a:pt x="181" y="177"/>
                  </a:lnTo>
                  <a:lnTo>
                    <a:pt x="185" y="179"/>
                  </a:lnTo>
                  <a:lnTo>
                    <a:pt x="187" y="181"/>
                  </a:lnTo>
                  <a:lnTo>
                    <a:pt x="189" y="181"/>
                  </a:lnTo>
                  <a:lnTo>
                    <a:pt x="193" y="181"/>
                  </a:lnTo>
                  <a:lnTo>
                    <a:pt x="196" y="181"/>
                  </a:lnTo>
                  <a:lnTo>
                    <a:pt x="198" y="181"/>
                  </a:lnTo>
                  <a:lnTo>
                    <a:pt x="202" y="179"/>
                  </a:lnTo>
                  <a:lnTo>
                    <a:pt x="204" y="179"/>
                  </a:lnTo>
                  <a:lnTo>
                    <a:pt x="206" y="179"/>
                  </a:lnTo>
                  <a:lnTo>
                    <a:pt x="209" y="177"/>
                  </a:lnTo>
                  <a:lnTo>
                    <a:pt x="211" y="177"/>
                  </a:lnTo>
                  <a:lnTo>
                    <a:pt x="218" y="172"/>
                  </a:lnTo>
                  <a:lnTo>
                    <a:pt x="226" y="168"/>
                  </a:lnTo>
                  <a:lnTo>
                    <a:pt x="226" y="166"/>
                  </a:lnTo>
                  <a:lnTo>
                    <a:pt x="228" y="166"/>
                  </a:lnTo>
                  <a:lnTo>
                    <a:pt x="228" y="165"/>
                  </a:lnTo>
                  <a:lnTo>
                    <a:pt x="228" y="163"/>
                  </a:lnTo>
                  <a:lnTo>
                    <a:pt x="228" y="161"/>
                  </a:lnTo>
                  <a:lnTo>
                    <a:pt x="228" y="159"/>
                  </a:lnTo>
                  <a:lnTo>
                    <a:pt x="226" y="157"/>
                  </a:lnTo>
                  <a:lnTo>
                    <a:pt x="224" y="155"/>
                  </a:lnTo>
                  <a:lnTo>
                    <a:pt x="222" y="155"/>
                  </a:lnTo>
                  <a:lnTo>
                    <a:pt x="220" y="153"/>
                  </a:lnTo>
                  <a:lnTo>
                    <a:pt x="213" y="152"/>
                  </a:lnTo>
                  <a:lnTo>
                    <a:pt x="204" y="150"/>
                  </a:lnTo>
                  <a:lnTo>
                    <a:pt x="202" y="150"/>
                  </a:lnTo>
                  <a:lnTo>
                    <a:pt x="200" y="148"/>
                  </a:lnTo>
                  <a:lnTo>
                    <a:pt x="198" y="146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1" y="144"/>
                  </a:lnTo>
                  <a:lnTo>
                    <a:pt x="189" y="144"/>
                  </a:lnTo>
                  <a:lnTo>
                    <a:pt x="187" y="144"/>
                  </a:lnTo>
                  <a:close/>
                  <a:moveTo>
                    <a:pt x="143" y="142"/>
                  </a:moveTo>
                  <a:lnTo>
                    <a:pt x="143" y="144"/>
                  </a:lnTo>
                  <a:lnTo>
                    <a:pt x="143" y="146"/>
                  </a:lnTo>
                  <a:lnTo>
                    <a:pt x="141" y="148"/>
                  </a:lnTo>
                  <a:lnTo>
                    <a:pt x="139" y="153"/>
                  </a:lnTo>
                  <a:lnTo>
                    <a:pt x="135" y="157"/>
                  </a:lnTo>
                  <a:lnTo>
                    <a:pt x="135" y="159"/>
                  </a:lnTo>
                  <a:lnTo>
                    <a:pt x="135" y="161"/>
                  </a:lnTo>
                  <a:lnTo>
                    <a:pt x="133" y="163"/>
                  </a:lnTo>
                  <a:lnTo>
                    <a:pt x="133" y="165"/>
                  </a:lnTo>
                  <a:lnTo>
                    <a:pt x="133" y="168"/>
                  </a:lnTo>
                  <a:lnTo>
                    <a:pt x="135" y="168"/>
                  </a:lnTo>
                  <a:lnTo>
                    <a:pt x="135" y="170"/>
                  </a:lnTo>
                  <a:lnTo>
                    <a:pt x="139" y="172"/>
                  </a:lnTo>
                  <a:lnTo>
                    <a:pt x="141" y="172"/>
                  </a:lnTo>
                  <a:lnTo>
                    <a:pt x="143" y="172"/>
                  </a:lnTo>
                  <a:lnTo>
                    <a:pt x="145" y="172"/>
                  </a:lnTo>
                  <a:lnTo>
                    <a:pt x="146" y="172"/>
                  </a:lnTo>
                  <a:lnTo>
                    <a:pt x="148" y="170"/>
                  </a:lnTo>
                  <a:lnTo>
                    <a:pt x="150" y="170"/>
                  </a:lnTo>
                  <a:lnTo>
                    <a:pt x="152" y="168"/>
                  </a:lnTo>
                  <a:lnTo>
                    <a:pt x="154" y="168"/>
                  </a:lnTo>
                  <a:lnTo>
                    <a:pt x="156" y="168"/>
                  </a:lnTo>
                  <a:lnTo>
                    <a:pt x="157" y="168"/>
                  </a:lnTo>
                  <a:lnTo>
                    <a:pt x="157" y="170"/>
                  </a:lnTo>
                  <a:lnTo>
                    <a:pt x="159" y="172"/>
                  </a:lnTo>
                  <a:lnTo>
                    <a:pt x="161" y="172"/>
                  </a:lnTo>
                  <a:lnTo>
                    <a:pt x="163" y="172"/>
                  </a:lnTo>
                  <a:lnTo>
                    <a:pt x="167" y="172"/>
                  </a:lnTo>
                  <a:lnTo>
                    <a:pt x="167" y="170"/>
                  </a:lnTo>
                  <a:lnTo>
                    <a:pt x="167" y="168"/>
                  </a:lnTo>
                  <a:lnTo>
                    <a:pt x="167" y="166"/>
                  </a:lnTo>
                  <a:lnTo>
                    <a:pt x="167" y="165"/>
                  </a:lnTo>
                  <a:lnTo>
                    <a:pt x="167" y="163"/>
                  </a:lnTo>
                  <a:lnTo>
                    <a:pt x="167" y="161"/>
                  </a:lnTo>
                  <a:lnTo>
                    <a:pt x="165" y="157"/>
                  </a:lnTo>
                  <a:lnTo>
                    <a:pt x="163" y="153"/>
                  </a:lnTo>
                  <a:lnTo>
                    <a:pt x="161" y="150"/>
                  </a:lnTo>
                  <a:lnTo>
                    <a:pt x="159" y="148"/>
                  </a:lnTo>
                  <a:lnTo>
                    <a:pt x="157" y="144"/>
                  </a:lnTo>
                  <a:lnTo>
                    <a:pt x="156" y="144"/>
                  </a:lnTo>
                  <a:lnTo>
                    <a:pt x="156" y="142"/>
                  </a:lnTo>
                  <a:lnTo>
                    <a:pt x="152" y="140"/>
                  </a:lnTo>
                  <a:lnTo>
                    <a:pt x="152" y="139"/>
                  </a:lnTo>
                  <a:lnTo>
                    <a:pt x="150" y="139"/>
                  </a:lnTo>
                  <a:lnTo>
                    <a:pt x="148" y="139"/>
                  </a:lnTo>
                  <a:lnTo>
                    <a:pt x="146" y="139"/>
                  </a:lnTo>
                  <a:lnTo>
                    <a:pt x="145" y="139"/>
                  </a:lnTo>
                  <a:lnTo>
                    <a:pt x="143" y="140"/>
                  </a:lnTo>
                  <a:lnTo>
                    <a:pt x="143" y="142"/>
                  </a:lnTo>
                  <a:close/>
                  <a:moveTo>
                    <a:pt x="135" y="140"/>
                  </a:moveTo>
                  <a:lnTo>
                    <a:pt x="133" y="139"/>
                  </a:lnTo>
                  <a:lnTo>
                    <a:pt x="132" y="139"/>
                  </a:lnTo>
                  <a:lnTo>
                    <a:pt x="130" y="139"/>
                  </a:lnTo>
                  <a:lnTo>
                    <a:pt x="126" y="140"/>
                  </a:lnTo>
                  <a:lnTo>
                    <a:pt x="122" y="142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5" y="146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9" y="150"/>
                  </a:lnTo>
                  <a:lnTo>
                    <a:pt x="109" y="152"/>
                  </a:lnTo>
                  <a:lnTo>
                    <a:pt x="109" y="153"/>
                  </a:lnTo>
                  <a:lnTo>
                    <a:pt x="109" y="155"/>
                  </a:lnTo>
                  <a:lnTo>
                    <a:pt x="111" y="157"/>
                  </a:lnTo>
                  <a:lnTo>
                    <a:pt x="111" y="159"/>
                  </a:lnTo>
                  <a:lnTo>
                    <a:pt x="113" y="159"/>
                  </a:lnTo>
                  <a:lnTo>
                    <a:pt x="115" y="161"/>
                  </a:lnTo>
                  <a:lnTo>
                    <a:pt x="117" y="161"/>
                  </a:lnTo>
                  <a:lnTo>
                    <a:pt x="119" y="161"/>
                  </a:lnTo>
                  <a:lnTo>
                    <a:pt x="122" y="161"/>
                  </a:lnTo>
                  <a:lnTo>
                    <a:pt x="124" y="159"/>
                  </a:lnTo>
                  <a:lnTo>
                    <a:pt x="126" y="159"/>
                  </a:lnTo>
                  <a:lnTo>
                    <a:pt x="128" y="157"/>
                  </a:lnTo>
                  <a:lnTo>
                    <a:pt x="132" y="153"/>
                  </a:lnTo>
                  <a:lnTo>
                    <a:pt x="135" y="150"/>
                  </a:lnTo>
                  <a:lnTo>
                    <a:pt x="135" y="148"/>
                  </a:lnTo>
                  <a:lnTo>
                    <a:pt x="137" y="146"/>
                  </a:lnTo>
                  <a:lnTo>
                    <a:pt x="135" y="142"/>
                  </a:lnTo>
                  <a:lnTo>
                    <a:pt x="135" y="140"/>
                  </a:lnTo>
                  <a:close/>
                  <a:moveTo>
                    <a:pt x="67" y="107"/>
                  </a:moveTo>
                  <a:lnTo>
                    <a:pt x="67" y="109"/>
                  </a:lnTo>
                  <a:lnTo>
                    <a:pt x="67" y="111"/>
                  </a:lnTo>
                  <a:lnTo>
                    <a:pt x="67" y="113"/>
                  </a:lnTo>
                  <a:lnTo>
                    <a:pt x="69" y="115"/>
                  </a:lnTo>
                  <a:lnTo>
                    <a:pt x="69" y="116"/>
                  </a:lnTo>
                  <a:lnTo>
                    <a:pt x="71" y="116"/>
                  </a:lnTo>
                  <a:lnTo>
                    <a:pt x="71" y="118"/>
                  </a:lnTo>
                  <a:lnTo>
                    <a:pt x="72" y="120"/>
                  </a:lnTo>
                  <a:lnTo>
                    <a:pt x="74" y="122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80" y="126"/>
                  </a:lnTo>
                  <a:lnTo>
                    <a:pt x="84" y="126"/>
                  </a:lnTo>
                  <a:lnTo>
                    <a:pt x="85" y="126"/>
                  </a:lnTo>
                  <a:lnTo>
                    <a:pt x="89" y="126"/>
                  </a:lnTo>
                  <a:lnTo>
                    <a:pt x="91" y="126"/>
                  </a:lnTo>
                  <a:lnTo>
                    <a:pt x="95" y="124"/>
                  </a:lnTo>
                  <a:lnTo>
                    <a:pt x="98" y="122"/>
                  </a:lnTo>
                  <a:lnTo>
                    <a:pt x="98" y="120"/>
                  </a:lnTo>
                  <a:lnTo>
                    <a:pt x="98" y="116"/>
                  </a:lnTo>
                  <a:lnTo>
                    <a:pt x="97" y="116"/>
                  </a:lnTo>
                  <a:lnTo>
                    <a:pt x="97" y="115"/>
                  </a:lnTo>
                  <a:lnTo>
                    <a:pt x="95" y="113"/>
                  </a:lnTo>
                  <a:lnTo>
                    <a:pt x="93" y="109"/>
                  </a:lnTo>
                  <a:lnTo>
                    <a:pt x="89" y="107"/>
                  </a:lnTo>
                  <a:lnTo>
                    <a:pt x="87" y="107"/>
                  </a:lnTo>
                  <a:lnTo>
                    <a:pt x="85" y="105"/>
                  </a:lnTo>
                  <a:lnTo>
                    <a:pt x="84" y="104"/>
                  </a:lnTo>
                  <a:lnTo>
                    <a:pt x="82" y="104"/>
                  </a:lnTo>
                  <a:lnTo>
                    <a:pt x="80" y="104"/>
                  </a:lnTo>
                  <a:lnTo>
                    <a:pt x="78" y="104"/>
                  </a:lnTo>
                  <a:lnTo>
                    <a:pt x="76" y="104"/>
                  </a:lnTo>
                  <a:lnTo>
                    <a:pt x="74" y="104"/>
                  </a:lnTo>
                  <a:lnTo>
                    <a:pt x="72" y="104"/>
                  </a:lnTo>
                  <a:lnTo>
                    <a:pt x="71" y="104"/>
                  </a:lnTo>
                  <a:lnTo>
                    <a:pt x="69" y="105"/>
                  </a:lnTo>
                  <a:lnTo>
                    <a:pt x="67" y="107"/>
                  </a:lnTo>
                  <a:close/>
                  <a:moveTo>
                    <a:pt x="52" y="109"/>
                  </a:moveTo>
                  <a:lnTo>
                    <a:pt x="52" y="105"/>
                  </a:lnTo>
                  <a:lnTo>
                    <a:pt x="50" y="104"/>
                  </a:lnTo>
                  <a:lnTo>
                    <a:pt x="50" y="102"/>
                  </a:lnTo>
                  <a:lnTo>
                    <a:pt x="48" y="100"/>
                  </a:lnTo>
                  <a:lnTo>
                    <a:pt x="47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39" y="96"/>
                  </a:lnTo>
                  <a:lnTo>
                    <a:pt x="36" y="96"/>
                  </a:lnTo>
                  <a:lnTo>
                    <a:pt x="34" y="96"/>
                  </a:lnTo>
                  <a:lnTo>
                    <a:pt x="30" y="96"/>
                  </a:lnTo>
                  <a:lnTo>
                    <a:pt x="30" y="98"/>
                  </a:lnTo>
                  <a:lnTo>
                    <a:pt x="30" y="100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5"/>
                  </a:lnTo>
                  <a:lnTo>
                    <a:pt x="32" y="107"/>
                  </a:lnTo>
                  <a:lnTo>
                    <a:pt x="34" y="107"/>
                  </a:lnTo>
                  <a:lnTo>
                    <a:pt x="36" y="109"/>
                  </a:lnTo>
                  <a:lnTo>
                    <a:pt x="37" y="111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7" y="113"/>
                  </a:lnTo>
                  <a:lnTo>
                    <a:pt x="48" y="113"/>
                  </a:lnTo>
                  <a:lnTo>
                    <a:pt x="50" y="113"/>
                  </a:lnTo>
                  <a:lnTo>
                    <a:pt x="52" y="111"/>
                  </a:lnTo>
                  <a:lnTo>
                    <a:pt x="52" y="109"/>
                  </a:lnTo>
                  <a:close/>
                  <a:moveTo>
                    <a:pt x="6" y="63"/>
                  </a:moveTo>
                  <a:lnTo>
                    <a:pt x="6" y="63"/>
                  </a:lnTo>
                  <a:lnTo>
                    <a:pt x="6" y="65"/>
                  </a:lnTo>
                  <a:lnTo>
                    <a:pt x="6" y="67"/>
                  </a:lnTo>
                  <a:lnTo>
                    <a:pt x="8" y="68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3" y="72"/>
                  </a:lnTo>
                  <a:lnTo>
                    <a:pt x="15" y="72"/>
                  </a:lnTo>
                  <a:lnTo>
                    <a:pt x="17" y="72"/>
                  </a:lnTo>
                  <a:lnTo>
                    <a:pt x="19" y="72"/>
                  </a:lnTo>
                  <a:lnTo>
                    <a:pt x="23" y="72"/>
                  </a:lnTo>
                  <a:lnTo>
                    <a:pt x="24" y="72"/>
                  </a:lnTo>
                  <a:lnTo>
                    <a:pt x="26" y="70"/>
                  </a:lnTo>
                  <a:lnTo>
                    <a:pt x="30" y="68"/>
                  </a:lnTo>
                  <a:lnTo>
                    <a:pt x="32" y="68"/>
                  </a:lnTo>
                  <a:lnTo>
                    <a:pt x="34" y="67"/>
                  </a:lnTo>
                  <a:lnTo>
                    <a:pt x="36" y="65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5" y="68"/>
                  </a:lnTo>
                  <a:lnTo>
                    <a:pt x="50" y="72"/>
                  </a:lnTo>
                  <a:lnTo>
                    <a:pt x="54" y="74"/>
                  </a:lnTo>
                  <a:lnTo>
                    <a:pt x="58" y="74"/>
                  </a:lnTo>
                  <a:lnTo>
                    <a:pt x="60" y="76"/>
                  </a:lnTo>
                  <a:lnTo>
                    <a:pt x="63" y="76"/>
                  </a:lnTo>
                  <a:lnTo>
                    <a:pt x="65" y="76"/>
                  </a:lnTo>
                  <a:lnTo>
                    <a:pt x="67" y="78"/>
                  </a:lnTo>
                  <a:lnTo>
                    <a:pt x="71" y="78"/>
                  </a:lnTo>
                  <a:lnTo>
                    <a:pt x="72" y="78"/>
                  </a:lnTo>
                  <a:lnTo>
                    <a:pt x="76" y="78"/>
                  </a:lnTo>
                  <a:lnTo>
                    <a:pt x="80" y="76"/>
                  </a:lnTo>
                  <a:lnTo>
                    <a:pt x="82" y="76"/>
                  </a:lnTo>
                  <a:lnTo>
                    <a:pt x="85" y="74"/>
                  </a:lnTo>
                  <a:lnTo>
                    <a:pt x="89" y="72"/>
                  </a:lnTo>
                  <a:lnTo>
                    <a:pt x="91" y="70"/>
                  </a:lnTo>
                  <a:lnTo>
                    <a:pt x="91" y="68"/>
                  </a:lnTo>
                  <a:lnTo>
                    <a:pt x="93" y="67"/>
                  </a:lnTo>
                  <a:lnTo>
                    <a:pt x="93" y="65"/>
                  </a:lnTo>
                  <a:lnTo>
                    <a:pt x="93" y="63"/>
                  </a:lnTo>
                  <a:lnTo>
                    <a:pt x="91" y="63"/>
                  </a:lnTo>
                  <a:lnTo>
                    <a:pt x="91" y="59"/>
                  </a:lnTo>
                  <a:lnTo>
                    <a:pt x="87" y="55"/>
                  </a:lnTo>
                  <a:lnTo>
                    <a:pt x="87" y="54"/>
                  </a:lnTo>
                  <a:lnTo>
                    <a:pt x="85" y="48"/>
                  </a:lnTo>
                  <a:lnTo>
                    <a:pt x="84" y="43"/>
                  </a:lnTo>
                  <a:lnTo>
                    <a:pt x="82" y="41"/>
                  </a:lnTo>
                  <a:lnTo>
                    <a:pt x="82" y="39"/>
                  </a:lnTo>
                  <a:lnTo>
                    <a:pt x="80" y="37"/>
                  </a:lnTo>
                  <a:lnTo>
                    <a:pt x="78" y="35"/>
                  </a:lnTo>
                  <a:lnTo>
                    <a:pt x="74" y="35"/>
                  </a:lnTo>
                  <a:lnTo>
                    <a:pt x="72" y="35"/>
                  </a:lnTo>
                  <a:lnTo>
                    <a:pt x="71" y="35"/>
                  </a:lnTo>
                  <a:lnTo>
                    <a:pt x="69" y="37"/>
                  </a:lnTo>
                  <a:lnTo>
                    <a:pt x="67" y="37"/>
                  </a:lnTo>
                  <a:lnTo>
                    <a:pt x="67" y="39"/>
                  </a:lnTo>
                  <a:lnTo>
                    <a:pt x="61" y="44"/>
                  </a:lnTo>
                  <a:lnTo>
                    <a:pt x="58" y="50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2"/>
                  </a:lnTo>
                  <a:lnTo>
                    <a:pt x="45" y="48"/>
                  </a:lnTo>
                  <a:lnTo>
                    <a:pt x="41" y="43"/>
                  </a:lnTo>
                  <a:lnTo>
                    <a:pt x="39" y="43"/>
                  </a:lnTo>
                  <a:lnTo>
                    <a:pt x="37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6" y="46"/>
                  </a:lnTo>
                  <a:lnTo>
                    <a:pt x="21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0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5"/>
                  </a:lnTo>
                  <a:lnTo>
                    <a:pt x="8" y="57"/>
                  </a:lnTo>
                  <a:lnTo>
                    <a:pt x="8" y="59"/>
                  </a:lnTo>
                  <a:lnTo>
                    <a:pt x="6" y="63"/>
                  </a:lnTo>
                  <a:close/>
                  <a:moveTo>
                    <a:pt x="26" y="30"/>
                  </a:moveTo>
                  <a:lnTo>
                    <a:pt x="28" y="28"/>
                  </a:lnTo>
                  <a:lnTo>
                    <a:pt x="30" y="28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6" y="31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7" y="31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48" y="35"/>
                  </a:lnTo>
                  <a:lnTo>
                    <a:pt x="48" y="37"/>
                  </a:lnTo>
                  <a:lnTo>
                    <a:pt x="50" y="39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6" y="41"/>
                  </a:lnTo>
                  <a:lnTo>
                    <a:pt x="58" y="41"/>
                  </a:lnTo>
                  <a:lnTo>
                    <a:pt x="60" y="41"/>
                  </a:lnTo>
                  <a:lnTo>
                    <a:pt x="60" y="39"/>
                  </a:lnTo>
                  <a:lnTo>
                    <a:pt x="61" y="39"/>
                  </a:lnTo>
                  <a:lnTo>
                    <a:pt x="63" y="37"/>
                  </a:lnTo>
                  <a:lnTo>
                    <a:pt x="63" y="35"/>
                  </a:lnTo>
                  <a:lnTo>
                    <a:pt x="63" y="33"/>
                  </a:lnTo>
                  <a:lnTo>
                    <a:pt x="63" y="31"/>
                  </a:lnTo>
                  <a:lnTo>
                    <a:pt x="63" y="30"/>
                  </a:lnTo>
                  <a:lnTo>
                    <a:pt x="63" y="28"/>
                  </a:lnTo>
                  <a:lnTo>
                    <a:pt x="61" y="26"/>
                  </a:lnTo>
                  <a:lnTo>
                    <a:pt x="61" y="24"/>
                  </a:lnTo>
                  <a:lnTo>
                    <a:pt x="60" y="22"/>
                  </a:lnTo>
                  <a:lnTo>
                    <a:pt x="58" y="20"/>
                  </a:lnTo>
                  <a:lnTo>
                    <a:pt x="56" y="19"/>
                  </a:lnTo>
                  <a:lnTo>
                    <a:pt x="54" y="19"/>
                  </a:lnTo>
                  <a:lnTo>
                    <a:pt x="52" y="17"/>
                  </a:lnTo>
                  <a:lnTo>
                    <a:pt x="48" y="17"/>
                  </a:lnTo>
                  <a:lnTo>
                    <a:pt x="47" y="15"/>
                  </a:lnTo>
                  <a:lnTo>
                    <a:pt x="39" y="13"/>
                  </a:lnTo>
                  <a:lnTo>
                    <a:pt x="30" y="11"/>
                  </a:lnTo>
                  <a:lnTo>
                    <a:pt x="24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6" y="15"/>
                  </a:lnTo>
                  <a:lnTo>
                    <a:pt x="8" y="19"/>
                  </a:lnTo>
                  <a:lnTo>
                    <a:pt x="12" y="24"/>
                  </a:lnTo>
                  <a:lnTo>
                    <a:pt x="13" y="31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21" y="33"/>
                  </a:lnTo>
                  <a:lnTo>
                    <a:pt x="23" y="31"/>
                  </a:lnTo>
                  <a:lnTo>
                    <a:pt x="24" y="31"/>
                  </a:lnTo>
                  <a:lnTo>
                    <a:pt x="26" y="31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3" name="Freeform 9"/>
            <p:cNvSpPr>
              <a:spLocks/>
            </p:cNvSpPr>
            <p:nvPr/>
          </p:nvSpPr>
          <p:spPr bwMode="auto">
            <a:xfrm>
              <a:off x="4478683" y="1926107"/>
              <a:ext cx="36525" cy="25445"/>
            </a:xfrm>
            <a:custGeom>
              <a:avLst/>
              <a:gdLst>
                <a:gd name="T0" fmla="*/ 2 w 70"/>
                <a:gd name="T1" fmla="*/ 35 h 50"/>
                <a:gd name="T2" fmla="*/ 7 w 70"/>
                <a:gd name="T3" fmla="*/ 43 h 50"/>
                <a:gd name="T4" fmla="*/ 13 w 70"/>
                <a:gd name="T5" fmla="*/ 47 h 50"/>
                <a:gd name="T6" fmla="*/ 20 w 70"/>
                <a:gd name="T7" fmla="*/ 50 h 50"/>
                <a:gd name="T8" fmla="*/ 26 w 70"/>
                <a:gd name="T9" fmla="*/ 50 h 50"/>
                <a:gd name="T10" fmla="*/ 39 w 70"/>
                <a:gd name="T11" fmla="*/ 50 h 50"/>
                <a:gd name="T12" fmla="*/ 53 w 70"/>
                <a:gd name="T13" fmla="*/ 47 h 50"/>
                <a:gd name="T14" fmla="*/ 61 w 70"/>
                <a:gd name="T15" fmla="*/ 48 h 50"/>
                <a:gd name="T16" fmla="*/ 65 w 70"/>
                <a:gd name="T17" fmla="*/ 47 h 50"/>
                <a:gd name="T18" fmla="*/ 68 w 70"/>
                <a:gd name="T19" fmla="*/ 45 h 50"/>
                <a:gd name="T20" fmla="*/ 70 w 70"/>
                <a:gd name="T21" fmla="*/ 43 h 50"/>
                <a:gd name="T22" fmla="*/ 70 w 70"/>
                <a:gd name="T23" fmla="*/ 35 h 50"/>
                <a:gd name="T24" fmla="*/ 65 w 70"/>
                <a:gd name="T25" fmla="*/ 26 h 50"/>
                <a:gd name="T26" fmla="*/ 65 w 70"/>
                <a:gd name="T27" fmla="*/ 19 h 50"/>
                <a:gd name="T28" fmla="*/ 63 w 70"/>
                <a:gd name="T29" fmla="*/ 11 h 50"/>
                <a:gd name="T30" fmla="*/ 61 w 70"/>
                <a:gd name="T31" fmla="*/ 8 h 50"/>
                <a:gd name="T32" fmla="*/ 59 w 70"/>
                <a:gd name="T33" fmla="*/ 4 h 50"/>
                <a:gd name="T34" fmla="*/ 53 w 70"/>
                <a:gd name="T35" fmla="*/ 2 h 50"/>
                <a:gd name="T36" fmla="*/ 46 w 70"/>
                <a:gd name="T37" fmla="*/ 0 h 50"/>
                <a:gd name="T38" fmla="*/ 42 w 70"/>
                <a:gd name="T39" fmla="*/ 0 h 50"/>
                <a:gd name="T40" fmla="*/ 39 w 70"/>
                <a:gd name="T41" fmla="*/ 2 h 50"/>
                <a:gd name="T42" fmla="*/ 35 w 70"/>
                <a:gd name="T43" fmla="*/ 4 h 50"/>
                <a:gd name="T44" fmla="*/ 31 w 70"/>
                <a:gd name="T45" fmla="*/ 6 h 50"/>
                <a:gd name="T46" fmla="*/ 26 w 70"/>
                <a:gd name="T47" fmla="*/ 13 h 50"/>
                <a:gd name="T48" fmla="*/ 18 w 70"/>
                <a:gd name="T49" fmla="*/ 19 h 50"/>
                <a:gd name="T50" fmla="*/ 11 w 70"/>
                <a:gd name="T51" fmla="*/ 22 h 50"/>
                <a:gd name="T52" fmla="*/ 4 w 70"/>
                <a:gd name="T53" fmla="*/ 26 h 50"/>
                <a:gd name="T54" fmla="*/ 2 w 70"/>
                <a:gd name="T55" fmla="*/ 28 h 50"/>
                <a:gd name="T56" fmla="*/ 0 w 70"/>
                <a:gd name="T57" fmla="*/ 30 h 50"/>
                <a:gd name="T58" fmla="*/ 0 w 70"/>
                <a:gd name="T59" fmla="*/ 32 h 50"/>
                <a:gd name="T60" fmla="*/ 2 w 70"/>
                <a:gd name="T61" fmla="*/ 35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0"/>
                <a:gd name="T94" fmla="*/ 0 h 50"/>
                <a:gd name="T95" fmla="*/ 70 w 70"/>
                <a:gd name="T96" fmla="*/ 50 h 5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0" h="50">
                  <a:moveTo>
                    <a:pt x="2" y="35"/>
                  </a:moveTo>
                  <a:lnTo>
                    <a:pt x="7" y="43"/>
                  </a:lnTo>
                  <a:lnTo>
                    <a:pt x="13" y="47"/>
                  </a:lnTo>
                  <a:lnTo>
                    <a:pt x="20" y="50"/>
                  </a:lnTo>
                  <a:lnTo>
                    <a:pt x="26" y="50"/>
                  </a:lnTo>
                  <a:lnTo>
                    <a:pt x="39" y="50"/>
                  </a:lnTo>
                  <a:lnTo>
                    <a:pt x="53" y="47"/>
                  </a:lnTo>
                  <a:lnTo>
                    <a:pt x="61" y="48"/>
                  </a:lnTo>
                  <a:lnTo>
                    <a:pt x="65" y="47"/>
                  </a:lnTo>
                  <a:lnTo>
                    <a:pt x="68" y="45"/>
                  </a:lnTo>
                  <a:lnTo>
                    <a:pt x="70" y="43"/>
                  </a:lnTo>
                  <a:lnTo>
                    <a:pt x="70" y="35"/>
                  </a:lnTo>
                  <a:lnTo>
                    <a:pt x="65" y="26"/>
                  </a:lnTo>
                  <a:lnTo>
                    <a:pt x="65" y="19"/>
                  </a:lnTo>
                  <a:lnTo>
                    <a:pt x="63" y="11"/>
                  </a:lnTo>
                  <a:lnTo>
                    <a:pt x="61" y="8"/>
                  </a:lnTo>
                  <a:lnTo>
                    <a:pt x="59" y="4"/>
                  </a:lnTo>
                  <a:lnTo>
                    <a:pt x="53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9" y="2"/>
                  </a:lnTo>
                  <a:lnTo>
                    <a:pt x="35" y="4"/>
                  </a:lnTo>
                  <a:lnTo>
                    <a:pt x="31" y="6"/>
                  </a:lnTo>
                  <a:lnTo>
                    <a:pt x="26" y="13"/>
                  </a:lnTo>
                  <a:lnTo>
                    <a:pt x="18" y="19"/>
                  </a:lnTo>
                  <a:lnTo>
                    <a:pt x="11" y="22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4" name="Freeform 10"/>
            <p:cNvSpPr>
              <a:spLocks/>
            </p:cNvSpPr>
            <p:nvPr/>
          </p:nvSpPr>
          <p:spPr bwMode="auto">
            <a:xfrm>
              <a:off x="4636786" y="1986667"/>
              <a:ext cx="20872" cy="40203"/>
            </a:xfrm>
            <a:custGeom>
              <a:avLst/>
              <a:gdLst>
                <a:gd name="T0" fmla="*/ 0 w 40"/>
                <a:gd name="T1" fmla="*/ 18 h 79"/>
                <a:gd name="T2" fmla="*/ 2 w 40"/>
                <a:gd name="T3" fmla="*/ 33 h 79"/>
                <a:gd name="T4" fmla="*/ 4 w 40"/>
                <a:gd name="T5" fmla="*/ 48 h 79"/>
                <a:gd name="T6" fmla="*/ 5 w 40"/>
                <a:gd name="T7" fmla="*/ 62 h 79"/>
                <a:gd name="T8" fmla="*/ 5 w 40"/>
                <a:gd name="T9" fmla="*/ 75 h 79"/>
                <a:gd name="T10" fmla="*/ 11 w 40"/>
                <a:gd name="T11" fmla="*/ 77 h 79"/>
                <a:gd name="T12" fmla="*/ 18 w 40"/>
                <a:gd name="T13" fmla="*/ 79 h 79"/>
                <a:gd name="T14" fmla="*/ 26 w 40"/>
                <a:gd name="T15" fmla="*/ 79 h 79"/>
                <a:gd name="T16" fmla="*/ 33 w 40"/>
                <a:gd name="T17" fmla="*/ 73 h 79"/>
                <a:gd name="T18" fmla="*/ 37 w 40"/>
                <a:gd name="T19" fmla="*/ 59 h 79"/>
                <a:gd name="T20" fmla="*/ 40 w 40"/>
                <a:gd name="T21" fmla="*/ 46 h 79"/>
                <a:gd name="T22" fmla="*/ 31 w 40"/>
                <a:gd name="T23" fmla="*/ 22 h 79"/>
                <a:gd name="T24" fmla="*/ 20 w 40"/>
                <a:gd name="T25" fmla="*/ 0 h 79"/>
                <a:gd name="T26" fmla="*/ 20 w 40"/>
                <a:gd name="T27" fmla="*/ 1 h 79"/>
                <a:gd name="T28" fmla="*/ 15 w 40"/>
                <a:gd name="T29" fmla="*/ 9 h 79"/>
                <a:gd name="T30" fmla="*/ 9 w 40"/>
                <a:gd name="T31" fmla="*/ 14 h 79"/>
                <a:gd name="T32" fmla="*/ 0 w 40"/>
                <a:gd name="T33" fmla="*/ 18 h 7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79"/>
                <a:gd name="T53" fmla="*/ 40 w 40"/>
                <a:gd name="T54" fmla="*/ 79 h 7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79">
                  <a:moveTo>
                    <a:pt x="0" y="18"/>
                  </a:moveTo>
                  <a:lnTo>
                    <a:pt x="2" y="33"/>
                  </a:lnTo>
                  <a:lnTo>
                    <a:pt x="4" y="48"/>
                  </a:lnTo>
                  <a:lnTo>
                    <a:pt x="5" y="62"/>
                  </a:lnTo>
                  <a:lnTo>
                    <a:pt x="5" y="75"/>
                  </a:lnTo>
                  <a:lnTo>
                    <a:pt x="11" y="77"/>
                  </a:lnTo>
                  <a:lnTo>
                    <a:pt x="18" y="79"/>
                  </a:lnTo>
                  <a:lnTo>
                    <a:pt x="26" y="79"/>
                  </a:lnTo>
                  <a:lnTo>
                    <a:pt x="33" y="73"/>
                  </a:lnTo>
                  <a:lnTo>
                    <a:pt x="37" y="59"/>
                  </a:lnTo>
                  <a:lnTo>
                    <a:pt x="40" y="46"/>
                  </a:lnTo>
                  <a:lnTo>
                    <a:pt x="31" y="22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15" y="9"/>
                  </a:lnTo>
                  <a:lnTo>
                    <a:pt x="9" y="1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5" name="Freeform 11"/>
            <p:cNvSpPr>
              <a:spLocks/>
            </p:cNvSpPr>
            <p:nvPr/>
          </p:nvSpPr>
          <p:spPr bwMode="auto">
            <a:xfrm>
              <a:off x="4618523" y="2027888"/>
              <a:ext cx="3653" cy="8651"/>
            </a:xfrm>
            <a:custGeom>
              <a:avLst/>
              <a:gdLst>
                <a:gd name="T0" fmla="*/ 2 w 7"/>
                <a:gd name="T1" fmla="*/ 0 h 17"/>
                <a:gd name="T2" fmla="*/ 0 w 7"/>
                <a:gd name="T3" fmla="*/ 9 h 17"/>
                <a:gd name="T4" fmla="*/ 2 w 7"/>
                <a:gd name="T5" fmla="*/ 17 h 17"/>
                <a:gd name="T6" fmla="*/ 5 w 7"/>
                <a:gd name="T7" fmla="*/ 13 h 17"/>
                <a:gd name="T8" fmla="*/ 7 w 7"/>
                <a:gd name="T9" fmla="*/ 7 h 17"/>
                <a:gd name="T10" fmla="*/ 7 w 7"/>
                <a:gd name="T11" fmla="*/ 4 h 17"/>
                <a:gd name="T12" fmla="*/ 5 w 7"/>
                <a:gd name="T13" fmla="*/ 0 h 17"/>
                <a:gd name="T14" fmla="*/ 3 w 7"/>
                <a:gd name="T15" fmla="*/ 0 h 17"/>
                <a:gd name="T16" fmla="*/ 2 w 7"/>
                <a:gd name="T17" fmla="*/ 0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7"/>
                <a:gd name="T29" fmla="*/ 7 w 7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7">
                  <a:moveTo>
                    <a:pt x="2" y="0"/>
                  </a:moveTo>
                  <a:lnTo>
                    <a:pt x="0" y="9"/>
                  </a:lnTo>
                  <a:lnTo>
                    <a:pt x="2" y="17"/>
                  </a:lnTo>
                  <a:lnTo>
                    <a:pt x="5" y="13"/>
                  </a:lnTo>
                  <a:lnTo>
                    <a:pt x="7" y="7"/>
                  </a:lnTo>
                  <a:lnTo>
                    <a:pt x="7" y="4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6" name="Freeform 12"/>
            <p:cNvSpPr>
              <a:spLocks/>
            </p:cNvSpPr>
            <p:nvPr/>
          </p:nvSpPr>
          <p:spPr bwMode="auto">
            <a:xfrm>
              <a:off x="4678008" y="1800408"/>
              <a:ext cx="224892" cy="74300"/>
            </a:xfrm>
            <a:custGeom>
              <a:avLst/>
              <a:gdLst>
                <a:gd name="T0" fmla="*/ 19 w 431"/>
                <a:gd name="T1" fmla="*/ 122 h 146"/>
                <a:gd name="T2" fmla="*/ 30 w 431"/>
                <a:gd name="T3" fmla="*/ 133 h 146"/>
                <a:gd name="T4" fmla="*/ 32 w 431"/>
                <a:gd name="T5" fmla="*/ 146 h 146"/>
                <a:gd name="T6" fmla="*/ 48 w 431"/>
                <a:gd name="T7" fmla="*/ 142 h 146"/>
                <a:gd name="T8" fmla="*/ 56 w 431"/>
                <a:gd name="T9" fmla="*/ 116 h 146"/>
                <a:gd name="T10" fmla="*/ 69 w 431"/>
                <a:gd name="T11" fmla="*/ 122 h 146"/>
                <a:gd name="T12" fmla="*/ 80 w 431"/>
                <a:gd name="T13" fmla="*/ 122 h 146"/>
                <a:gd name="T14" fmla="*/ 95 w 431"/>
                <a:gd name="T15" fmla="*/ 105 h 146"/>
                <a:gd name="T16" fmla="*/ 111 w 431"/>
                <a:gd name="T17" fmla="*/ 114 h 146"/>
                <a:gd name="T18" fmla="*/ 137 w 431"/>
                <a:gd name="T19" fmla="*/ 85 h 146"/>
                <a:gd name="T20" fmla="*/ 137 w 431"/>
                <a:gd name="T21" fmla="*/ 94 h 146"/>
                <a:gd name="T22" fmla="*/ 146 w 431"/>
                <a:gd name="T23" fmla="*/ 96 h 146"/>
                <a:gd name="T24" fmla="*/ 152 w 431"/>
                <a:gd name="T25" fmla="*/ 85 h 146"/>
                <a:gd name="T26" fmla="*/ 157 w 431"/>
                <a:gd name="T27" fmla="*/ 92 h 146"/>
                <a:gd name="T28" fmla="*/ 174 w 431"/>
                <a:gd name="T29" fmla="*/ 94 h 146"/>
                <a:gd name="T30" fmla="*/ 187 w 431"/>
                <a:gd name="T31" fmla="*/ 83 h 146"/>
                <a:gd name="T32" fmla="*/ 196 w 431"/>
                <a:gd name="T33" fmla="*/ 77 h 146"/>
                <a:gd name="T34" fmla="*/ 211 w 431"/>
                <a:gd name="T35" fmla="*/ 74 h 146"/>
                <a:gd name="T36" fmla="*/ 224 w 431"/>
                <a:gd name="T37" fmla="*/ 72 h 146"/>
                <a:gd name="T38" fmla="*/ 240 w 431"/>
                <a:gd name="T39" fmla="*/ 74 h 146"/>
                <a:gd name="T40" fmla="*/ 272 w 431"/>
                <a:gd name="T41" fmla="*/ 70 h 146"/>
                <a:gd name="T42" fmla="*/ 300 w 431"/>
                <a:gd name="T43" fmla="*/ 74 h 146"/>
                <a:gd name="T44" fmla="*/ 320 w 431"/>
                <a:gd name="T45" fmla="*/ 79 h 146"/>
                <a:gd name="T46" fmla="*/ 344 w 431"/>
                <a:gd name="T47" fmla="*/ 75 h 146"/>
                <a:gd name="T48" fmla="*/ 359 w 431"/>
                <a:gd name="T49" fmla="*/ 77 h 146"/>
                <a:gd name="T50" fmla="*/ 385 w 431"/>
                <a:gd name="T51" fmla="*/ 70 h 146"/>
                <a:gd name="T52" fmla="*/ 407 w 431"/>
                <a:gd name="T53" fmla="*/ 70 h 146"/>
                <a:gd name="T54" fmla="*/ 429 w 431"/>
                <a:gd name="T55" fmla="*/ 42 h 146"/>
                <a:gd name="T56" fmla="*/ 429 w 431"/>
                <a:gd name="T57" fmla="*/ 27 h 146"/>
                <a:gd name="T58" fmla="*/ 407 w 431"/>
                <a:gd name="T59" fmla="*/ 16 h 146"/>
                <a:gd name="T60" fmla="*/ 381 w 431"/>
                <a:gd name="T61" fmla="*/ 18 h 146"/>
                <a:gd name="T62" fmla="*/ 353 w 431"/>
                <a:gd name="T63" fmla="*/ 27 h 146"/>
                <a:gd name="T64" fmla="*/ 320 w 431"/>
                <a:gd name="T65" fmla="*/ 20 h 146"/>
                <a:gd name="T66" fmla="*/ 285 w 431"/>
                <a:gd name="T67" fmla="*/ 9 h 146"/>
                <a:gd name="T68" fmla="*/ 261 w 431"/>
                <a:gd name="T69" fmla="*/ 9 h 146"/>
                <a:gd name="T70" fmla="*/ 250 w 431"/>
                <a:gd name="T71" fmla="*/ 11 h 146"/>
                <a:gd name="T72" fmla="*/ 228 w 431"/>
                <a:gd name="T73" fmla="*/ 7 h 146"/>
                <a:gd name="T74" fmla="*/ 194 w 431"/>
                <a:gd name="T75" fmla="*/ 3 h 146"/>
                <a:gd name="T76" fmla="*/ 172 w 431"/>
                <a:gd name="T77" fmla="*/ 9 h 146"/>
                <a:gd name="T78" fmla="*/ 150 w 431"/>
                <a:gd name="T79" fmla="*/ 16 h 146"/>
                <a:gd name="T80" fmla="*/ 133 w 431"/>
                <a:gd name="T81" fmla="*/ 24 h 146"/>
                <a:gd name="T82" fmla="*/ 122 w 431"/>
                <a:gd name="T83" fmla="*/ 13 h 146"/>
                <a:gd name="T84" fmla="*/ 113 w 431"/>
                <a:gd name="T85" fmla="*/ 11 h 146"/>
                <a:gd name="T86" fmla="*/ 109 w 431"/>
                <a:gd name="T87" fmla="*/ 18 h 146"/>
                <a:gd name="T88" fmla="*/ 117 w 431"/>
                <a:gd name="T89" fmla="*/ 31 h 146"/>
                <a:gd name="T90" fmla="*/ 102 w 431"/>
                <a:gd name="T91" fmla="*/ 33 h 146"/>
                <a:gd name="T92" fmla="*/ 104 w 431"/>
                <a:gd name="T93" fmla="*/ 51 h 146"/>
                <a:gd name="T94" fmla="*/ 87 w 431"/>
                <a:gd name="T95" fmla="*/ 42 h 146"/>
                <a:gd name="T96" fmla="*/ 83 w 431"/>
                <a:gd name="T97" fmla="*/ 46 h 146"/>
                <a:gd name="T98" fmla="*/ 80 w 431"/>
                <a:gd name="T99" fmla="*/ 55 h 146"/>
                <a:gd name="T100" fmla="*/ 61 w 431"/>
                <a:gd name="T101" fmla="*/ 61 h 146"/>
                <a:gd name="T102" fmla="*/ 59 w 431"/>
                <a:gd name="T103" fmla="*/ 68 h 146"/>
                <a:gd name="T104" fmla="*/ 58 w 431"/>
                <a:gd name="T105" fmla="*/ 75 h 146"/>
                <a:gd name="T106" fmla="*/ 35 w 431"/>
                <a:gd name="T107" fmla="*/ 66 h 146"/>
                <a:gd name="T108" fmla="*/ 24 w 431"/>
                <a:gd name="T109" fmla="*/ 75 h 146"/>
                <a:gd name="T110" fmla="*/ 2 w 431"/>
                <a:gd name="T111" fmla="*/ 74 h 146"/>
                <a:gd name="T112" fmla="*/ 11 w 431"/>
                <a:gd name="T113" fmla="*/ 83 h 146"/>
                <a:gd name="T114" fmla="*/ 21 w 431"/>
                <a:gd name="T115" fmla="*/ 96 h 146"/>
                <a:gd name="T116" fmla="*/ 0 w 431"/>
                <a:gd name="T117" fmla="*/ 98 h 1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1"/>
                <a:gd name="T178" fmla="*/ 0 h 146"/>
                <a:gd name="T179" fmla="*/ 431 w 431"/>
                <a:gd name="T180" fmla="*/ 146 h 1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1" h="146">
                  <a:moveTo>
                    <a:pt x="0" y="98"/>
                  </a:moveTo>
                  <a:lnTo>
                    <a:pt x="8" y="107"/>
                  </a:lnTo>
                  <a:lnTo>
                    <a:pt x="19" y="122"/>
                  </a:lnTo>
                  <a:lnTo>
                    <a:pt x="22" y="127"/>
                  </a:lnTo>
                  <a:lnTo>
                    <a:pt x="28" y="131"/>
                  </a:lnTo>
                  <a:lnTo>
                    <a:pt x="30" y="133"/>
                  </a:lnTo>
                  <a:lnTo>
                    <a:pt x="32" y="135"/>
                  </a:lnTo>
                  <a:lnTo>
                    <a:pt x="34" y="140"/>
                  </a:lnTo>
                  <a:lnTo>
                    <a:pt x="32" y="146"/>
                  </a:lnTo>
                  <a:lnTo>
                    <a:pt x="41" y="146"/>
                  </a:lnTo>
                  <a:lnTo>
                    <a:pt x="46" y="146"/>
                  </a:lnTo>
                  <a:lnTo>
                    <a:pt x="48" y="142"/>
                  </a:lnTo>
                  <a:lnTo>
                    <a:pt x="50" y="138"/>
                  </a:lnTo>
                  <a:lnTo>
                    <a:pt x="52" y="127"/>
                  </a:lnTo>
                  <a:lnTo>
                    <a:pt x="56" y="116"/>
                  </a:lnTo>
                  <a:lnTo>
                    <a:pt x="61" y="124"/>
                  </a:lnTo>
                  <a:lnTo>
                    <a:pt x="63" y="133"/>
                  </a:lnTo>
                  <a:lnTo>
                    <a:pt x="69" y="122"/>
                  </a:lnTo>
                  <a:lnTo>
                    <a:pt x="72" y="109"/>
                  </a:lnTo>
                  <a:lnTo>
                    <a:pt x="76" y="118"/>
                  </a:lnTo>
                  <a:lnTo>
                    <a:pt x="80" y="122"/>
                  </a:lnTo>
                  <a:lnTo>
                    <a:pt x="85" y="120"/>
                  </a:lnTo>
                  <a:lnTo>
                    <a:pt x="91" y="112"/>
                  </a:lnTo>
                  <a:lnTo>
                    <a:pt x="95" y="105"/>
                  </a:lnTo>
                  <a:lnTo>
                    <a:pt x="96" y="98"/>
                  </a:lnTo>
                  <a:lnTo>
                    <a:pt x="102" y="107"/>
                  </a:lnTo>
                  <a:lnTo>
                    <a:pt x="111" y="114"/>
                  </a:lnTo>
                  <a:lnTo>
                    <a:pt x="130" y="92"/>
                  </a:lnTo>
                  <a:lnTo>
                    <a:pt x="137" y="83"/>
                  </a:lnTo>
                  <a:lnTo>
                    <a:pt x="137" y="85"/>
                  </a:lnTo>
                  <a:lnTo>
                    <a:pt x="137" y="90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9" y="96"/>
                  </a:lnTo>
                  <a:lnTo>
                    <a:pt x="141" y="98"/>
                  </a:lnTo>
                  <a:lnTo>
                    <a:pt x="146" y="96"/>
                  </a:lnTo>
                  <a:lnTo>
                    <a:pt x="150" y="90"/>
                  </a:lnTo>
                  <a:lnTo>
                    <a:pt x="152" y="87"/>
                  </a:lnTo>
                  <a:lnTo>
                    <a:pt x="152" y="85"/>
                  </a:lnTo>
                  <a:lnTo>
                    <a:pt x="157" y="85"/>
                  </a:lnTo>
                  <a:lnTo>
                    <a:pt x="157" y="88"/>
                  </a:lnTo>
                  <a:lnTo>
                    <a:pt x="157" y="92"/>
                  </a:lnTo>
                  <a:lnTo>
                    <a:pt x="157" y="94"/>
                  </a:lnTo>
                  <a:lnTo>
                    <a:pt x="167" y="94"/>
                  </a:lnTo>
                  <a:lnTo>
                    <a:pt x="174" y="94"/>
                  </a:lnTo>
                  <a:lnTo>
                    <a:pt x="183" y="92"/>
                  </a:lnTo>
                  <a:lnTo>
                    <a:pt x="189" y="88"/>
                  </a:lnTo>
                  <a:lnTo>
                    <a:pt x="187" y="83"/>
                  </a:lnTo>
                  <a:lnTo>
                    <a:pt x="185" y="77"/>
                  </a:lnTo>
                  <a:lnTo>
                    <a:pt x="191" y="75"/>
                  </a:lnTo>
                  <a:lnTo>
                    <a:pt x="196" y="77"/>
                  </a:lnTo>
                  <a:lnTo>
                    <a:pt x="200" y="79"/>
                  </a:lnTo>
                  <a:lnTo>
                    <a:pt x="202" y="79"/>
                  </a:lnTo>
                  <a:lnTo>
                    <a:pt x="211" y="74"/>
                  </a:lnTo>
                  <a:lnTo>
                    <a:pt x="216" y="72"/>
                  </a:lnTo>
                  <a:lnTo>
                    <a:pt x="220" y="72"/>
                  </a:lnTo>
                  <a:lnTo>
                    <a:pt x="224" y="72"/>
                  </a:lnTo>
                  <a:lnTo>
                    <a:pt x="228" y="75"/>
                  </a:lnTo>
                  <a:lnTo>
                    <a:pt x="231" y="77"/>
                  </a:lnTo>
                  <a:lnTo>
                    <a:pt x="240" y="74"/>
                  </a:lnTo>
                  <a:lnTo>
                    <a:pt x="252" y="68"/>
                  </a:lnTo>
                  <a:lnTo>
                    <a:pt x="264" y="72"/>
                  </a:lnTo>
                  <a:lnTo>
                    <a:pt x="272" y="70"/>
                  </a:lnTo>
                  <a:lnTo>
                    <a:pt x="279" y="68"/>
                  </a:lnTo>
                  <a:lnTo>
                    <a:pt x="287" y="66"/>
                  </a:lnTo>
                  <a:lnTo>
                    <a:pt x="300" y="74"/>
                  </a:lnTo>
                  <a:lnTo>
                    <a:pt x="309" y="79"/>
                  </a:lnTo>
                  <a:lnTo>
                    <a:pt x="314" y="79"/>
                  </a:lnTo>
                  <a:lnTo>
                    <a:pt x="320" y="79"/>
                  </a:lnTo>
                  <a:lnTo>
                    <a:pt x="327" y="74"/>
                  </a:lnTo>
                  <a:lnTo>
                    <a:pt x="336" y="72"/>
                  </a:lnTo>
                  <a:lnTo>
                    <a:pt x="344" y="75"/>
                  </a:lnTo>
                  <a:lnTo>
                    <a:pt x="351" y="77"/>
                  </a:lnTo>
                  <a:lnTo>
                    <a:pt x="355" y="77"/>
                  </a:lnTo>
                  <a:lnTo>
                    <a:pt x="359" y="77"/>
                  </a:lnTo>
                  <a:lnTo>
                    <a:pt x="366" y="72"/>
                  </a:lnTo>
                  <a:lnTo>
                    <a:pt x="375" y="68"/>
                  </a:lnTo>
                  <a:lnTo>
                    <a:pt x="385" y="70"/>
                  </a:lnTo>
                  <a:lnTo>
                    <a:pt x="392" y="72"/>
                  </a:lnTo>
                  <a:lnTo>
                    <a:pt x="397" y="72"/>
                  </a:lnTo>
                  <a:lnTo>
                    <a:pt x="407" y="70"/>
                  </a:lnTo>
                  <a:lnTo>
                    <a:pt x="418" y="59"/>
                  </a:lnTo>
                  <a:lnTo>
                    <a:pt x="425" y="50"/>
                  </a:lnTo>
                  <a:lnTo>
                    <a:pt x="429" y="42"/>
                  </a:lnTo>
                  <a:lnTo>
                    <a:pt x="431" y="37"/>
                  </a:lnTo>
                  <a:lnTo>
                    <a:pt x="431" y="31"/>
                  </a:lnTo>
                  <a:lnTo>
                    <a:pt x="429" y="27"/>
                  </a:lnTo>
                  <a:lnTo>
                    <a:pt x="425" y="24"/>
                  </a:lnTo>
                  <a:lnTo>
                    <a:pt x="420" y="22"/>
                  </a:lnTo>
                  <a:lnTo>
                    <a:pt x="407" y="16"/>
                  </a:lnTo>
                  <a:lnTo>
                    <a:pt x="396" y="14"/>
                  </a:lnTo>
                  <a:lnTo>
                    <a:pt x="386" y="16"/>
                  </a:lnTo>
                  <a:lnTo>
                    <a:pt x="381" y="18"/>
                  </a:lnTo>
                  <a:lnTo>
                    <a:pt x="373" y="24"/>
                  </a:lnTo>
                  <a:lnTo>
                    <a:pt x="368" y="29"/>
                  </a:lnTo>
                  <a:lnTo>
                    <a:pt x="353" y="27"/>
                  </a:lnTo>
                  <a:lnTo>
                    <a:pt x="338" y="27"/>
                  </a:lnTo>
                  <a:lnTo>
                    <a:pt x="329" y="24"/>
                  </a:lnTo>
                  <a:lnTo>
                    <a:pt x="320" y="20"/>
                  </a:lnTo>
                  <a:lnTo>
                    <a:pt x="309" y="22"/>
                  </a:lnTo>
                  <a:lnTo>
                    <a:pt x="298" y="22"/>
                  </a:lnTo>
                  <a:lnTo>
                    <a:pt x="285" y="9"/>
                  </a:lnTo>
                  <a:lnTo>
                    <a:pt x="272" y="0"/>
                  </a:lnTo>
                  <a:lnTo>
                    <a:pt x="266" y="3"/>
                  </a:lnTo>
                  <a:lnTo>
                    <a:pt x="261" y="9"/>
                  </a:lnTo>
                  <a:lnTo>
                    <a:pt x="257" y="11"/>
                  </a:lnTo>
                  <a:lnTo>
                    <a:pt x="253" y="13"/>
                  </a:lnTo>
                  <a:lnTo>
                    <a:pt x="250" y="11"/>
                  </a:lnTo>
                  <a:lnTo>
                    <a:pt x="242" y="7"/>
                  </a:lnTo>
                  <a:lnTo>
                    <a:pt x="235" y="9"/>
                  </a:lnTo>
                  <a:lnTo>
                    <a:pt x="228" y="7"/>
                  </a:lnTo>
                  <a:lnTo>
                    <a:pt x="215" y="2"/>
                  </a:lnTo>
                  <a:lnTo>
                    <a:pt x="203" y="0"/>
                  </a:lnTo>
                  <a:lnTo>
                    <a:pt x="194" y="3"/>
                  </a:lnTo>
                  <a:lnTo>
                    <a:pt x="187" y="7"/>
                  </a:lnTo>
                  <a:lnTo>
                    <a:pt x="179" y="7"/>
                  </a:lnTo>
                  <a:lnTo>
                    <a:pt x="172" y="9"/>
                  </a:lnTo>
                  <a:lnTo>
                    <a:pt x="165" y="14"/>
                  </a:lnTo>
                  <a:lnTo>
                    <a:pt x="157" y="18"/>
                  </a:lnTo>
                  <a:lnTo>
                    <a:pt x="150" y="16"/>
                  </a:lnTo>
                  <a:lnTo>
                    <a:pt x="144" y="14"/>
                  </a:lnTo>
                  <a:lnTo>
                    <a:pt x="139" y="18"/>
                  </a:lnTo>
                  <a:lnTo>
                    <a:pt x="133" y="24"/>
                  </a:lnTo>
                  <a:lnTo>
                    <a:pt x="128" y="20"/>
                  </a:lnTo>
                  <a:lnTo>
                    <a:pt x="124" y="14"/>
                  </a:lnTo>
                  <a:lnTo>
                    <a:pt x="122" y="13"/>
                  </a:lnTo>
                  <a:lnTo>
                    <a:pt x="119" y="11"/>
                  </a:lnTo>
                  <a:lnTo>
                    <a:pt x="117" y="11"/>
                  </a:lnTo>
                  <a:lnTo>
                    <a:pt x="113" y="11"/>
                  </a:lnTo>
                  <a:lnTo>
                    <a:pt x="111" y="13"/>
                  </a:lnTo>
                  <a:lnTo>
                    <a:pt x="109" y="16"/>
                  </a:lnTo>
                  <a:lnTo>
                    <a:pt x="109" y="18"/>
                  </a:lnTo>
                  <a:lnTo>
                    <a:pt x="111" y="22"/>
                  </a:lnTo>
                  <a:lnTo>
                    <a:pt x="115" y="27"/>
                  </a:lnTo>
                  <a:lnTo>
                    <a:pt x="117" y="31"/>
                  </a:lnTo>
                  <a:lnTo>
                    <a:pt x="111" y="33"/>
                  </a:lnTo>
                  <a:lnTo>
                    <a:pt x="106" y="33"/>
                  </a:lnTo>
                  <a:lnTo>
                    <a:pt x="102" y="33"/>
                  </a:lnTo>
                  <a:lnTo>
                    <a:pt x="102" y="37"/>
                  </a:lnTo>
                  <a:lnTo>
                    <a:pt x="104" y="42"/>
                  </a:lnTo>
                  <a:lnTo>
                    <a:pt x="104" y="51"/>
                  </a:lnTo>
                  <a:lnTo>
                    <a:pt x="98" y="46"/>
                  </a:lnTo>
                  <a:lnTo>
                    <a:pt x="91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3" y="42"/>
                  </a:lnTo>
                  <a:lnTo>
                    <a:pt x="83" y="46"/>
                  </a:lnTo>
                  <a:lnTo>
                    <a:pt x="83" y="51"/>
                  </a:lnTo>
                  <a:lnTo>
                    <a:pt x="83" y="59"/>
                  </a:lnTo>
                  <a:lnTo>
                    <a:pt x="80" y="55"/>
                  </a:lnTo>
                  <a:lnTo>
                    <a:pt x="74" y="53"/>
                  </a:lnTo>
                  <a:lnTo>
                    <a:pt x="67" y="57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8" y="66"/>
                  </a:lnTo>
                  <a:lnTo>
                    <a:pt x="59" y="68"/>
                  </a:lnTo>
                  <a:lnTo>
                    <a:pt x="61" y="70"/>
                  </a:lnTo>
                  <a:lnTo>
                    <a:pt x="59" y="74"/>
                  </a:lnTo>
                  <a:lnTo>
                    <a:pt x="58" y="75"/>
                  </a:lnTo>
                  <a:lnTo>
                    <a:pt x="50" y="72"/>
                  </a:lnTo>
                  <a:lnTo>
                    <a:pt x="41" y="66"/>
                  </a:lnTo>
                  <a:lnTo>
                    <a:pt x="35" y="66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4" y="75"/>
                  </a:lnTo>
                  <a:lnTo>
                    <a:pt x="15" y="72"/>
                  </a:lnTo>
                  <a:lnTo>
                    <a:pt x="2" y="70"/>
                  </a:lnTo>
                  <a:lnTo>
                    <a:pt x="2" y="74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1" y="83"/>
                  </a:lnTo>
                  <a:lnTo>
                    <a:pt x="21" y="88"/>
                  </a:lnTo>
                  <a:lnTo>
                    <a:pt x="26" y="96"/>
                  </a:lnTo>
                  <a:lnTo>
                    <a:pt x="21" y="96"/>
                  </a:lnTo>
                  <a:lnTo>
                    <a:pt x="13" y="94"/>
                  </a:lnTo>
                  <a:lnTo>
                    <a:pt x="6" y="96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7" name="Freeform 13"/>
            <p:cNvSpPr>
              <a:spLocks/>
            </p:cNvSpPr>
            <p:nvPr/>
          </p:nvSpPr>
          <p:spPr bwMode="auto">
            <a:xfrm>
              <a:off x="4354497" y="1892520"/>
              <a:ext cx="350644" cy="236131"/>
            </a:xfrm>
            <a:custGeom>
              <a:avLst/>
              <a:gdLst>
                <a:gd name="T0" fmla="*/ 641 w 672"/>
                <a:gd name="T1" fmla="*/ 319 h 464"/>
                <a:gd name="T2" fmla="*/ 581 w 672"/>
                <a:gd name="T3" fmla="*/ 264 h 464"/>
                <a:gd name="T4" fmla="*/ 559 w 672"/>
                <a:gd name="T5" fmla="*/ 270 h 464"/>
                <a:gd name="T6" fmla="*/ 550 w 672"/>
                <a:gd name="T7" fmla="*/ 290 h 464"/>
                <a:gd name="T8" fmla="*/ 548 w 672"/>
                <a:gd name="T9" fmla="*/ 318 h 464"/>
                <a:gd name="T10" fmla="*/ 517 w 672"/>
                <a:gd name="T11" fmla="*/ 327 h 464"/>
                <a:gd name="T12" fmla="*/ 495 w 672"/>
                <a:gd name="T13" fmla="*/ 334 h 464"/>
                <a:gd name="T14" fmla="*/ 480 w 672"/>
                <a:gd name="T15" fmla="*/ 336 h 464"/>
                <a:gd name="T16" fmla="*/ 498 w 672"/>
                <a:gd name="T17" fmla="*/ 316 h 464"/>
                <a:gd name="T18" fmla="*/ 500 w 672"/>
                <a:gd name="T19" fmla="*/ 288 h 464"/>
                <a:gd name="T20" fmla="*/ 471 w 672"/>
                <a:gd name="T21" fmla="*/ 294 h 464"/>
                <a:gd name="T22" fmla="*/ 447 w 672"/>
                <a:gd name="T23" fmla="*/ 288 h 464"/>
                <a:gd name="T24" fmla="*/ 410 w 672"/>
                <a:gd name="T25" fmla="*/ 264 h 464"/>
                <a:gd name="T26" fmla="*/ 371 w 672"/>
                <a:gd name="T27" fmla="*/ 262 h 464"/>
                <a:gd name="T28" fmla="*/ 354 w 672"/>
                <a:gd name="T29" fmla="*/ 266 h 464"/>
                <a:gd name="T30" fmla="*/ 336 w 672"/>
                <a:gd name="T31" fmla="*/ 246 h 464"/>
                <a:gd name="T32" fmla="*/ 345 w 672"/>
                <a:gd name="T33" fmla="*/ 231 h 464"/>
                <a:gd name="T34" fmla="*/ 380 w 672"/>
                <a:gd name="T35" fmla="*/ 210 h 464"/>
                <a:gd name="T36" fmla="*/ 376 w 672"/>
                <a:gd name="T37" fmla="*/ 201 h 464"/>
                <a:gd name="T38" fmla="*/ 323 w 672"/>
                <a:gd name="T39" fmla="*/ 196 h 464"/>
                <a:gd name="T40" fmla="*/ 308 w 672"/>
                <a:gd name="T41" fmla="*/ 210 h 464"/>
                <a:gd name="T42" fmla="*/ 293 w 672"/>
                <a:gd name="T43" fmla="*/ 188 h 464"/>
                <a:gd name="T44" fmla="*/ 212 w 672"/>
                <a:gd name="T45" fmla="*/ 175 h 464"/>
                <a:gd name="T46" fmla="*/ 199 w 672"/>
                <a:gd name="T47" fmla="*/ 162 h 464"/>
                <a:gd name="T48" fmla="*/ 158 w 672"/>
                <a:gd name="T49" fmla="*/ 162 h 464"/>
                <a:gd name="T50" fmla="*/ 114 w 672"/>
                <a:gd name="T51" fmla="*/ 185 h 464"/>
                <a:gd name="T52" fmla="*/ 83 w 672"/>
                <a:gd name="T53" fmla="*/ 173 h 464"/>
                <a:gd name="T54" fmla="*/ 73 w 672"/>
                <a:gd name="T55" fmla="*/ 140 h 464"/>
                <a:gd name="T56" fmla="*/ 72 w 672"/>
                <a:gd name="T57" fmla="*/ 114 h 464"/>
                <a:gd name="T58" fmla="*/ 88 w 672"/>
                <a:gd name="T59" fmla="*/ 98 h 464"/>
                <a:gd name="T60" fmla="*/ 129 w 672"/>
                <a:gd name="T61" fmla="*/ 103 h 464"/>
                <a:gd name="T62" fmla="*/ 151 w 672"/>
                <a:gd name="T63" fmla="*/ 111 h 464"/>
                <a:gd name="T64" fmla="*/ 158 w 672"/>
                <a:gd name="T65" fmla="*/ 81 h 464"/>
                <a:gd name="T66" fmla="*/ 166 w 672"/>
                <a:gd name="T67" fmla="*/ 57 h 464"/>
                <a:gd name="T68" fmla="*/ 134 w 672"/>
                <a:gd name="T69" fmla="*/ 22 h 464"/>
                <a:gd name="T70" fmla="*/ 120 w 672"/>
                <a:gd name="T71" fmla="*/ 26 h 464"/>
                <a:gd name="T72" fmla="*/ 86 w 672"/>
                <a:gd name="T73" fmla="*/ 70 h 464"/>
                <a:gd name="T74" fmla="*/ 51 w 672"/>
                <a:gd name="T75" fmla="*/ 79 h 464"/>
                <a:gd name="T76" fmla="*/ 38 w 672"/>
                <a:gd name="T77" fmla="*/ 120 h 464"/>
                <a:gd name="T78" fmla="*/ 18 w 672"/>
                <a:gd name="T79" fmla="*/ 131 h 464"/>
                <a:gd name="T80" fmla="*/ 0 w 672"/>
                <a:gd name="T81" fmla="*/ 140 h 464"/>
                <a:gd name="T82" fmla="*/ 14 w 672"/>
                <a:gd name="T83" fmla="*/ 188 h 464"/>
                <a:gd name="T84" fmla="*/ 48 w 672"/>
                <a:gd name="T85" fmla="*/ 249 h 464"/>
                <a:gd name="T86" fmla="*/ 66 w 672"/>
                <a:gd name="T87" fmla="*/ 242 h 464"/>
                <a:gd name="T88" fmla="*/ 142 w 672"/>
                <a:gd name="T89" fmla="*/ 268 h 464"/>
                <a:gd name="T90" fmla="*/ 231 w 672"/>
                <a:gd name="T91" fmla="*/ 279 h 464"/>
                <a:gd name="T92" fmla="*/ 279 w 672"/>
                <a:gd name="T93" fmla="*/ 325 h 464"/>
                <a:gd name="T94" fmla="*/ 482 w 672"/>
                <a:gd name="T95" fmla="*/ 462 h 464"/>
                <a:gd name="T96" fmla="*/ 524 w 672"/>
                <a:gd name="T97" fmla="*/ 451 h 464"/>
                <a:gd name="T98" fmla="*/ 585 w 672"/>
                <a:gd name="T99" fmla="*/ 430 h 464"/>
                <a:gd name="T100" fmla="*/ 646 w 672"/>
                <a:gd name="T101" fmla="*/ 423 h 464"/>
                <a:gd name="T102" fmla="*/ 665 w 672"/>
                <a:gd name="T103" fmla="*/ 390 h 46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72"/>
                <a:gd name="T157" fmla="*/ 0 h 464"/>
                <a:gd name="T158" fmla="*/ 672 w 672"/>
                <a:gd name="T159" fmla="*/ 464 h 46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72" h="464">
                  <a:moveTo>
                    <a:pt x="672" y="392"/>
                  </a:moveTo>
                  <a:lnTo>
                    <a:pt x="666" y="375"/>
                  </a:lnTo>
                  <a:lnTo>
                    <a:pt x="659" y="356"/>
                  </a:lnTo>
                  <a:lnTo>
                    <a:pt x="650" y="338"/>
                  </a:lnTo>
                  <a:lnTo>
                    <a:pt x="641" y="319"/>
                  </a:lnTo>
                  <a:lnTo>
                    <a:pt x="622" y="303"/>
                  </a:lnTo>
                  <a:lnTo>
                    <a:pt x="600" y="283"/>
                  </a:lnTo>
                  <a:lnTo>
                    <a:pt x="591" y="270"/>
                  </a:lnTo>
                  <a:lnTo>
                    <a:pt x="585" y="264"/>
                  </a:lnTo>
                  <a:lnTo>
                    <a:pt x="581" y="264"/>
                  </a:lnTo>
                  <a:lnTo>
                    <a:pt x="578" y="264"/>
                  </a:lnTo>
                  <a:lnTo>
                    <a:pt x="574" y="266"/>
                  </a:lnTo>
                  <a:lnTo>
                    <a:pt x="572" y="270"/>
                  </a:lnTo>
                  <a:lnTo>
                    <a:pt x="565" y="268"/>
                  </a:lnTo>
                  <a:lnTo>
                    <a:pt x="559" y="270"/>
                  </a:lnTo>
                  <a:lnTo>
                    <a:pt x="557" y="270"/>
                  </a:lnTo>
                  <a:lnTo>
                    <a:pt x="556" y="273"/>
                  </a:lnTo>
                  <a:lnTo>
                    <a:pt x="556" y="277"/>
                  </a:lnTo>
                  <a:lnTo>
                    <a:pt x="554" y="283"/>
                  </a:lnTo>
                  <a:lnTo>
                    <a:pt x="550" y="290"/>
                  </a:lnTo>
                  <a:lnTo>
                    <a:pt x="545" y="299"/>
                  </a:lnTo>
                  <a:lnTo>
                    <a:pt x="545" y="303"/>
                  </a:lnTo>
                  <a:lnTo>
                    <a:pt x="548" y="305"/>
                  </a:lnTo>
                  <a:lnTo>
                    <a:pt x="550" y="308"/>
                  </a:lnTo>
                  <a:lnTo>
                    <a:pt x="548" y="318"/>
                  </a:lnTo>
                  <a:lnTo>
                    <a:pt x="543" y="323"/>
                  </a:lnTo>
                  <a:lnTo>
                    <a:pt x="539" y="327"/>
                  </a:lnTo>
                  <a:lnTo>
                    <a:pt x="533" y="331"/>
                  </a:lnTo>
                  <a:lnTo>
                    <a:pt x="526" y="334"/>
                  </a:lnTo>
                  <a:lnTo>
                    <a:pt x="517" y="327"/>
                  </a:lnTo>
                  <a:lnTo>
                    <a:pt x="504" y="319"/>
                  </a:lnTo>
                  <a:lnTo>
                    <a:pt x="500" y="321"/>
                  </a:lnTo>
                  <a:lnTo>
                    <a:pt x="497" y="325"/>
                  </a:lnTo>
                  <a:lnTo>
                    <a:pt x="495" y="329"/>
                  </a:lnTo>
                  <a:lnTo>
                    <a:pt x="495" y="334"/>
                  </a:lnTo>
                  <a:lnTo>
                    <a:pt x="493" y="338"/>
                  </a:lnTo>
                  <a:lnTo>
                    <a:pt x="491" y="342"/>
                  </a:lnTo>
                  <a:lnTo>
                    <a:pt x="487" y="343"/>
                  </a:lnTo>
                  <a:lnTo>
                    <a:pt x="484" y="342"/>
                  </a:lnTo>
                  <a:lnTo>
                    <a:pt x="480" y="336"/>
                  </a:lnTo>
                  <a:lnTo>
                    <a:pt x="480" y="331"/>
                  </a:lnTo>
                  <a:lnTo>
                    <a:pt x="480" y="327"/>
                  </a:lnTo>
                  <a:lnTo>
                    <a:pt x="484" y="323"/>
                  </a:lnTo>
                  <a:lnTo>
                    <a:pt x="491" y="318"/>
                  </a:lnTo>
                  <a:lnTo>
                    <a:pt x="498" y="316"/>
                  </a:lnTo>
                  <a:lnTo>
                    <a:pt x="497" y="305"/>
                  </a:lnTo>
                  <a:lnTo>
                    <a:pt x="498" y="297"/>
                  </a:lnTo>
                  <a:lnTo>
                    <a:pt x="504" y="295"/>
                  </a:lnTo>
                  <a:lnTo>
                    <a:pt x="504" y="292"/>
                  </a:lnTo>
                  <a:lnTo>
                    <a:pt x="500" y="288"/>
                  </a:lnTo>
                  <a:lnTo>
                    <a:pt x="493" y="286"/>
                  </a:lnTo>
                  <a:lnTo>
                    <a:pt x="482" y="286"/>
                  </a:lnTo>
                  <a:lnTo>
                    <a:pt x="478" y="288"/>
                  </a:lnTo>
                  <a:lnTo>
                    <a:pt x="474" y="292"/>
                  </a:lnTo>
                  <a:lnTo>
                    <a:pt x="471" y="294"/>
                  </a:lnTo>
                  <a:lnTo>
                    <a:pt x="469" y="290"/>
                  </a:lnTo>
                  <a:lnTo>
                    <a:pt x="465" y="288"/>
                  </a:lnTo>
                  <a:lnTo>
                    <a:pt x="461" y="286"/>
                  </a:lnTo>
                  <a:lnTo>
                    <a:pt x="456" y="286"/>
                  </a:lnTo>
                  <a:lnTo>
                    <a:pt x="447" y="288"/>
                  </a:lnTo>
                  <a:lnTo>
                    <a:pt x="436" y="290"/>
                  </a:lnTo>
                  <a:lnTo>
                    <a:pt x="428" y="284"/>
                  </a:lnTo>
                  <a:lnTo>
                    <a:pt x="421" y="275"/>
                  </a:lnTo>
                  <a:lnTo>
                    <a:pt x="417" y="270"/>
                  </a:lnTo>
                  <a:lnTo>
                    <a:pt x="410" y="264"/>
                  </a:lnTo>
                  <a:lnTo>
                    <a:pt x="402" y="260"/>
                  </a:lnTo>
                  <a:lnTo>
                    <a:pt x="389" y="257"/>
                  </a:lnTo>
                  <a:lnTo>
                    <a:pt x="382" y="257"/>
                  </a:lnTo>
                  <a:lnTo>
                    <a:pt x="376" y="258"/>
                  </a:lnTo>
                  <a:lnTo>
                    <a:pt x="371" y="262"/>
                  </a:lnTo>
                  <a:lnTo>
                    <a:pt x="367" y="264"/>
                  </a:lnTo>
                  <a:lnTo>
                    <a:pt x="364" y="270"/>
                  </a:lnTo>
                  <a:lnTo>
                    <a:pt x="358" y="271"/>
                  </a:lnTo>
                  <a:lnTo>
                    <a:pt x="356" y="270"/>
                  </a:lnTo>
                  <a:lnTo>
                    <a:pt x="354" y="266"/>
                  </a:lnTo>
                  <a:lnTo>
                    <a:pt x="352" y="258"/>
                  </a:lnTo>
                  <a:lnTo>
                    <a:pt x="351" y="251"/>
                  </a:lnTo>
                  <a:lnTo>
                    <a:pt x="347" y="249"/>
                  </a:lnTo>
                  <a:lnTo>
                    <a:pt x="340" y="247"/>
                  </a:lnTo>
                  <a:lnTo>
                    <a:pt x="336" y="246"/>
                  </a:lnTo>
                  <a:lnTo>
                    <a:pt x="334" y="244"/>
                  </a:lnTo>
                  <a:lnTo>
                    <a:pt x="332" y="238"/>
                  </a:lnTo>
                  <a:lnTo>
                    <a:pt x="332" y="231"/>
                  </a:lnTo>
                  <a:lnTo>
                    <a:pt x="341" y="233"/>
                  </a:lnTo>
                  <a:lnTo>
                    <a:pt x="345" y="231"/>
                  </a:lnTo>
                  <a:lnTo>
                    <a:pt x="347" y="225"/>
                  </a:lnTo>
                  <a:lnTo>
                    <a:pt x="351" y="218"/>
                  </a:lnTo>
                  <a:lnTo>
                    <a:pt x="360" y="214"/>
                  </a:lnTo>
                  <a:lnTo>
                    <a:pt x="373" y="205"/>
                  </a:lnTo>
                  <a:lnTo>
                    <a:pt x="380" y="210"/>
                  </a:lnTo>
                  <a:lnTo>
                    <a:pt x="388" y="212"/>
                  </a:lnTo>
                  <a:lnTo>
                    <a:pt x="389" y="209"/>
                  </a:lnTo>
                  <a:lnTo>
                    <a:pt x="388" y="205"/>
                  </a:lnTo>
                  <a:lnTo>
                    <a:pt x="384" y="203"/>
                  </a:lnTo>
                  <a:lnTo>
                    <a:pt x="376" y="201"/>
                  </a:lnTo>
                  <a:lnTo>
                    <a:pt x="365" y="199"/>
                  </a:lnTo>
                  <a:lnTo>
                    <a:pt x="351" y="198"/>
                  </a:lnTo>
                  <a:lnTo>
                    <a:pt x="336" y="192"/>
                  </a:lnTo>
                  <a:lnTo>
                    <a:pt x="325" y="190"/>
                  </a:lnTo>
                  <a:lnTo>
                    <a:pt x="323" y="196"/>
                  </a:lnTo>
                  <a:lnTo>
                    <a:pt x="321" y="205"/>
                  </a:lnTo>
                  <a:lnTo>
                    <a:pt x="321" y="207"/>
                  </a:lnTo>
                  <a:lnTo>
                    <a:pt x="317" y="210"/>
                  </a:lnTo>
                  <a:lnTo>
                    <a:pt x="314" y="212"/>
                  </a:lnTo>
                  <a:lnTo>
                    <a:pt x="308" y="210"/>
                  </a:lnTo>
                  <a:lnTo>
                    <a:pt x="308" y="205"/>
                  </a:lnTo>
                  <a:lnTo>
                    <a:pt x="310" y="201"/>
                  </a:lnTo>
                  <a:lnTo>
                    <a:pt x="310" y="196"/>
                  </a:lnTo>
                  <a:lnTo>
                    <a:pt x="306" y="190"/>
                  </a:lnTo>
                  <a:lnTo>
                    <a:pt x="293" y="188"/>
                  </a:lnTo>
                  <a:lnTo>
                    <a:pt x="280" y="188"/>
                  </a:lnTo>
                  <a:lnTo>
                    <a:pt x="271" y="181"/>
                  </a:lnTo>
                  <a:lnTo>
                    <a:pt x="264" y="177"/>
                  </a:lnTo>
                  <a:lnTo>
                    <a:pt x="247" y="175"/>
                  </a:lnTo>
                  <a:lnTo>
                    <a:pt x="212" y="175"/>
                  </a:lnTo>
                  <a:lnTo>
                    <a:pt x="206" y="173"/>
                  </a:lnTo>
                  <a:lnTo>
                    <a:pt x="205" y="172"/>
                  </a:lnTo>
                  <a:lnTo>
                    <a:pt x="203" y="170"/>
                  </a:lnTo>
                  <a:lnTo>
                    <a:pt x="201" y="168"/>
                  </a:lnTo>
                  <a:lnTo>
                    <a:pt x="199" y="162"/>
                  </a:lnTo>
                  <a:lnTo>
                    <a:pt x="197" y="159"/>
                  </a:lnTo>
                  <a:lnTo>
                    <a:pt x="192" y="164"/>
                  </a:lnTo>
                  <a:lnTo>
                    <a:pt x="184" y="172"/>
                  </a:lnTo>
                  <a:lnTo>
                    <a:pt x="170" y="168"/>
                  </a:lnTo>
                  <a:lnTo>
                    <a:pt x="158" y="162"/>
                  </a:lnTo>
                  <a:lnTo>
                    <a:pt x="147" y="170"/>
                  </a:lnTo>
                  <a:lnTo>
                    <a:pt x="136" y="177"/>
                  </a:lnTo>
                  <a:lnTo>
                    <a:pt x="129" y="181"/>
                  </a:lnTo>
                  <a:lnTo>
                    <a:pt x="123" y="183"/>
                  </a:lnTo>
                  <a:lnTo>
                    <a:pt x="114" y="185"/>
                  </a:lnTo>
                  <a:lnTo>
                    <a:pt x="107" y="186"/>
                  </a:lnTo>
                  <a:lnTo>
                    <a:pt x="98" y="185"/>
                  </a:lnTo>
                  <a:lnTo>
                    <a:pt x="92" y="181"/>
                  </a:lnTo>
                  <a:lnTo>
                    <a:pt x="86" y="177"/>
                  </a:lnTo>
                  <a:lnTo>
                    <a:pt x="83" y="173"/>
                  </a:lnTo>
                  <a:lnTo>
                    <a:pt x="75" y="166"/>
                  </a:lnTo>
                  <a:lnTo>
                    <a:pt x="68" y="159"/>
                  </a:lnTo>
                  <a:lnTo>
                    <a:pt x="68" y="153"/>
                  </a:lnTo>
                  <a:lnTo>
                    <a:pt x="70" y="148"/>
                  </a:lnTo>
                  <a:lnTo>
                    <a:pt x="73" y="140"/>
                  </a:lnTo>
                  <a:lnTo>
                    <a:pt x="77" y="133"/>
                  </a:lnTo>
                  <a:lnTo>
                    <a:pt x="75" y="127"/>
                  </a:lnTo>
                  <a:lnTo>
                    <a:pt x="72" y="122"/>
                  </a:lnTo>
                  <a:lnTo>
                    <a:pt x="72" y="118"/>
                  </a:lnTo>
                  <a:lnTo>
                    <a:pt x="72" y="114"/>
                  </a:lnTo>
                  <a:lnTo>
                    <a:pt x="72" y="111"/>
                  </a:lnTo>
                  <a:lnTo>
                    <a:pt x="75" y="105"/>
                  </a:lnTo>
                  <a:lnTo>
                    <a:pt x="79" y="101"/>
                  </a:lnTo>
                  <a:lnTo>
                    <a:pt x="83" y="100"/>
                  </a:lnTo>
                  <a:lnTo>
                    <a:pt x="88" y="98"/>
                  </a:lnTo>
                  <a:lnTo>
                    <a:pt x="94" y="100"/>
                  </a:lnTo>
                  <a:lnTo>
                    <a:pt x="107" y="96"/>
                  </a:lnTo>
                  <a:lnTo>
                    <a:pt x="114" y="94"/>
                  </a:lnTo>
                  <a:lnTo>
                    <a:pt x="122" y="98"/>
                  </a:lnTo>
                  <a:lnTo>
                    <a:pt x="129" y="103"/>
                  </a:lnTo>
                  <a:lnTo>
                    <a:pt x="131" y="107"/>
                  </a:lnTo>
                  <a:lnTo>
                    <a:pt x="136" y="111"/>
                  </a:lnTo>
                  <a:lnTo>
                    <a:pt x="140" y="116"/>
                  </a:lnTo>
                  <a:lnTo>
                    <a:pt x="146" y="118"/>
                  </a:lnTo>
                  <a:lnTo>
                    <a:pt x="151" y="111"/>
                  </a:lnTo>
                  <a:lnTo>
                    <a:pt x="153" y="100"/>
                  </a:lnTo>
                  <a:lnTo>
                    <a:pt x="155" y="98"/>
                  </a:lnTo>
                  <a:lnTo>
                    <a:pt x="157" y="90"/>
                  </a:lnTo>
                  <a:lnTo>
                    <a:pt x="158" y="81"/>
                  </a:lnTo>
                  <a:lnTo>
                    <a:pt x="158" y="76"/>
                  </a:lnTo>
                  <a:lnTo>
                    <a:pt x="158" y="70"/>
                  </a:lnTo>
                  <a:lnTo>
                    <a:pt x="160" y="64"/>
                  </a:lnTo>
                  <a:lnTo>
                    <a:pt x="164" y="61"/>
                  </a:lnTo>
                  <a:lnTo>
                    <a:pt x="166" y="57"/>
                  </a:lnTo>
                  <a:lnTo>
                    <a:pt x="166" y="55"/>
                  </a:lnTo>
                  <a:lnTo>
                    <a:pt x="162" y="46"/>
                  </a:lnTo>
                  <a:lnTo>
                    <a:pt x="155" y="37"/>
                  </a:lnTo>
                  <a:lnTo>
                    <a:pt x="144" y="29"/>
                  </a:lnTo>
                  <a:lnTo>
                    <a:pt x="134" y="22"/>
                  </a:lnTo>
                  <a:lnTo>
                    <a:pt x="131" y="11"/>
                  </a:lnTo>
                  <a:lnTo>
                    <a:pt x="129" y="0"/>
                  </a:lnTo>
                  <a:lnTo>
                    <a:pt x="125" y="5"/>
                  </a:lnTo>
                  <a:lnTo>
                    <a:pt x="122" y="15"/>
                  </a:lnTo>
                  <a:lnTo>
                    <a:pt x="120" y="26"/>
                  </a:lnTo>
                  <a:lnTo>
                    <a:pt x="120" y="37"/>
                  </a:lnTo>
                  <a:lnTo>
                    <a:pt x="110" y="46"/>
                  </a:lnTo>
                  <a:lnTo>
                    <a:pt x="103" y="50"/>
                  </a:lnTo>
                  <a:lnTo>
                    <a:pt x="96" y="61"/>
                  </a:lnTo>
                  <a:lnTo>
                    <a:pt x="86" y="70"/>
                  </a:lnTo>
                  <a:lnTo>
                    <a:pt x="77" y="68"/>
                  </a:lnTo>
                  <a:lnTo>
                    <a:pt x="70" y="66"/>
                  </a:lnTo>
                  <a:lnTo>
                    <a:pt x="64" y="72"/>
                  </a:lnTo>
                  <a:lnTo>
                    <a:pt x="61" y="76"/>
                  </a:lnTo>
                  <a:lnTo>
                    <a:pt x="51" y="79"/>
                  </a:lnTo>
                  <a:lnTo>
                    <a:pt x="44" y="83"/>
                  </a:lnTo>
                  <a:lnTo>
                    <a:pt x="42" y="96"/>
                  </a:lnTo>
                  <a:lnTo>
                    <a:pt x="44" y="109"/>
                  </a:lnTo>
                  <a:lnTo>
                    <a:pt x="42" y="114"/>
                  </a:lnTo>
                  <a:lnTo>
                    <a:pt x="38" y="120"/>
                  </a:lnTo>
                  <a:lnTo>
                    <a:pt x="35" y="122"/>
                  </a:lnTo>
                  <a:lnTo>
                    <a:pt x="29" y="124"/>
                  </a:lnTo>
                  <a:lnTo>
                    <a:pt x="22" y="125"/>
                  </a:lnTo>
                  <a:lnTo>
                    <a:pt x="20" y="127"/>
                  </a:lnTo>
                  <a:lnTo>
                    <a:pt x="18" y="131"/>
                  </a:lnTo>
                  <a:lnTo>
                    <a:pt x="16" y="138"/>
                  </a:lnTo>
                  <a:lnTo>
                    <a:pt x="14" y="140"/>
                  </a:lnTo>
                  <a:lnTo>
                    <a:pt x="9" y="142"/>
                  </a:lnTo>
                  <a:lnTo>
                    <a:pt x="5" y="140"/>
                  </a:lnTo>
                  <a:lnTo>
                    <a:pt x="0" y="140"/>
                  </a:lnTo>
                  <a:lnTo>
                    <a:pt x="0" y="151"/>
                  </a:lnTo>
                  <a:lnTo>
                    <a:pt x="1" y="164"/>
                  </a:lnTo>
                  <a:lnTo>
                    <a:pt x="5" y="172"/>
                  </a:lnTo>
                  <a:lnTo>
                    <a:pt x="9" y="179"/>
                  </a:lnTo>
                  <a:lnTo>
                    <a:pt x="14" y="188"/>
                  </a:lnTo>
                  <a:lnTo>
                    <a:pt x="22" y="198"/>
                  </a:lnTo>
                  <a:lnTo>
                    <a:pt x="31" y="225"/>
                  </a:lnTo>
                  <a:lnTo>
                    <a:pt x="38" y="244"/>
                  </a:lnTo>
                  <a:lnTo>
                    <a:pt x="42" y="247"/>
                  </a:lnTo>
                  <a:lnTo>
                    <a:pt x="48" y="249"/>
                  </a:lnTo>
                  <a:lnTo>
                    <a:pt x="55" y="251"/>
                  </a:lnTo>
                  <a:lnTo>
                    <a:pt x="64" y="251"/>
                  </a:lnTo>
                  <a:lnTo>
                    <a:pt x="62" y="246"/>
                  </a:lnTo>
                  <a:lnTo>
                    <a:pt x="61" y="242"/>
                  </a:lnTo>
                  <a:lnTo>
                    <a:pt x="66" y="242"/>
                  </a:lnTo>
                  <a:lnTo>
                    <a:pt x="75" y="242"/>
                  </a:lnTo>
                  <a:lnTo>
                    <a:pt x="90" y="251"/>
                  </a:lnTo>
                  <a:lnTo>
                    <a:pt x="107" y="264"/>
                  </a:lnTo>
                  <a:lnTo>
                    <a:pt x="123" y="264"/>
                  </a:lnTo>
                  <a:lnTo>
                    <a:pt x="142" y="268"/>
                  </a:lnTo>
                  <a:lnTo>
                    <a:pt x="160" y="271"/>
                  </a:lnTo>
                  <a:lnTo>
                    <a:pt x="181" y="275"/>
                  </a:lnTo>
                  <a:lnTo>
                    <a:pt x="199" y="279"/>
                  </a:lnTo>
                  <a:lnTo>
                    <a:pt x="216" y="281"/>
                  </a:lnTo>
                  <a:lnTo>
                    <a:pt x="231" y="279"/>
                  </a:lnTo>
                  <a:lnTo>
                    <a:pt x="243" y="277"/>
                  </a:lnTo>
                  <a:lnTo>
                    <a:pt x="247" y="288"/>
                  </a:lnTo>
                  <a:lnTo>
                    <a:pt x="255" y="299"/>
                  </a:lnTo>
                  <a:lnTo>
                    <a:pt x="266" y="312"/>
                  </a:lnTo>
                  <a:lnTo>
                    <a:pt x="279" y="325"/>
                  </a:lnTo>
                  <a:lnTo>
                    <a:pt x="312" y="353"/>
                  </a:lnTo>
                  <a:lnTo>
                    <a:pt x="347" y="379"/>
                  </a:lnTo>
                  <a:lnTo>
                    <a:pt x="421" y="427"/>
                  </a:lnTo>
                  <a:lnTo>
                    <a:pt x="471" y="460"/>
                  </a:lnTo>
                  <a:lnTo>
                    <a:pt x="482" y="462"/>
                  </a:lnTo>
                  <a:lnTo>
                    <a:pt x="491" y="464"/>
                  </a:lnTo>
                  <a:lnTo>
                    <a:pt x="498" y="464"/>
                  </a:lnTo>
                  <a:lnTo>
                    <a:pt x="506" y="462"/>
                  </a:lnTo>
                  <a:lnTo>
                    <a:pt x="517" y="458"/>
                  </a:lnTo>
                  <a:lnTo>
                    <a:pt x="524" y="451"/>
                  </a:lnTo>
                  <a:lnTo>
                    <a:pt x="537" y="436"/>
                  </a:lnTo>
                  <a:lnTo>
                    <a:pt x="548" y="427"/>
                  </a:lnTo>
                  <a:lnTo>
                    <a:pt x="563" y="428"/>
                  </a:lnTo>
                  <a:lnTo>
                    <a:pt x="580" y="432"/>
                  </a:lnTo>
                  <a:lnTo>
                    <a:pt x="585" y="430"/>
                  </a:lnTo>
                  <a:lnTo>
                    <a:pt x="593" y="425"/>
                  </a:lnTo>
                  <a:lnTo>
                    <a:pt x="604" y="421"/>
                  </a:lnTo>
                  <a:lnTo>
                    <a:pt x="620" y="417"/>
                  </a:lnTo>
                  <a:lnTo>
                    <a:pt x="633" y="419"/>
                  </a:lnTo>
                  <a:lnTo>
                    <a:pt x="646" y="423"/>
                  </a:lnTo>
                  <a:lnTo>
                    <a:pt x="650" y="417"/>
                  </a:lnTo>
                  <a:lnTo>
                    <a:pt x="654" y="410"/>
                  </a:lnTo>
                  <a:lnTo>
                    <a:pt x="657" y="403"/>
                  </a:lnTo>
                  <a:lnTo>
                    <a:pt x="659" y="392"/>
                  </a:lnTo>
                  <a:lnTo>
                    <a:pt x="665" y="390"/>
                  </a:lnTo>
                  <a:lnTo>
                    <a:pt x="672" y="39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8" name="Freeform 14"/>
            <p:cNvSpPr>
              <a:spLocks noEditPoints="1"/>
            </p:cNvSpPr>
            <p:nvPr/>
          </p:nvSpPr>
          <p:spPr bwMode="auto">
            <a:xfrm>
              <a:off x="6555937" y="2397351"/>
              <a:ext cx="75138" cy="440201"/>
            </a:xfrm>
            <a:custGeom>
              <a:avLst/>
              <a:gdLst>
                <a:gd name="T0" fmla="*/ 52 w 144"/>
                <a:gd name="T1" fmla="*/ 20 h 865"/>
                <a:gd name="T2" fmla="*/ 40 w 144"/>
                <a:gd name="T3" fmla="*/ 31 h 865"/>
                <a:gd name="T4" fmla="*/ 20 w 144"/>
                <a:gd name="T5" fmla="*/ 48 h 865"/>
                <a:gd name="T6" fmla="*/ 61 w 144"/>
                <a:gd name="T7" fmla="*/ 67 h 865"/>
                <a:gd name="T8" fmla="*/ 55 w 144"/>
                <a:gd name="T9" fmla="*/ 91 h 865"/>
                <a:gd name="T10" fmla="*/ 79 w 144"/>
                <a:gd name="T11" fmla="*/ 100 h 865"/>
                <a:gd name="T12" fmla="*/ 96 w 144"/>
                <a:gd name="T13" fmla="*/ 59 h 865"/>
                <a:gd name="T14" fmla="*/ 85 w 144"/>
                <a:gd name="T15" fmla="*/ 9 h 865"/>
                <a:gd name="T16" fmla="*/ 87 w 144"/>
                <a:gd name="T17" fmla="*/ 203 h 865"/>
                <a:gd name="T18" fmla="*/ 81 w 144"/>
                <a:gd name="T19" fmla="*/ 218 h 865"/>
                <a:gd name="T20" fmla="*/ 96 w 144"/>
                <a:gd name="T21" fmla="*/ 224 h 865"/>
                <a:gd name="T22" fmla="*/ 114 w 144"/>
                <a:gd name="T23" fmla="*/ 211 h 865"/>
                <a:gd name="T24" fmla="*/ 90 w 144"/>
                <a:gd name="T25" fmla="*/ 201 h 865"/>
                <a:gd name="T26" fmla="*/ 103 w 144"/>
                <a:gd name="T27" fmla="*/ 150 h 865"/>
                <a:gd name="T28" fmla="*/ 83 w 144"/>
                <a:gd name="T29" fmla="*/ 133 h 865"/>
                <a:gd name="T30" fmla="*/ 77 w 144"/>
                <a:gd name="T31" fmla="*/ 157 h 865"/>
                <a:gd name="T32" fmla="*/ 90 w 144"/>
                <a:gd name="T33" fmla="*/ 174 h 865"/>
                <a:gd name="T34" fmla="*/ 94 w 144"/>
                <a:gd name="T35" fmla="*/ 189 h 865"/>
                <a:gd name="T36" fmla="*/ 107 w 144"/>
                <a:gd name="T37" fmla="*/ 183 h 865"/>
                <a:gd name="T38" fmla="*/ 103 w 144"/>
                <a:gd name="T39" fmla="*/ 172 h 865"/>
                <a:gd name="T40" fmla="*/ 114 w 144"/>
                <a:gd name="T41" fmla="*/ 320 h 865"/>
                <a:gd name="T42" fmla="*/ 137 w 144"/>
                <a:gd name="T43" fmla="*/ 331 h 865"/>
                <a:gd name="T44" fmla="*/ 114 w 144"/>
                <a:gd name="T45" fmla="*/ 285 h 865"/>
                <a:gd name="T46" fmla="*/ 105 w 144"/>
                <a:gd name="T47" fmla="*/ 294 h 865"/>
                <a:gd name="T48" fmla="*/ 111 w 144"/>
                <a:gd name="T49" fmla="*/ 305 h 865"/>
                <a:gd name="T50" fmla="*/ 124 w 144"/>
                <a:gd name="T51" fmla="*/ 301 h 865"/>
                <a:gd name="T52" fmla="*/ 124 w 144"/>
                <a:gd name="T53" fmla="*/ 288 h 865"/>
                <a:gd name="T54" fmla="*/ 122 w 144"/>
                <a:gd name="T55" fmla="*/ 359 h 865"/>
                <a:gd name="T56" fmla="*/ 124 w 144"/>
                <a:gd name="T57" fmla="*/ 379 h 865"/>
                <a:gd name="T58" fmla="*/ 120 w 144"/>
                <a:gd name="T59" fmla="*/ 412 h 865"/>
                <a:gd name="T60" fmla="*/ 140 w 144"/>
                <a:gd name="T61" fmla="*/ 427 h 865"/>
                <a:gd name="T62" fmla="*/ 144 w 144"/>
                <a:gd name="T63" fmla="*/ 392 h 865"/>
                <a:gd name="T64" fmla="*/ 137 w 144"/>
                <a:gd name="T65" fmla="*/ 371 h 865"/>
                <a:gd name="T66" fmla="*/ 92 w 144"/>
                <a:gd name="T67" fmla="*/ 458 h 865"/>
                <a:gd name="T68" fmla="*/ 85 w 144"/>
                <a:gd name="T69" fmla="*/ 473 h 865"/>
                <a:gd name="T70" fmla="*/ 100 w 144"/>
                <a:gd name="T71" fmla="*/ 475 h 865"/>
                <a:gd name="T72" fmla="*/ 116 w 144"/>
                <a:gd name="T73" fmla="*/ 481 h 865"/>
                <a:gd name="T74" fmla="*/ 111 w 144"/>
                <a:gd name="T75" fmla="*/ 464 h 865"/>
                <a:gd name="T76" fmla="*/ 96 w 144"/>
                <a:gd name="T77" fmla="*/ 458 h 865"/>
                <a:gd name="T78" fmla="*/ 76 w 144"/>
                <a:gd name="T79" fmla="*/ 819 h 865"/>
                <a:gd name="T80" fmla="*/ 83 w 144"/>
                <a:gd name="T81" fmla="*/ 795 h 865"/>
                <a:gd name="T82" fmla="*/ 9 w 144"/>
                <a:gd name="T83" fmla="*/ 776 h 865"/>
                <a:gd name="T84" fmla="*/ 7 w 144"/>
                <a:gd name="T85" fmla="*/ 808 h 865"/>
                <a:gd name="T86" fmla="*/ 4 w 144"/>
                <a:gd name="T87" fmla="*/ 861 h 865"/>
                <a:gd name="T88" fmla="*/ 31 w 144"/>
                <a:gd name="T89" fmla="*/ 822 h 865"/>
                <a:gd name="T90" fmla="*/ 42 w 144"/>
                <a:gd name="T91" fmla="*/ 784 h 865"/>
                <a:gd name="T92" fmla="*/ 29 w 144"/>
                <a:gd name="T93" fmla="*/ 658 h 865"/>
                <a:gd name="T94" fmla="*/ 33 w 144"/>
                <a:gd name="T95" fmla="*/ 686 h 865"/>
                <a:gd name="T96" fmla="*/ 35 w 144"/>
                <a:gd name="T97" fmla="*/ 734 h 865"/>
                <a:gd name="T98" fmla="*/ 61 w 144"/>
                <a:gd name="T99" fmla="*/ 754 h 865"/>
                <a:gd name="T100" fmla="*/ 64 w 144"/>
                <a:gd name="T101" fmla="*/ 711 h 865"/>
                <a:gd name="T102" fmla="*/ 79 w 144"/>
                <a:gd name="T103" fmla="*/ 654 h 865"/>
                <a:gd name="T104" fmla="*/ 90 w 144"/>
                <a:gd name="T105" fmla="*/ 617 h 865"/>
                <a:gd name="T106" fmla="*/ 68 w 144"/>
                <a:gd name="T107" fmla="*/ 614 h 865"/>
                <a:gd name="T108" fmla="*/ 101 w 144"/>
                <a:gd name="T109" fmla="*/ 510 h 865"/>
                <a:gd name="T110" fmla="*/ 87 w 144"/>
                <a:gd name="T111" fmla="*/ 578 h 865"/>
                <a:gd name="T112" fmla="*/ 107 w 144"/>
                <a:gd name="T113" fmla="*/ 584 h 865"/>
                <a:gd name="T114" fmla="*/ 120 w 144"/>
                <a:gd name="T115" fmla="*/ 523 h 86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4"/>
                <a:gd name="T175" fmla="*/ 0 h 865"/>
                <a:gd name="T176" fmla="*/ 144 w 144"/>
                <a:gd name="T177" fmla="*/ 865 h 86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4" h="865">
                  <a:moveTo>
                    <a:pt x="61" y="0"/>
                  </a:moveTo>
                  <a:lnTo>
                    <a:pt x="63" y="13"/>
                  </a:lnTo>
                  <a:lnTo>
                    <a:pt x="63" y="17"/>
                  </a:lnTo>
                  <a:lnTo>
                    <a:pt x="61" y="17"/>
                  </a:lnTo>
                  <a:lnTo>
                    <a:pt x="57" y="17"/>
                  </a:lnTo>
                  <a:lnTo>
                    <a:pt x="53" y="19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6" y="26"/>
                  </a:lnTo>
                  <a:lnTo>
                    <a:pt x="46" y="30"/>
                  </a:lnTo>
                  <a:lnTo>
                    <a:pt x="46" y="33"/>
                  </a:lnTo>
                  <a:lnTo>
                    <a:pt x="46" y="35"/>
                  </a:lnTo>
                  <a:lnTo>
                    <a:pt x="42" y="33"/>
                  </a:lnTo>
                  <a:lnTo>
                    <a:pt x="40" y="31"/>
                  </a:lnTo>
                  <a:lnTo>
                    <a:pt x="37" y="31"/>
                  </a:lnTo>
                  <a:lnTo>
                    <a:pt x="35" y="31"/>
                  </a:lnTo>
                  <a:lnTo>
                    <a:pt x="31" y="31"/>
                  </a:lnTo>
                  <a:lnTo>
                    <a:pt x="28" y="33"/>
                  </a:lnTo>
                  <a:lnTo>
                    <a:pt x="26" y="35"/>
                  </a:lnTo>
                  <a:lnTo>
                    <a:pt x="20" y="41"/>
                  </a:lnTo>
                  <a:lnTo>
                    <a:pt x="20" y="48"/>
                  </a:lnTo>
                  <a:lnTo>
                    <a:pt x="26" y="54"/>
                  </a:lnTo>
                  <a:lnTo>
                    <a:pt x="31" y="54"/>
                  </a:lnTo>
                  <a:lnTo>
                    <a:pt x="33" y="52"/>
                  </a:lnTo>
                  <a:lnTo>
                    <a:pt x="42" y="48"/>
                  </a:lnTo>
                  <a:lnTo>
                    <a:pt x="50" y="44"/>
                  </a:lnTo>
                  <a:lnTo>
                    <a:pt x="55" y="56"/>
                  </a:lnTo>
                  <a:lnTo>
                    <a:pt x="61" y="67"/>
                  </a:lnTo>
                  <a:lnTo>
                    <a:pt x="61" y="68"/>
                  </a:lnTo>
                  <a:lnTo>
                    <a:pt x="57" y="74"/>
                  </a:lnTo>
                  <a:lnTo>
                    <a:pt x="55" y="81"/>
                  </a:lnTo>
                  <a:lnTo>
                    <a:pt x="55" y="83"/>
                  </a:lnTo>
                  <a:lnTo>
                    <a:pt x="53" y="87"/>
                  </a:lnTo>
                  <a:lnTo>
                    <a:pt x="55" y="91"/>
                  </a:lnTo>
                  <a:lnTo>
                    <a:pt x="57" y="94"/>
                  </a:lnTo>
                  <a:lnTo>
                    <a:pt x="59" y="98"/>
                  </a:lnTo>
                  <a:lnTo>
                    <a:pt x="63" y="102"/>
                  </a:lnTo>
                  <a:lnTo>
                    <a:pt x="68" y="104"/>
                  </a:lnTo>
                  <a:lnTo>
                    <a:pt x="74" y="104"/>
                  </a:lnTo>
                  <a:lnTo>
                    <a:pt x="77" y="102"/>
                  </a:lnTo>
                  <a:lnTo>
                    <a:pt x="79" y="100"/>
                  </a:lnTo>
                  <a:lnTo>
                    <a:pt x="81" y="96"/>
                  </a:lnTo>
                  <a:lnTo>
                    <a:pt x="83" y="92"/>
                  </a:lnTo>
                  <a:lnTo>
                    <a:pt x="85" y="87"/>
                  </a:lnTo>
                  <a:lnTo>
                    <a:pt x="87" y="78"/>
                  </a:lnTo>
                  <a:lnTo>
                    <a:pt x="90" y="67"/>
                  </a:lnTo>
                  <a:lnTo>
                    <a:pt x="92" y="65"/>
                  </a:lnTo>
                  <a:lnTo>
                    <a:pt x="96" y="59"/>
                  </a:lnTo>
                  <a:lnTo>
                    <a:pt x="90" y="50"/>
                  </a:lnTo>
                  <a:lnTo>
                    <a:pt x="85" y="39"/>
                  </a:lnTo>
                  <a:lnTo>
                    <a:pt x="79" y="28"/>
                  </a:lnTo>
                  <a:lnTo>
                    <a:pt x="90" y="31"/>
                  </a:lnTo>
                  <a:lnTo>
                    <a:pt x="88" y="17"/>
                  </a:lnTo>
                  <a:lnTo>
                    <a:pt x="87" y="13"/>
                  </a:lnTo>
                  <a:lnTo>
                    <a:pt x="85" y="9"/>
                  </a:lnTo>
                  <a:lnTo>
                    <a:pt x="83" y="7"/>
                  </a:lnTo>
                  <a:lnTo>
                    <a:pt x="81" y="6"/>
                  </a:lnTo>
                  <a:lnTo>
                    <a:pt x="77" y="4"/>
                  </a:lnTo>
                  <a:lnTo>
                    <a:pt x="74" y="4"/>
                  </a:lnTo>
                  <a:lnTo>
                    <a:pt x="61" y="0"/>
                  </a:lnTo>
                  <a:close/>
                  <a:moveTo>
                    <a:pt x="90" y="201"/>
                  </a:moveTo>
                  <a:lnTo>
                    <a:pt x="87" y="203"/>
                  </a:lnTo>
                  <a:lnTo>
                    <a:pt x="85" y="205"/>
                  </a:lnTo>
                  <a:lnTo>
                    <a:pt x="83" y="207"/>
                  </a:lnTo>
                  <a:lnTo>
                    <a:pt x="81" y="209"/>
                  </a:lnTo>
                  <a:lnTo>
                    <a:pt x="81" y="211"/>
                  </a:lnTo>
                  <a:lnTo>
                    <a:pt x="81" y="213"/>
                  </a:lnTo>
                  <a:lnTo>
                    <a:pt x="81" y="214"/>
                  </a:lnTo>
                  <a:lnTo>
                    <a:pt x="81" y="218"/>
                  </a:lnTo>
                  <a:lnTo>
                    <a:pt x="83" y="220"/>
                  </a:lnTo>
                  <a:lnTo>
                    <a:pt x="85" y="220"/>
                  </a:lnTo>
                  <a:lnTo>
                    <a:pt x="87" y="222"/>
                  </a:lnTo>
                  <a:lnTo>
                    <a:pt x="90" y="222"/>
                  </a:lnTo>
                  <a:lnTo>
                    <a:pt x="94" y="222"/>
                  </a:lnTo>
                  <a:lnTo>
                    <a:pt x="96" y="222"/>
                  </a:lnTo>
                  <a:lnTo>
                    <a:pt x="96" y="224"/>
                  </a:lnTo>
                  <a:lnTo>
                    <a:pt x="100" y="227"/>
                  </a:lnTo>
                  <a:lnTo>
                    <a:pt x="109" y="233"/>
                  </a:lnTo>
                  <a:lnTo>
                    <a:pt x="114" y="224"/>
                  </a:lnTo>
                  <a:lnTo>
                    <a:pt x="114" y="220"/>
                  </a:lnTo>
                  <a:lnTo>
                    <a:pt x="116" y="216"/>
                  </a:lnTo>
                  <a:lnTo>
                    <a:pt x="116" y="213"/>
                  </a:lnTo>
                  <a:lnTo>
                    <a:pt x="114" y="211"/>
                  </a:lnTo>
                  <a:lnTo>
                    <a:pt x="114" y="207"/>
                  </a:lnTo>
                  <a:lnTo>
                    <a:pt x="112" y="205"/>
                  </a:lnTo>
                  <a:lnTo>
                    <a:pt x="101" y="192"/>
                  </a:lnTo>
                  <a:lnTo>
                    <a:pt x="98" y="205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0" y="201"/>
                  </a:lnTo>
                  <a:close/>
                  <a:moveTo>
                    <a:pt x="98" y="170"/>
                  </a:moveTo>
                  <a:lnTo>
                    <a:pt x="96" y="170"/>
                  </a:lnTo>
                  <a:lnTo>
                    <a:pt x="101" y="163"/>
                  </a:lnTo>
                  <a:lnTo>
                    <a:pt x="103" y="157"/>
                  </a:lnTo>
                  <a:lnTo>
                    <a:pt x="103" y="155"/>
                  </a:lnTo>
                  <a:lnTo>
                    <a:pt x="103" y="152"/>
                  </a:lnTo>
                  <a:lnTo>
                    <a:pt x="103" y="150"/>
                  </a:lnTo>
                  <a:lnTo>
                    <a:pt x="103" y="146"/>
                  </a:lnTo>
                  <a:lnTo>
                    <a:pt x="101" y="144"/>
                  </a:lnTo>
                  <a:lnTo>
                    <a:pt x="100" y="142"/>
                  </a:lnTo>
                  <a:lnTo>
                    <a:pt x="98" y="141"/>
                  </a:lnTo>
                  <a:lnTo>
                    <a:pt x="94" y="137"/>
                  </a:lnTo>
                  <a:lnTo>
                    <a:pt x="88" y="135"/>
                  </a:lnTo>
                  <a:lnTo>
                    <a:pt x="83" y="133"/>
                  </a:lnTo>
                  <a:lnTo>
                    <a:pt x="79" y="139"/>
                  </a:lnTo>
                  <a:lnTo>
                    <a:pt x="77" y="141"/>
                  </a:lnTo>
                  <a:lnTo>
                    <a:pt x="77" y="144"/>
                  </a:lnTo>
                  <a:lnTo>
                    <a:pt x="77" y="148"/>
                  </a:lnTo>
                  <a:lnTo>
                    <a:pt x="77" y="152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9" y="161"/>
                  </a:lnTo>
                  <a:lnTo>
                    <a:pt x="81" y="165"/>
                  </a:lnTo>
                  <a:lnTo>
                    <a:pt x="83" y="166"/>
                  </a:lnTo>
                  <a:lnTo>
                    <a:pt x="85" y="168"/>
                  </a:lnTo>
                  <a:lnTo>
                    <a:pt x="87" y="170"/>
                  </a:lnTo>
                  <a:lnTo>
                    <a:pt x="92" y="172"/>
                  </a:lnTo>
                  <a:lnTo>
                    <a:pt x="90" y="174"/>
                  </a:lnTo>
                  <a:lnTo>
                    <a:pt x="88" y="177"/>
                  </a:lnTo>
                  <a:lnTo>
                    <a:pt x="88" y="181"/>
                  </a:lnTo>
                  <a:lnTo>
                    <a:pt x="88" y="183"/>
                  </a:lnTo>
                  <a:lnTo>
                    <a:pt x="90" y="185"/>
                  </a:lnTo>
                  <a:lnTo>
                    <a:pt x="90" y="187"/>
                  </a:lnTo>
                  <a:lnTo>
                    <a:pt x="92" y="187"/>
                  </a:lnTo>
                  <a:lnTo>
                    <a:pt x="94" y="189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100" y="189"/>
                  </a:lnTo>
                  <a:lnTo>
                    <a:pt x="101" y="189"/>
                  </a:lnTo>
                  <a:lnTo>
                    <a:pt x="103" y="187"/>
                  </a:lnTo>
                  <a:lnTo>
                    <a:pt x="105" y="187"/>
                  </a:lnTo>
                  <a:lnTo>
                    <a:pt x="107" y="183"/>
                  </a:lnTo>
                  <a:lnTo>
                    <a:pt x="107" y="181"/>
                  </a:lnTo>
                  <a:lnTo>
                    <a:pt x="107" y="179"/>
                  </a:lnTo>
                  <a:lnTo>
                    <a:pt x="107" y="177"/>
                  </a:lnTo>
                  <a:lnTo>
                    <a:pt x="107" y="176"/>
                  </a:lnTo>
                  <a:lnTo>
                    <a:pt x="105" y="176"/>
                  </a:lnTo>
                  <a:lnTo>
                    <a:pt x="105" y="174"/>
                  </a:lnTo>
                  <a:lnTo>
                    <a:pt x="103" y="172"/>
                  </a:lnTo>
                  <a:lnTo>
                    <a:pt x="101" y="172"/>
                  </a:lnTo>
                  <a:lnTo>
                    <a:pt x="100" y="170"/>
                  </a:lnTo>
                  <a:lnTo>
                    <a:pt x="98" y="170"/>
                  </a:lnTo>
                  <a:close/>
                  <a:moveTo>
                    <a:pt x="124" y="311"/>
                  </a:moveTo>
                  <a:lnTo>
                    <a:pt x="118" y="312"/>
                  </a:lnTo>
                  <a:lnTo>
                    <a:pt x="116" y="316"/>
                  </a:lnTo>
                  <a:lnTo>
                    <a:pt x="114" y="320"/>
                  </a:lnTo>
                  <a:lnTo>
                    <a:pt x="114" y="323"/>
                  </a:lnTo>
                  <a:lnTo>
                    <a:pt x="114" y="327"/>
                  </a:lnTo>
                  <a:lnTo>
                    <a:pt x="118" y="331"/>
                  </a:lnTo>
                  <a:lnTo>
                    <a:pt x="120" y="335"/>
                  </a:lnTo>
                  <a:lnTo>
                    <a:pt x="125" y="336"/>
                  </a:lnTo>
                  <a:lnTo>
                    <a:pt x="131" y="335"/>
                  </a:lnTo>
                  <a:lnTo>
                    <a:pt x="137" y="331"/>
                  </a:lnTo>
                  <a:lnTo>
                    <a:pt x="138" y="325"/>
                  </a:lnTo>
                  <a:lnTo>
                    <a:pt x="137" y="322"/>
                  </a:lnTo>
                  <a:lnTo>
                    <a:pt x="135" y="318"/>
                  </a:lnTo>
                  <a:lnTo>
                    <a:pt x="133" y="314"/>
                  </a:lnTo>
                  <a:lnTo>
                    <a:pt x="129" y="312"/>
                  </a:lnTo>
                  <a:lnTo>
                    <a:pt x="124" y="311"/>
                  </a:lnTo>
                  <a:close/>
                  <a:moveTo>
                    <a:pt x="114" y="285"/>
                  </a:moveTo>
                  <a:lnTo>
                    <a:pt x="112" y="285"/>
                  </a:lnTo>
                  <a:lnTo>
                    <a:pt x="111" y="285"/>
                  </a:lnTo>
                  <a:lnTo>
                    <a:pt x="109" y="286"/>
                  </a:lnTo>
                  <a:lnTo>
                    <a:pt x="107" y="288"/>
                  </a:lnTo>
                  <a:lnTo>
                    <a:pt x="105" y="288"/>
                  </a:lnTo>
                  <a:lnTo>
                    <a:pt x="105" y="290"/>
                  </a:lnTo>
                  <a:lnTo>
                    <a:pt x="105" y="294"/>
                  </a:lnTo>
                  <a:lnTo>
                    <a:pt x="103" y="296"/>
                  </a:lnTo>
                  <a:lnTo>
                    <a:pt x="105" y="298"/>
                  </a:lnTo>
                  <a:lnTo>
                    <a:pt x="105" y="299"/>
                  </a:lnTo>
                  <a:lnTo>
                    <a:pt x="105" y="301"/>
                  </a:lnTo>
                  <a:lnTo>
                    <a:pt x="107" y="303"/>
                  </a:lnTo>
                  <a:lnTo>
                    <a:pt x="109" y="305"/>
                  </a:lnTo>
                  <a:lnTo>
                    <a:pt x="111" y="305"/>
                  </a:lnTo>
                  <a:lnTo>
                    <a:pt x="112" y="307"/>
                  </a:lnTo>
                  <a:lnTo>
                    <a:pt x="114" y="307"/>
                  </a:lnTo>
                  <a:lnTo>
                    <a:pt x="118" y="307"/>
                  </a:lnTo>
                  <a:lnTo>
                    <a:pt x="120" y="305"/>
                  </a:lnTo>
                  <a:lnTo>
                    <a:pt x="122" y="305"/>
                  </a:lnTo>
                  <a:lnTo>
                    <a:pt x="124" y="303"/>
                  </a:lnTo>
                  <a:lnTo>
                    <a:pt x="124" y="301"/>
                  </a:lnTo>
                  <a:lnTo>
                    <a:pt x="125" y="299"/>
                  </a:lnTo>
                  <a:lnTo>
                    <a:pt x="125" y="298"/>
                  </a:lnTo>
                  <a:lnTo>
                    <a:pt x="125" y="296"/>
                  </a:lnTo>
                  <a:lnTo>
                    <a:pt x="125" y="294"/>
                  </a:lnTo>
                  <a:lnTo>
                    <a:pt x="125" y="290"/>
                  </a:lnTo>
                  <a:lnTo>
                    <a:pt x="124" y="288"/>
                  </a:lnTo>
                  <a:lnTo>
                    <a:pt x="122" y="286"/>
                  </a:lnTo>
                  <a:lnTo>
                    <a:pt x="120" y="285"/>
                  </a:lnTo>
                  <a:lnTo>
                    <a:pt x="118" y="285"/>
                  </a:lnTo>
                  <a:lnTo>
                    <a:pt x="114" y="285"/>
                  </a:lnTo>
                  <a:close/>
                  <a:moveTo>
                    <a:pt x="127" y="357"/>
                  </a:moveTo>
                  <a:lnTo>
                    <a:pt x="124" y="357"/>
                  </a:lnTo>
                  <a:lnTo>
                    <a:pt x="122" y="359"/>
                  </a:lnTo>
                  <a:lnTo>
                    <a:pt x="120" y="360"/>
                  </a:lnTo>
                  <a:lnTo>
                    <a:pt x="118" y="364"/>
                  </a:lnTo>
                  <a:lnTo>
                    <a:pt x="118" y="368"/>
                  </a:lnTo>
                  <a:lnTo>
                    <a:pt x="118" y="373"/>
                  </a:lnTo>
                  <a:lnTo>
                    <a:pt x="120" y="377"/>
                  </a:lnTo>
                  <a:lnTo>
                    <a:pt x="122" y="377"/>
                  </a:lnTo>
                  <a:lnTo>
                    <a:pt x="124" y="379"/>
                  </a:lnTo>
                  <a:lnTo>
                    <a:pt x="125" y="381"/>
                  </a:lnTo>
                  <a:lnTo>
                    <a:pt x="122" y="383"/>
                  </a:lnTo>
                  <a:lnTo>
                    <a:pt x="120" y="388"/>
                  </a:lnTo>
                  <a:lnTo>
                    <a:pt x="120" y="394"/>
                  </a:lnTo>
                  <a:lnTo>
                    <a:pt x="120" y="397"/>
                  </a:lnTo>
                  <a:lnTo>
                    <a:pt x="120" y="401"/>
                  </a:lnTo>
                  <a:lnTo>
                    <a:pt x="120" y="412"/>
                  </a:lnTo>
                  <a:lnTo>
                    <a:pt x="120" y="423"/>
                  </a:lnTo>
                  <a:lnTo>
                    <a:pt x="118" y="434"/>
                  </a:lnTo>
                  <a:lnTo>
                    <a:pt x="129" y="432"/>
                  </a:lnTo>
                  <a:lnTo>
                    <a:pt x="133" y="431"/>
                  </a:lnTo>
                  <a:lnTo>
                    <a:pt x="135" y="431"/>
                  </a:lnTo>
                  <a:lnTo>
                    <a:pt x="138" y="429"/>
                  </a:lnTo>
                  <a:lnTo>
                    <a:pt x="140" y="427"/>
                  </a:lnTo>
                  <a:lnTo>
                    <a:pt x="140" y="423"/>
                  </a:lnTo>
                  <a:lnTo>
                    <a:pt x="142" y="421"/>
                  </a:lnTo>
                  <a:lnTo>
                    <a:pt x="144" y="416"/>
                  </a:lnTo>
                  <a:lnTo>
                    <a:pt x="144" y="410"/>
                  </a:lnTo>
                  <a:lnTo>
                    <a:pt x="144" y="405"/>
                  </a:lnTo>
                  <a:lnTo>
                    <a:pt x="144" y="399"/>
                  </a:lnTo>
                  <a:lnTo>
                    <a:pt x="144" y="392"/>
                  </a:lnTo>
                  <a:lnTo>
                    <a:pt x="142" y="383"/>
                  </a:lnTo>
                  <a:lnTo>
                    <a:pt x="135" y="381"/>
                  </a:lnTo>
                  <a:lnTo>
                    <a:pt x="131" y="379"/>
                  </a:lnTo>
                  <a:lnTo>
                    <a:pt x="133" y="377"/>
                  </a:lnTo>
                  <a:lnTo>
                    <a:pt x="135" y="377"/>
                  </a:lnTo>
                  <a:lnTo>
                    <a:pt x="137" y="373"/>
                  </a:lnTo>
                  <a:lnTo>
                    <a:pt x="137" y="371"/>
                  </a:lnTo>
                  <a:lnTo>
                    <a:pt x="137" y="368"/>
                  </a:lnTo>
                  <a:lnTo>
                    <a:pt x="137" y="364"/>
                  </a:lnTo>
                  <a:lnTo>
                    <a:pt x="135" y="360"/>
                  </a:lnTo>
                  <a:lnTo>
                    <a:pt x="133" y="359"/>
                  </a:lnTo>
                  <a:lnTo>
                    <a:pt x="131" y="357"/>
                  </a:lnTo>
                  <a:lnTo>
                    <a:pt x="127" y="357"/>
                  </a:lnTo>
                  <a:close/>
                  <a:moveTo>
                    <a:pt x="92" y="458"/>
                  </a:moveTo>
                  <a:lnTo>
                    <a:pt x="90" y="458"/>
                  </a:lnTo>
                  <a:lnTo>
                    <a:pt x="88" y="460"/>
                  </a:lnTo>
                  <a:lnTo>
                    <a:pt x="87" y="460"/>
                  </a:lnTo>
                  <a:lnTo>
                    <a:pt x="85" y="464"/>
                  </a:lnTo>
                  <a:lnTo>
                    <a:pt x="83" y="468"/>
                  </a:lnTo>
                  <a:lnTo>
                    <a:pt x="85" y="471"/>
                  </a:lnTo>
                  <a:lnTo>
                    <a:pt x="85" y="473"/>
                  </a:lnTo>
                  <a:lnTo>
                    <a:pt x="87" y="475"/>
                  </a:lnTo>
                  <a:lnTo>
                    <a:pt x="88" y="477"/>
                  </a:lnTo>
                  <a:lnTo>
                    <a:pt x="90" y="479"/>
                  </a:lnTo>
                  <a:lnTo>
                    <a:pt x="92" y="479"/>
                  </a:lnTo>
                  <a:lnTo>
                    <a:pt x="96" y="479"/>
                  </a:lnTo>
                  <a:lnTo>
                    <a:pt x="98" y="477"/>
                  </a:lnTo>
                  <a:lnTo>
                    <a:pt x="100" y="475"/>
                  </a:lnTo>
                  <a:lnTo>
                    <a:pt x="101" y="479"/>
                  </a:lnTo>
                  <a:lnTo>
                    <a:pt x="103" y="482"/>
                  </a:lnTo>
                  <a:lnTo>
                    <a:pt x="105" y="484"/>
                  </a:lnTo>
                  <a:lnTo>
                    <a:pt x="109" y="484"/>
                  </a:lnTo>
                  <a:lnTo>
                    <a:pt x="111" y="484"/>
                  </a:lnTo>
                  <a:lnTo>
                    <a:pt x="114" y="482"/>
                  </a:lnTo>
                  <a:lnTo>
                    <a:pt x="116" y="481"/>
                  </a:lnTo>
                  <a:lnTo>
                    <a:pt x="116" y="479"/>
                  </a:lnTo>
                  <a:lnTo>
                    <a:pt x="118" y="477"/>
                  </a:lnTo>
                  <a:lnTo>
                    <a:pt x="118" y="473"/>
                  </a:lnTo>
                  <a:lnTo>
                    <a:pt x="118" y="469"/>
                  </a:lnTo>
                  <a:lnTo>
                    <a:pt x="116" y="466"/>
                  </a:lnTo>
                  <a:lnTo>
                    <a:pt x="114" y="464"/>
                  </a:lnTo>
                  <a:lnTo>
                    <a:pt x="111" y="464"/>
                  </a:lnTo>
                  <a:lnTo>
                    <a:pt x="109" y="462"/>
                  </a:lnTo>
                  <a:lnTo>
                    <a:pt x="105" y="464"/>
                  </a:lnTo>
                  <a:lnTo>
                    <a:pt x="103" y="464"/>
                  </a:lnTo>
                  <a:lnTo>
                    <a:pt x="101" y="466"/>
                  </a:lnTo>
                  <a:lnTo>
                    <a:pt x="100" y="462"/>
                  </a:lnTo>
                  <a:lnTo>
                    <a:pt x="98" y="460"/>
                  </a:lnTo>
                  <a:lnTo>
                    <a:pt x="96" y="458"/>
                  </a:lnTo>
                  <a:lnTo>
                    <a:pt x="92" y="458"/>
                  </a:lnTo>
                  <a:close/>
                  <a:moveTo>
                    <a:pt x="76" y="778"/>
                  </a:moveTo>
                  <a:lnTo>
                    <a:pt x="66" y="798"/>
                  </a:lnTo>
                  <a:lnTo>
                    <a:pt x="57" y="819"/>
                  </a:lnTo>
                  <a:lnTo>
                    <a:pt x="70" y="821"/>
                  </a:lnTo>
                  <a:lnTo>
                    <a:pt x="72" y="821"/>
                  </a:lnTo>
                  <a:lnTo>
                    <a:pt x="76" y="819"/>
                  </a:lnTo>
                  <a:lnTo>
                    <a:pt x="77" y="819"/>
                  </a:lnTo>
                  <a:lnTo>
                    <a:pt x="81" y="815"/>
                  </a:lnTo>
                  <a:lnTo>
                    <a:pt x="83" y="809"/>
                  </a:lnTo>
                  <a:lnTo>
                    <a:pt x="85" y="806"/>
                  </a:lnTo>
                  <a:lnTo>
                    <a:pt x="85" y="800"/>
                  </a:lnTo>
                  <a:lnTo>
                    <a:pt x="83" y="798"/>
                  </a:lnTo>
                  <a:lnTo>
                    <a:pt x="83" y="795"/>
                  </a:lnTo>
                  <a:lnTo>
                    <a:pt x="76" y="778"/>
                  </a:lnTo>
                  <a:close/>
                  <a:moveTo>
                    <a:pt x="44" y="772"/>
                  </a:moveTo>
                  <a:lnTo>
                    <a:pt x="37" y="772"/>
                  </a:lnTo>
                  <a:lnTo>
                    <a:pt x="29" y="772"/>
                  </a:lnTo>
                  <a:lnTo>
                    <a:pt x="22" y="772"/>
                  </a:lnTo>
                  <a:lnTo>
                    <a:pt x="15" y="774"/>
                  </a:lnTo>
                  <a:lnTo>
                    <a:pt x="9" y="776"/>
                  </a:lnTo>
                  <a:lnTo>
                    <a:pt x="5" y="778"/>
                  </a:lnTo>
                  <a:lnTo>
                    <a:pt x="2" y="782"/>
                  </a:lnTo>
                  <a:lnTo>
                    <a:pt x="0" y="787"/>
                  </a:lnTo>
                  <a:lnTo>
                    <a:pt x="2" y="793"/>
                  </a:lnTo>
                  <a:lnTo>
                    <a:pt x="4" y="798"/>
                  </a:lnTo>
                  <a:lnTo>
                    <a:pt x="5" y="804"/>
                  </a:lnTo>
                  <a:lnTo>
                    <a:pt x="7" y="808"/>
                  </a:lnTo>
                  <a:lnTo>
                    <a:pt x="7" y="811"/>
                  </a:lnTo>
                  <a:lnTo>
                    <a:pt x="7" y="817"/>
                  </a:lnTo>
                  <a:lnTo>
                    <a:pt x="4" y="833"/>
                  </a:lnTo>
                  <a:lnTo>
                    <a:pt x="2" y="848"/>
                  </a:lnTo>
                  <a:lnTo>
                    <a:pt x="2" y="854"/>
                  </a:lnTo>
                  <a:lnTo>
                    <a:pt x="2" y="857"/>
                  </a:lnTo>
                  <a:lnTo>
                    <a:pt x="4" y="861"/>
                  </a:lnTo>
                  <a:lnTo>
                    <a:pt x="7" y="865"/>
                  </a:lnTo>
                  <a:lnTo>
                    <a:pt x="13" y="865"/>
                  </a:lnTo>
                  <a:lnTo>
                    <a:pt x="20" y="865"/>
                  </a:lnTo>
                  <a:lnTo>
                    <a:pt x="24" y="859"/>
                  </a:lnTo>
                  <a:lnTo>
                    <a:pt x="28" y="846"/>
                  </a:lnTo>
                  <a:lnTo>
                    <a:pt x="29" y="833"/>
                  </a:lnTo>
                  <a:lnTo>
                    <a:pt x="31" y="822"/>
                  </a:lnTo>
                  <a:lnTo>
                    <a:pt x="33" y="811"/>
                  </a:lnTo>
                  <a:lnTo>
                    <a:pt x="33" y="808"/>
                  </a:lnTo>
                  <a:lnTo>
                    <a:pt x="33" y="806"/>
                  </a:lnTo>
                  <a:lnTo>
                    <a:pt x="37" y="798"/>
                  </a:lnTo>
                  <a:lnTo>
                    <a:pt x="40" y="793"/>
                  </a:lnTo>
                  <a:lnTo>
                    <a:pt x="42" y="787"/>
                  </a:lnTo>
                  <a:lnTo>
                    <a:pt x="42" y="784"/>
                  </a:lnTo>
                  <a:lnTo>
                    <a:pt x="44" y="772"/>
                  </a:lnTo>
                  <a:close/>
                  <a:moveTo>
                    <a:pt x="57" y="641"/>
                  </a:moveTo>
                  <a:lnTo>
                    <a:pt x="53" y="643"/>
                  </a:lnTo>
                  <a:lnTo>
                    <a:pt x="48" y="645"/>
                  </a:lnTo>
                  <a:lnTo>
                    <a:pt x="42" y="649"/>
                  </a:lnTo>
                  <a:lnTo>
                    <a:pt x="37" y="652"/>
                  </a:lnTo>
                  <a:lnTo>
                    <a:pt x="29" y="658"/>
                  </a:lnTo>
                  <a:lnTo>
                    <a:pt x="35" y="665"/>
                  </a:lnTo>
                  <a:lnTo>
                    <a:pt x="40" y="673"/>
                  </a:lnTo>
                  <a:lnTo>
                    <a:pt x="40" y="675"/>
                  </a:lnTo>
                  <a:lnTo>
                    <a:pt x="39" y="678"/>
                  </a:lnTo>
                  <a:lnTo>
                    <a:pt x="35" y="682"/>
                  </a:lnTo>
                  <a:lnTo>
                    <a:pt x="33" y="686"/>
                  </a:lnTo>
                  <a:lnTo>
                    <a:pt x="33" y="687"/>
                  </a:lnTo>
                  <a:lnTo>
                    <a:pt x="31" y="691"/>
                  </a:lnTo>
                  <a:lnTo>
                    <a:pt x="31" y="693"/>
                  </a:lnTo>
                  <a:lnTo>
                    <a:pt x="31" y="699"/>
                  </a:lnTo>
                  <a:lnTo>
                    <a:pt x="33" y="708"/>
                  </a:lnTo>
                  <a:lnTo>
                    <a:pt x="37" y="715"/>
                  </a:lnTo>
                  <a:lnTo>
                    <a:pt x="35" y="734"/>
                  </a:lnTo>
                  <a:lnTo>
                    <a:pt x="39" y="752"/>
                  </a:lnTo>
                  <a:lnTo>
                    <a:pt x="40" y="756"/>
                  </a:lnTo>
                  <a:lnTo>
                    <a:pt x="42" y="760"/>
                  </a:lnTo>
                  <a:lnTo>
                    <a:pt x="48" y="769"/>
                  </a:lnTo>
                  <a:lnTo>
                    <a:pt x="57" y="761"/>
                  </a:lnTo>
                  <a:lnTo>
                    <a:pt x="59" y="758"/>
                  </a:lnTo>
                  <a:lnTo>
                    <a:pt x="61" y="754"/>
                  </a:lnTo>
                  <a:lnTo>
                    <a:pt x="63" y="750"/>
                  </a:lnTo>
                  <a:lnTo>
                    <a:pt x="64" y="748"/>
                  </a:lnTo>
                  <a:lnTo>
                    <a:pt x="66" y="743"/>
                  </a:lnTo>
                  <a:lnTo>
                    <a:pt x="66" y="737"/>
                  </a:lnTo>
                  <a:lnTo>
                    <a:pt x="66" y="732"/>
                  </a:lnTo>
                  <a:lnTo>
                    <a:pt x="66" y="724"/>
                  </a:lnTo>
                  <a:lnTo>
                    <a:pt x="64" y="711"/>
                  </a:lnTo>
                  <a:lnTo>
                    <a:pt x="63" y="699"/>
                  </a:lnTo>
                  <a:lnTo>
                    <a:pt x="68" y="691"/>
                  </a:lnTo>
                  <a:lnTo>
                    <a:pt x="72" y="684"/>
                  </a:lnTo>
                  <a:lnTo>
                    <a:pt x="74" y="678"/>
                  </a:lnTo>
                  <a:lnTo>
                    <a:pt x="76" y="673"/>
                  </a:lnTo>
                  <a:lnTo>
                    <a:pt x="77" y="663"/>
                  </a:lnTo>
                  <a:lnTo>
                    <a:pt x="79" y="654"/>
                  </a:lnTo>
                  <a:lnTo>
                    <a:pt x="85" y="647"/>
                  </a:lnTo>
                  <a:lnTo>
                    <a:pt x="90" y="638"/>
                  </a:lnTo>
                  <a:lnTo>
                    <a:pt x="92" y="634"/>
                  </a:lnTo>
                  <a:lnTo>
                    <a:pt x="92" y="630"/>
                  </a:lnTo>
                  <a:lnTo>
                    <a:pt x="92" y="625"/>
                  </a:lnTo>
                  <a:lnTo>
                    <a:pt x="92" y="621"/>
                  </a:lnTo>
                  <a:lnTo>
                    <a:pt x="90" y="617"/>
                  </a:lnTo>
                  <a:lnTo>
                    <a:pt x="88" y="614"/>
                  </a:lnTo>
                  <a:lnTo>
                    <a:pt x="85" y="610"/>
                  </a:lnTo>
                  <a:lnTo>
                    <a:pt x="81" y="610"/>
                  </a:lnTo>
                  <a:lnTo>
                    <a:pt x="77" y="610"/>
                  </a:lnTo>
                  <a:lnTo>
                    <a:pt x="74" y="610"/>
                  </a:lnTo>
                  <a:lnTo>
                    <a:pt x="70" y="612"/>
                  </a:lnTo>
                  <a:lnTo>
                    <a:pt x="68" y="614"/>
                  </a:lnTo>
                  <a:lnTo>
                    <a:pt x="66" y="615"/>
                  </a:lnTo>
                  <a:lnTo>
                    <a:pt x="63" y="621"/>
                  </a:lnTo>
                  <a:lnTo>
                    <a:pt x="59" y="641"/>
                  </a:lnTo>
                  <a:lnTo>
                    <a:pt x="57" y="641"/>
                  </a:lnTo>
                  <a:close/>
                  <a:moveTo>
                    <a:pt x="111" y="503"/>
                  </a:moveTo>
                  <a:lnTo>
                    <a:pt x="103" y="508"/>
                  </a:lnTo>
                  <a:lnTo>
                    <a:pt x="101" y="510"/>
                  </a:lnTo>
                  <a:lnTo>
                    <a:pt x="100" y="512"/>
                  </a:lnTo>
                  <a:lnTo>
                    <a:pt x="98" y="519"/>
                  </a:lnTo>
                  <a:lnTo>
                    <a:pt x="96" y="529"/>
                  </a:lnTo>
                  <a:lnTo>
                    <a:pt x="92" y="545"/>
                  </a:lnTo>
                  <a:lnTo>
                    <a:pt x="90" y="562"/>
                  </a:lnTo>
                  <a:lnTo>
                    <a:pt x="88" y="571"/>
                  </a:lnTo>
                  <a:lnTo>
                    <a:pt x="87" y="578"/>
                  </a:lnTo>
                  <a:lnTo>
                    <a:pt x="88" y="582"/>
                  </a:lnTo>
                  <a:lnTo>
                    <a:pt x="88" y="584"/>
                  </a:lnTo>
                  <a:lnTo>
                    <a:pt x="90" y="588"/>
                  </a:lnTo>
                  <a:lnTo>
                    <a:pt x="92" y="590"/>
                  </a:lnTo>
                  <a:lnTo>
                    <a:pt x="100" y="593"/>
                  </a:lnTo>
                  <a:lnTo>
                    <a:pt x="105" y="588"/>
                  </a:lnTo>
                  <a:lnTo>
                    <a:pt x="107" y="584"/>
                  </a:lnTo>
                  <a:lnTo>
                    <a:pt x="109" y="580"/>
                  </a:lnTo>
                  <a:lnTo>
                    <a:pt x="114" y="571"/>
                  </a:lnTo>
                  <a:lnTo>
                    <a:pt x="116" y="560"/>
                  </a:lnTo>
                  <a:lnTo>
                    <a:pt x="118" y="549"/>
                  </a:lnTo>
                  <a:lnTo>
                    <a:pt x="120" y="538"/>
                  </a:lnTo>
                  <a:lnTo>
                    <a:pt x="120" y="530"/>
                  </a:lnTo>
                  <a:lnTo>
                    <a:pt x="120" y="523"/>
                  </a:lnTo>
                  <a:lnTo>
                    <a:pt x="120" y="517"/>
                  </a:lnTo>
                  <a:lnTo>
                    <a:pt x="118" y="514"/>
                  </a:lnTo>
                  <a:lnTo>
                    <a:pt x="118" y="512"/>
                  </a:lnTo>
                  <a:lnTo>
                    <a:pt x="116" y="508"/>
                  </a:lnTo>
                  <a:lnTo>
                    <a:pt x="111" y="50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39" name="Freeform 15"/>
            <p:cNvSpPr>
              <a:spLocks/>
            </p:cNvSpPr>
            <p:nvPr/>
          </p:nvSpPr>
          <p:spPr bwMode="auto">
            <a:xfrm>
              <a:off x="6209989" y="2513890"/>
              <a:ext cx="282289" cy="362848"/>
            </a:xfrm>
            <a:custGeom>
              <a:avLst/>
              <a:gdLst>
                <a:gd name="T0" fmla="*/ 463 w 541"/>
                <a:gd name="T1" fmla="*/ 636 h 713"/>
                <a:gd name="T2" fmla="*/ 476 w 541"/>
                <a:gd name="T3" fmla="*/ 682 h 713"/>
                <a:gd name="T4" fmla="*/ 465 w 541"/>
                <a:gd name="T5" fmla="*/ 706 h 713"/>
                <a:gd name="T6" fmla="*/ 425 w 541"/>
                <a:gd name="T7" fmla="*/ 651 h 713"/>
                <a:gd name="T8" fmla="*/ 399 w 541"/>
                <a:gd name="T9" fmla="*/ 597 h 713"/>
                <a:gd name="T10" fmla="*/ 365 w 541"/>
                <a:gd name="T11" fmla="*/ 536 h 713"/>
                <a:gd name="T12" fmla="*/ 321 w 541"/>
                <a:gd name="T13" fmla="*/ 499 h 713"/>
                <a:gd name="T14" fmla="*/ 286 w 541"/>
                <a:gd name="T15" fmla="*/ 455 h 713"/>
                <a:gd name="T16" fmla="*/ 251 w 541"/>
                <a:gd name="T17" fmla="*/ 392 h 713"/>
                <a:gd name="T18" fmla="*/ 207 w 541"/>
                <a:gd name="T19" fmla="*/ 331 h 713"/>
                <a:gd name="T20" fmla="*/ 151 w 541"/>
                <a:gd name="T21" fmla="*/ 264 h 713"/>
                <a:gd name="T22" fmla="*/ 114 w 541"/>
                <a:gd name="T23" fmla="*/ 242 h 713"/>
                <a:gd name="T24" fmla="*/ 83 w 541"/>
                <a:gd name="T25" fmla="*/ 196 h 713"/>
                <a:gd name="T26" fmla="*/ 68 w 541"/>
                <a:gd name="T27" fmla="*/ 159 h 713"/>
                <a:gd name="T28" fmla="*/ 31 w 541"/>
                <a:gd name="T29" fmla="*/ 111 h 713"/>
                <a:gd name="T30" fmla="*/ 42 w 541"/>
                <a:gd name="T31" fmla="*/ 94 h 713"/>
                <a:gd name="T32" fmla="*/ 53 w 541"/>
                <a:gd name="T33" fmla="*/ 74 h 713"/>
                <a:gd name="T34" fmla="*/ 46 w 541"/>
                <a:gd name="T35" fmla="*/ 52 h 713"/>
                <a:gd name="T36" fmla="*/ 29 w 541"/>
                <a:gd name="T37" fmla="*/ 37 h 713"/>
                <a:gd name="T38" fmla="*/ 1 w 541"/>
                <a:gd name="T39" fmla="*/ 21 h 713"/>
                <a:gd name="T40" fmla="*/ 7 w 541"/>
                <a:gd name="T41" fmla="*/ 15 h 713"/>
                <a:gd name="T42" fmla="*/ 20 w 541"/>
                <a:gd name="T43" fmla="*/ 4 h 713"/>
                <a:gd name="T44" fmla="*/ 40 w 541"/>
                <a:gd name="T45" fmla="*/ 6 h 713"/>
                <a:gd name="T46" fmla="*/ 68 w 541"/>
                <a:gd name="T47" fmla="*/ 48 h 713"/>
                <a:gd name="T48" fmla="*/ 107 w 541"/>
                <a:gd name="T49" fmla="*/ 78 h 713"/>
                <a:gd name="T50" fmla="*/ 110 w 541"/>
                <a:gd name="T51" fmla="*/ 93 h 713"/>
                <a:gd name="T52" fmla="*/ 155 w 541"/>
                <a:gd name="T53" fmla="*/ 111 h 713"/>
                <a:gd name="T54" fmla="*/ 157 w 541"/>
                <a:gd name="T55" fmla="*/ 139 h 713"/>
                <a:gd name="T56" fmla="*/ 153 w 541"/>
                <a:gd name="T57" fmla="*/ 152 h 713"/>
                <a:gd name="T58" fmla="*/ 170 w 541"/>
                <a:gd name="T59" fmla="*/ 172 h 713"/>
                <a:gd name="T60" fmla="*/ 223 w 541"/>
                <a:gd name="T61" fmla="*/ 205 h 713"/>
                <a:gd name="T62" fmla="*/ 242 w 541"/>
                <a:gd name="T63" fmla="*/ 226 h 713"/>
                <a:gd name="T64" fmla="*/ 332 w 541"/>
                <a:gd name="T65" fmla="*/ 296 h 713"/>
                <a:gd name="T66" fmla="*/ 391 w 541"/>
                <a:gd name="T67" fmla="*/ 346 h 713"/>
                <a:gd name="T68" fmla="*/ 437 w 541"/>
                <a:gd name="T69" fmla="*/ 362 h 713"/>
                <a:gd name="T70" fmla="*/ 450 w 541"/>
                <a:gd name="T71" fmla="*/ 377 h 713"/>
                <a:gd name="T72" fmla="*/ 380 w 541"/>
                <a:gd name="T73" fmla="*/ 373 h 713"/>
                <a:gd name="T74" fmla="*/ 345 w 541"/>
                <a:gd name="T75" fmla="*/ 397 h 713"/>
                <a:gd name="T76" fmla="*/ 354 w 541"/>
                <a:gd name="T77" fmla="*/ 429 h 713"/>
                <a:gd name="T78" fmla="*/ 365 w 541"/>
                <a:gd name="T79" fmla="*/ 471 h 713"/>
                <a:gd name="T80" fmla="*/ 386 w 541"/>
                <a:gd name="T81" fmla="*/ 508 h 713"/>
                <a:gd name="T82" fmla="*/ 419 w 541"/>
                <a:gd name="T83" fmla="*/ 556 h 713"/>
                <a:gd name="T84" fmla="*/ 482 w 541"/>
                <a:gd name="T85" fmla="*/ 590 h 713"/>
                <a:gd name="T86" fmla="*/ 509 w 541"/>
                <a:gd name="T87" fmla="*/ 579 h 713"/>
                <a:gd name="T88" fmla="*/ 535 w 541"/>
                <a:gd name="T89" fmla="*/ 610 h 713"/>
                <a:gd name="T90" fmla="*/ 535 w 541"/>
                <a:gd name="T91" fmla="*/ 641 h 713"/>
                <a:gd name="T92" fmla="*/ 515 w 541"/>
                <a:gd name="T93" fmla="*/ 619 h 713"/>
                <a:gd name="T94" fmla="*/ 482 w 541"/>
                <a:gd name="T95" fmla="*/ 628 h 71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41"/>
                <a:gd name="T145" fmla="*/ 0 h 713"/>
                <a:gd name="T146" fmla="*/ 541 w 541"/>
                <a:gd name="T147" fmla="*/ 713 h 71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41" h="713">
                  <a:moveTo>
                    <a:pt x="469" y="630"/>
                  </a:moveTo>
                  <a:lnTo>
                    <a:pt x="467" y="632"/>
                  </a:lnTo>
                  <a:lnTo>
                    <a:pt x="465" y="634"/>
                  </a:lnTo>
                  <a:lnTo>
                    <a:pt x="463" y="636"/>
                  </a:lnTo>
                  <a:lnTo>
                    <a:pt x="463" y="640"/>
                  </a:lnTo>
                  <a:lnTo>
                    <a:pt x="465" y="647"/>
                  </a:lnTo>
                  <a:lnTo>
                    <a:pt x="467" y="656"/>
                  </a:lnTo>
                  <a:lnTo>
                    <a:pt x="476" y="682"/>
                  </a:lnTo>
                  <a:lnTo>
                    <a:pt x="485" y="713"/>
                  </a:lnTo>
                  <a:lnTo>
                    <a:pt x="478" y="713"/>
                  </a:lnTo>
                  <a:lnTo>
                    <a:pt x="473" y="710"/>
                  </a:lnTo>
                  <a:lnTo>
                    <a:pt x="465" y="706"/>
                  </a:lnTo>
                  <a:lnTo>
                    <a:pt x="458" y="699"/>
                  </a:lnTo>
                  <a:lnTo>
                    <a:pt x="445" y="686"/>
                  </a:lnTo>
                  <a:lnTo>
                    <a:pt x="428" y="673"/>
                  </a:lnTo>
                  <a:lnTo>
                    <a:pt x="425" y="651"/>
                  </a:lnTo>
                  <a:lnTo>
                    <a:pt x="419" y="634"/>
                  </a:lnTo>
                  <a:lnTo>
                    <a:pt x="415" y="621"/>
                  </a:lnTo>
                  <a:lnTo>
                    <a:pt x="412" y="614"/>
                  </a:lnTo>
                  <a:lnTo>
                    <a:pt x="399" y="597"/>
                  </a:lnTo>
                  <a:lnTo>
                    <a:pt x="375" y="571"/>
                  </a:lnTo>
                  <a:lnTo>
                    <a:pt x="371" y="560"/>
                  </a:lnTo>
                  <a:lnTo>
                    <a:pt x="369" y="547"/>
                  </a:lnTo>
                  <a:lnTo>
                    <a:pt x="365" y="536"/>
                  </a:lnTo>
                  <a:lnTo>
                    <a:pt x="358" y="527"/>
                  </a:lnTo>
                  <a:lnTo>
                    <a:pt x="345" y="514"/>
                  </a:lnTo>
                  <a:lnTo>
                    <a:pt x="330" y="505"/>
                  </a:lnTo>
                  <a:lnTo>
                    <a:pt x="321" y="499"/>
                  </a:lnTo>
                  <a:lnTo>
                    <a:pt x="314" y="494"/>
                  </a:lnTo>
                  <a:lnTo>
                    <a:pt x="306" y="486"/>
                  </a:lnTo>
                  <a:lnTo>
                    <a:pt x="299" y="479"/>
                  </a:lnTo>
                  <a:lnTo>
                    <a:pt x="286" y="455"/>
                  </a:lnTo>
                  <a:lnTo>
                    <a:pt x="277" y="433"/>
                  </a:lnTo>
                  <a:lnTo>
                    <a:pt x="271" y="422"/>
                  </a:lnTo>
                  <a:lnTo>
                    <a:pt x="262" y="407"/>
                  </a:lnTo>
                  <a:lnTo>
                    <a:pt x="251" y="392"/>
                  </a:lnTo>
                  <a:lnTo>
                    <a:pt x="238" y="373"/>
                  </a:lnTo>
                  <a:lnTo>
                    <a:pt x="223" y="359"/>
                  </a:lnTo>
                  <a:lnTo>
                    <a:pt x="214" y="344"/>
                  </a:lnTo>
                  <a:lnTo>
                    <a:pt x="207" y="331"/>
                  </a:lnTo>
                  <a:lnTo>
                    <a:pt x="201" y="320"/>
                  </a:lnTo>
                  <a:lnTo>
                    <a:pt x="192" y="298"/>
                  </a:lnTo>
                  <a:lnTo>
                    <a:pt x="177" y="274"/>
                  </a:lnTo>
                  <a:lnTo>
                    <a:pt x="151" y="264"/>
                  </a:lnTo>
                  <a:lnTo>
                    <a:pt x="125" y="257"/>
                  </a:lnTo>
                  <a:lnTo>
                    <a:pt x="127" y="250"/>
                  </a:lnTo>
                  <a:lnTo>
                    <a:pt x="123" y="244"/>
                  </a:lnTo>
                  <a:lnTo>
                    <a:pt x="114" y="242"/>
                  </a:lnTo>
                  <a:lnTo>
                    <a:pt x="107" y="242"/>
                  </a:lnTo>
                  <a:lnTo>
                    <a:pt x="99" y="224"/>
                  </a:lnTo>
                  <a:lnTo>
                    <a:pt x="90" y="203"/>
                  </a:lnTo>
                  <a:lnTo>
                    <a:pt x="83" y="196"/>
                  </a:lnTo>
                  <a:lnTo>
                    <a:pt x="77" y="189"/>
                  </a:lnTo>
                  <a:lnTo>
                    <a:pt x="74" y="179"/>
                  </a:lnTo>
                  <a:lnTo>
                    <a:pt x="72" y="172"/>
                  </a:lnTo>
                  <a:lnTo>
                    <a:pt x="68" y="159"/>
                  </a:lnTo>
                  <a:lnTo>
                    <a:pt x="68" y="146"/>
                  </a:lnTo>
                  <a:lnTo>
                    <a:pt x="50" y="131"/>
                  </a:lnTo>
                  <a:lnTo>
                    <a:pt x="35" y="118"/>
                  </a:lnTo>
                  <a:lnTo>
                    <a:pt x="31" y="111"/>
                  </a:lnTo>
                  <a:lnTo>
                    <a:pt x="29" y="104"/>
                  </a:lnTo>
                  <a:lnTo>
                    <a:pt x="31" y="98"/>
                  </a:lnTo>
                  <a:lnTo>
                    <a:pt x="37" y="91"/>
                  </a:lnTo>
                  <a:lnTo>
                    <a:pt x="42" y="94"/>
                  </a:lnTo>
                  <a:lnTo>
                    <a:pt x="50" y="100"/>
                  </a:lnTo>
                  <a:lnTo>
                    <a:pt x="55" y="91"/>
                  </a:lnTo>
                  <a:lnTo>
                    <a:pt x="57" y="80"/>
                  </a:lnTo>
                  <a:lnTo>
                    <a:pt x="53" y="74"/>
                  </a:lnTo>
                  <a:lnTo>
                    <a:pt x="50" y="70"/>
                  </a:lnTo>
                  <a:lnTo>
                    <a:pt x="50" y="63"/>
                  </a:lnTo>
                  <a:lnTo>
                    <a:pt x="48" y="57"/>
                  </a:lnTo>
                  <a:lnTo>
                    <a:pt x="46" y="52"/>
                  </a:lnTo>
                  <a:lnTo>
                    <a:pt x="42" y="45"/>
                  </a:lnTo>
                  <a:lnTo>
                    <a:pt x="38" y="41"/>
                  </a:lnTo>
                  <a:lnTo>
                    <a:pt x="35" y="39"/>
                  </a:lnTo>
                  <a:lnTo>
                    <a:pt x="29" y="37"/>
                  </a:lnTo>
                  <a:lnTo>
                    <a:pt x="22" y="35"/>
                  </a:lnTo>
                  <a:lnTo>
                    <a:pt x="13" y="30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7" y="15"/>
                  </a:lnTo>
                  <a:lnTo>
                    <a:pt x="13" y="17"/>
                  </a:lnTo>
                  <a:lnTo>
                    <a:pt x="18" y="11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18" y="0"/>
                  </a:lnTo>
                  <a:lnTo>
                    <a:pt x="25" y="0"/>
                  </a:lnTo>
                  <a:lnTo>
                    <a:pt x="33" y="2"/>
                  </a:lnTo>
                  <a:lnTo>
                    <a:pt x="40" y="6"/>
                  </a:lnTo>
                  <a:lnTo>
                    <a:pt x="48" y="13"/>
                  </a:lnTo>
                  <a:lnTo>
                    <a:pt x="50" y="24"/>
                  </a:lnTo>
                  <a:lnTo>
                    <a:pt x="51" y="35"/>
                  </a:lnTo>
                  <a:lnTo>
                    <a:pt x="68" y="48"/>
                  </a:lnTo>
                  <a:lnTo>
                    <a:pt x="88" y="59"/>
                  </a:lnTo>
                  <a:lnTo>
                    <a:pt x="107" y="69"/>
                  </a:lnTo>
                  <a:lnTo>
                    <a:pt x="116" y="76"/>
                  </a:lnTo>
                  <a:lnTo>
                    <a:pt x="107" y="78"/>
                  </a:lnTo>
                  <a:lnTo>
                    <a:pt x="99" y="80"/>
                  </a:lnTo>
                  <a:lnTo>
                    <a:pt x="99" y="85"/>
                  </a:lnTo>
                  <a:lnTo>
                    <a:pt x="105" y="91"/>
                  </a:lnTo>
                  <a:lnTo>
                    <a:pt x="110" y="93"/>
                  </a:lnTo>
                  <a:lnTo>
                    <a:pt x="116" y="96"/>
                  </a:lnTo>
                  <a:lnTo>
                    <a:pt x="133" y="100"/>
                  </a:lnTo>
                  <a:lnTo>
                    <a:pt x="147" y="102"/>
                  </a:lnTo>
                  <a:lnTo>
                    <a:pt x="155" y="111"/>
                  </a:lnTo>
                  <a:lnTo>
                    <a:pt x="159" y="120"/>
                  </a:lnTo>
                  <a:lnTo>
                    <a:pt x="162" y="130"/>
                  </a:lnTo>
                  <a:lnTo>
                    <a:pt x="164" y="139"/>
                  </a:lnTo>
                  <a:lnTo>
                    <a:pt x="157" y="139"/>
                  </a:lnTo>
                  <a:lnTo>
                    <a:pt x="147" y="137"/>
                  </a:lnTo>
                  <a:lnTo>
                    <a:pt x="147" y="142"/>
                  </a:lnTo>
                  <a:lnTo>
                    <a:pt x="149" y="148"/>
                  </a:lnTo>
                  <a:lnTo>
                    <a:pt x="153" y="152"/>
                  </a:lnTo>
                  <a:lnTo>
                    <a:pt x="157" y="154"/>
                  </a:lnTo>
                  <a:lnTo>
                    <a:pt x="164" y="157"/>
                  </a:lnTo>
                  <a:lnTo>
                    <a:pt x="170" y="161"/>
                  </a:lnTo>
                  <a:lnTo>
                    <a:pt x="170" y="172"/>
                  </a:lnTo>
                  <a:lnTo>
                    <a:pt x="171" y="183"/>
                  </a:lnTo>
                  <a:lnTo>
                    <a:pt x="195" y="191"/>
                  </a:lnTo>
                  <a:lnTo>
                    <a:pt x="216" y="200"/>
                  </a:lnTo>
                  <a:lnTo>
                    <a:pt x="223" y="205"/>
                  </a:lnTo>
                  <a:lnTo>
                    <a:pt x="229" y="213"/>
                  </a:lnTo>
                  <a:lnTo>
                    <a:pt x="232" y="220"/>
                  </a:lnTo>
                  <a:lnTo>
                    <a:pt x="234" y="227"/>
                  </a:lnTo>
                  <a:lnTo>
                    <a:pt x="242" y="226"/>
                  </a:lnTo>
                  <a:lnTo>
                    <a:pt x="249" y="220"/>
                  </a:lnTo>
                  <a:lnTo>
                    <a:pt x="275" y="248"/>
                  </a:lnTo>
                  <a:lnTo>
                    <a:pt x="304" y="272"/>
                  </a:lnTo>
                  <a:lnTo>
                    <a:pt x="332" y="296"/>
                  </a:lnTo>
                  <a:lnTo>
                    <a:pt x="354" y="314"/>
                  </a:lnTo>
                  <a:lnTo>
                    <a:pt x="364" y="325"/>
                  </a:lnTo>
                  <a:lnTo>
                    <a:pt x="371" y="335"/>
                  </a:lnTo>
                  <a:lnTo>
                    <a:pt x="391" y="346"/>
                  </a:lnTo>
                  <a:lnTo>
                    <a:pt x="412" y="357"/>
                  </a:lnTo>
                  <a:lnTo>
                    <a:pt x="423" y="357"/>
                  </a:lnTo>
                  <a:lnTo>
                    <a:pt x="432" y="359"/>
                  </a:lnTo>
                  <a:lnTo>
                    <a:pt x="437" y="362"/>
                  </a:lnTo>
                  <a:lnTo>
                    <a:pt x="445" y="364"/>
                  </a:lnTo>
                  <a:lnTo>
                    <a:pt x="449" y="368"/>
                  </a:lnTo>
                  <a:lnTo>
                    <a:pt x="450" y="372"/>
                  </a:lnTo>
                  <a:lnTo>
                    <a:pt x="450" y="377"/>
                  </a:lnTo>
                  <a:lnTo>
                    <a:pt x="449" y="381"/>
                  </a:lnTo>
                  <a:lnTo>
                    <a:pt x="421" y="375"/>
                  </a:lnTo>
                  <a:lnTo>
                    <a:pt x="393" y="373"/>
                  </a:lnTo>
                  <a:lnTo>
                    <a:pt x="380" y="373"/>
                  </a:lnTo>
                  <a:lnTo>
                    <a:pt x="369" y="377"/>
                  </a:lnTo>
                  <a:lnTo>
                    <a:pt x="358" y="381"/>
                  </a:lnTo>
                  <a:lnTo>
                    <a:pt x="347" y="388"/>
                  </a:lnTo>
                  <a:lnTo>
                    <a:pt x="345" y="397"/>
                  </a:lnTo>
                  <a:lnTo>
                    <a:pt x="345" y="407"/>
                  </a:lnTo>
                  <a:lnTo>
                    <a:pt x="347" y="414"/>
                  </a:lnTo>
                  <a:lnTo>
                    <a:pt x="351" y="420"/>
                  </a:lnTo>
                  <a:lnTo>
                    <a:pt x="354" y="429"/>
                  </a:lnTo>
                  <a:lnTo>
                    <a:pt x="360" y="438"/>
                  </a:lnTo>
                  <a:lnTo>
                    <a:pt x="360" y="449"/>
                  </a:lnTo>
                  <a:lnTo>
                    <a:pt x="362" y="460"/>
                  </a:lnTo>
                  <a:lnTo>
                    <a:pt x="365" y="471"/>
                  </a:lnTo>
                  <a:lnTo>
                    <a:pt x="369" y="482"/>
                  </a:lnTo>
                  <a:lnTo>
                    <a:pt x="375" y="490"/>
                  </a:lnTo>
                  <a:lnTo>
                    <a:pt x="380" y="499"/>
                  </a:lnTo>
                  <a:lnTo>
                    <a:pt x="386" y="508"/>
                  </a:lnTo>
                  <a:lnTo>
                    <a:pt x="389" y="518"/>
                  </a:lnTo>
                  <a:lnTo>
                    <a:pt x="397" y="536"/>
                  </a:lnTo>
                  <a:lnTo>
                    <a:pt x="404" y="549"/>
                  </a:lnTo>
                  <a:lnTo>
                    <a:pt x="419" y="556"/>
                  </a:lnTo>
                  <a:lnTo>
                    <a:pt x="434" y="560"/>
                  </a:lnTo>
                  <a:lnTo>
                    <a:pt x="449" y="566"/>
                  </a:lnTo>
                  <a:lnTo>
                    <a:pt x="463" y="571"/>
                  </a:lnTo>
                  <a:lnTo>
                    <a:pt x="482" y="590"/>
                  </a:lnTo>
                  <a:lnTo>
                    <a:pt x="495" y="599"/>
                  </a:lnTo>
                  <a:lnTo>
                    <a:pt x="498" y="586"/>
                  </a:lnTo>
                  <a:lnTo>
                    <a:pt x="500" y="575"/>
                  </a:lnTo>
                  <a:lnTo>
                    <a:pt x="509" y="579"/>
                  </a:lnTo>
                  <a:lnTo>
                    <a:pt x="517" y="586"/>
                  </a:lnTo>
                  <a:lnTo>
                    <a:pt x="524" y="593"/>
                  </a:lnTo>
                  <a:lnTo>
                    <a:pt x="532" y="601"/>
                  </a:lnTo>
                  <a:lnTo>
                    <a:pt x="535" y="610"/>
                  </a:lnTo>
                  <a:lnTo>
                    <a:pt x="539" y="621"/>
                  </a:lnTo>
                  <a:lnTo>
                    <a:pt x="541" y="632"/>
                  </a:lnTo>
                  <a:lnTo>
                    <a:pt x="541" y="645"/>
                  </a:lnTo>
                  <a:lnTo>
                    <a:pt x="535" y="641"/>
                  </a:lnTo>
                  <a:lnTo>
                    <a:pt x="530" y="632"/>
                  </a:lnTo>
                  <a:lnTo>
                    <a:pt x="526" y="627"/>
                  </a:lnTo>
                  <a:lnTo>
                    <a:pt x="521" y="623"/>
                  </a:lnTo>
                  <a:lnTo>
                    <a:pt x="515" y="619"/>
                  </a:lnTo>
                  <a:lnTo>
                    <a:pt x="508" y="617"/>
                  </a:lnTo>
                  <a:lnTo>
                    <a:pt x="495" y="625"/>
                  </a:lnTo>
                  <a:lnTo>
                    <a:pt x="487" y="628"/>
                  </a:lnTo>
                  <a:lnTo>
                    <a:pt x="482" y="628"/>
                  </a:lnTo>
                  <a:lnTo>
                    <a:pt x="469" y="63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0" name="Freeform 16"/>
            <p:cNvSpPr>
              <a:spLocks noEditPoints="1"/>
            </p:cNvSpPr>
            <p:nvPr/>
          </p:nvSpPr>
          <p:spPr bwMode="auto">
            <a:xfrm>
              <a:off x="6041972" y="1456899"/>
              <a:ext cx="423173" cy="486511"/>
            </a:xfrm>
            <a:custGeom>
              <a:avLst/>
              <a:gdLst>
                <a:gd name="T0" fmla="*/ 139 w 811"/>
                <a:gd name="T1" fmla="*/ 124 h 956"/>
                <a:gd name="T2" fmla="*/ 152 w 811"/>
                <a:gd name="T3" fmla="*/ 209 h 956"/>
                <a:gd name="T4" fmla="*/ 115 w 811"/>
                <a:gd name="T5" fmla="*/ 187 h 956"/>
                <a:gd name="T6" fmla="*/ 769 w 811"/>
                <a:gd name="T7" fmla="*/ 641 h 956"/>
                <a:gd name="T8" fmla="*/ 754 w 811"/>
                <a:gd name="T9" fmla="*/ 568 h 956"/>
                <a:gd name="T10" fmla="*/ 739 w 811"/>
                <a:gd name="T11" fmla="*/ 536 h 956"/>
                <a:gd name="T12" fmla="*/ 774 w 811"/>
                <a:gd name="T13" fmla="*/ 523 h 956"/>
                <a:gd name="T14" fmla="*/ 795 w 811"/>
                <a:gd name="T15" fmla="*/ 481 h 956"/>
                <a:gd name="T16" fmla="*/ 748 w 811"/>
                <a:gd name="T17" fmla="*/ 451 h 956"/>
                <a:gd name="T18" fmla="*/ 662 w 811"/>
                <a:gd name="T19" fmla="*/ 457 h 956"/>
                <a:gd name="T20" fmla="*/ 636 w 811"/>
                <a:gd name="T21" fmla="*/ 459 h 956"/>
                <a:gd name="T22" fmla="*/ 604 w 811"/>
                <a:gd name="T23" fmla="*/ 468 h 956"/>
                <a:gd name="T24" fmla="*/ 580 w 811"/>
                <a:gd name="T25" fmla="*/ 473 h 956"/>
                <a:gd name="T26" fmla="*/ 601 w 811"/>
                <a:gd name="T27" fmla="*/ 459 h 956"/>
                <a:gd name="T28" fmla="*/ 589 w 811"/>
                <a:gd name="T29" fmla="*/ 338 h 956"/>
                <a:gd name="T30" fmla="*/ 554 w 811"/>
                <a:gd name="T31" fmla="*/ 338 h 956"/>
                <a:gd name="T32" fmla="*/ 517 w 811"/>
                <a:gd name="T33" fmla="*/ 309 h 956"/>
                <a:gd name="T34" fmla="*/ 536 w 811"/>
                <a:gd name="T35" fmla="*/ 281 h 956"/>
                <a:gd name="T36" fmla="*/ 602 w 811"/>
                <a:gd name="T37" fmla="*/ 298 h 956"/>
                <a:gd name="T38" fmla="*/ 625 w 811"/>
                <a:gd name="T39" fmla="*/ 226 h 956"/>
                <a:gd name="T40" fmla="*/ 674 w 811"/>
                <a:gd name="T41" fmla="*/ 233 h 956"/>
                <a:gd name="T42" fmla="*/ 737 w 811"/>
                <a:gd name="T43" fmla="*/ 185 h 956"/>
                <a:gd name="T44" fmla="*/ 752 w 811"/>
                <a:gd name="T45" fmla="*/ 131 h 956"/>
                <a:gd name="T46" fmla="*/ 710 w 811"/>
                <a:gd name="T47" fmla="*/ 135 h 956"/>
                <a:gd name="T48" fmla="*/ 689 w 811"/>
                <a:gd name="T49" fmla="*/ 106 h 956"/>
                <a:gd name="T50" fmla="*/ 643 w 811"/>
                <a:gd name="T51" fmla="*/ 102 h 956"/>
                <a:gd name="T52" fmla="*/ 667 w 811"/>
                <a:gd name="T53" fmla="*/ 72 h 956"/>
                <a:gd name="T54" fmla="*/ 645 w 811"/>
                <a:gd name="T55" fmla="*/ 13 h 956"/>
                <a:gd name="T56" fmla="*/ 578 w 811"/>
                <a:gd name="T57" fmla="*/ 45 h 956"/>
                <a:gd name="T58" fmla="*/ 547 w 811"/>
                <a:gd name="T59" fmla="*/ 78 h 956"/>
                <a:gd name="T60" fmla="*/ 516 w 811"/>
                <a:gd name="T61" fmla="*/ 131 h 956"/>
                <a:gd name="T62" fmla="*/ 578 w 811"/>
                <a:gd name="T63" fmla="*/ 135 h 956"/>
                <a:gd name="T64" fmla="*/ 538 w 811"/>
                <a:gd name="T65" fmla="*/ 152 h 956"/>
                <a:gd name="T66" fmla="*/ 482 w 811"/>
                <a:gd name="T67" fmla="*/ 152 h 956"/>
                <a:gd name="T68" fmla="*/ 458 w 811"/>
                <a:gd name="T69" fmla="*/ 170 h 956"/>
                <a:gd name="T70" fmla="*/ 388 w 811"/>
                <a:gd name="T71" fmla="*/ 196 h 956"/>
                <a:gd name="T72" fmla="*/ 266 w 811"/>
                <a:gd name="T73" fmla="*/ 266 h 956"/>
                <a:gd name="T74" fmla="*/ 231 w 811"/>
                <a:gd name="T75" fmla="*/ 292 h 956"/>
                <a:gd name="T76" fmla="*/ 185 w 811"/>
                <a:gd name="T77" fmla="*/ 348 h 956"/>
                <a:gd name="T78" fmla="*/ 166 w 811"/>
                <a:gd name="T79" fmla="*/ 399 h 956"/>
                <a:gd name="T80" fmla="*/ 100 w 811"/>
                <a:gd name="T81" fmla="*/ 447 h 956"/>
                <a:gd name="T82" fmla="*/ 124 w 811"/>
                <a:gd name="T83" fmla="*/ 486 h 956"/>
                <a:gd name="T84" fmla="*/ 194 w 811"/>
                <a:gd name="T85" fmla="*/ 501 h 956"/>
                <a:gd name="T86" fmla="*/ 176 w 811"/>
                <a:gd name="T87" fmla="*/ 536 h 956"/>
                <a:gd name="T88" fmla="*/ 124 w 811"/>
                <a:gd name="T89" fmla="*/ 547 h 956"/>
                <a:gd name="T90" fmla="*/ 72 w 811"/>
                <a:gd name="T91" fmla="*/ 586 h 956"/>
                <a:gd name="T92" fmla="*/ 17 w 811"/>
                <a:gd name="T93" fmla="*/ 643 h 956"/>
                <a:gd name="T94" fmla="*/ 70 w 811"/>
                <a:gd name="T95" fmla="*/ 721 h 956"/>
                <a:gd name="T96" fmla="*/ 30 w 811"/>
                <a:gd name="T97" fmla="*/ 821 h 956"/>
                <a:gd name="T98" fmla="*/ 54 w 811"/>
                <a:gd name="T99" fmla="*/ 889 h 956"/>
                <a:gd name="T100" fmla="*/ 135 w 811"/>
                <a:gd name="T101" fmla="*/ 928 h 956"/>
                <a:gd name="T102" fmla="*/ 213 w 811"/>
                <a:gd name="T103" fmla="*/ 946 h 956"/>
                <a:gd name="T104" fmla="*/ 287 w 811"/>
                <a:gd name="T105" fmla="*/ 917 h 956"/>
                <a:gd name="T106" fmla="*/ 342 w 811"/>
                <a:gd name="T107" fmla="*/ 878 h 956"/>
                <a:gd name="T108" fmla="*/ 379 w 811"/>
                <a:gd name="T109" fmla="*/ 848 h 956"/>
                <a:gd name="T110" fmla="*/ 425 w 811"/>
                <a:gd name="T111" fmla="*/ 797 h 956"/>
                <a:gd name="T112" fmla="*/ 505 w 811"/>
                <a:gd name="T113" fmla="*/ 754 h 956"/>
                <a:gd name="T114" fmla="*/ 547 w 811"/>
                <a:gd name="T115" fmla="*/ 786 h 956"/>
                <a:gd name="T116" fmla="*/ 621 w 811"/>
                <a:gd name="T117" fmla="*/ 778 h 956"/>
                <a:gd name="T118" fmla="*/ 676 w 811"/>
                <a:gd name="T119" fmla="*/ 738 h 956"/>
                <a:gd name="T120" fmla="*/ 713 w 811"/>
                <a:gd name="T121" fmla="*/ 645 h 956"/>
                <a:gd name="T122" fmla="*/ 106 w 811"/>
                <a:gd name="T123" fmla="*/ 499 h 956"/>
                <a:gd name="T124" fmla="*/ 69 w 811"/>
                <a:gd name="T125" fmla="*/ 516 h 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11"/>
                <a:gd name="T190" fmla="*/ 0 h 956"/>
                <a:gd name="T191" fmla="*/ 811 w 811"/>
                <a:gd name="T192" fmla="*/ 956 h 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11" h="956">
                  <a:moveTo>
                    <a:pt x="111" y="155"/>
                  </a:moveTo>
                  <a:lnTo>
                    <a:pt x="109" y="152"/>
                  </a:lnTo>
                  <a:lnTo>
                    <a:pt x="109" y="146"/>
                  </a:lnTo>
                  <a:lnTo>
                    <a:pt x="109" y="141"/>
                  </a:lnTo>
                  <a:lnTo>
                    <a:pt x="111" y="137"/>
                  </a:lnTo>
                  <a:lnTo>
                    <a:pt x="115" y="133"/>
                  </a:lnTo>
                  <a:lnTo>
                    <a:pt x="120" y="131"/>
                  </a:lnTo>
                  <a:lnTo>
                    <a:pt x="126" y="130"/>
                  </a:lnTo>
                  <a:lnTo>
                    <a:pt x="133" y="131"/>
                  </a:lnTo>
                  <a:lnTo>
                    <a:pt x="139" y="124"/>
                  </a:lnTo>
                  <a:lnTo>
                    <a:pt x="146" y="119"/>
                  </a:lnTo>
                  <a:lnTo>
                    <a:pt x="152" y="117"/>
                  </a:lnTo>
                  <a:lnTo>
                    <a:pt x="159" y="117"/>
                  </a:lnTo>
                  <a:lnTo>
                    <a:pt x="161" y="131"/>
                  </a:lnTo>
                  <a:lnTo>
                    <a:pt x="163" y="144"/>
                  </a:lnTo>
                  <a:lnTo>
                    <a:pt x="163" y="157"/>
                  </a:lnTo>
                  <a:lnTo>
                    <a:pt x="161" y="170"/>
                  </a:lnTo>
                  <a:lnTo>
                    <a:pt x="157" y="185"/>
                  </a:lnTo>
                  <a:lnTo>
                    <a:pt x="154" y="202"/>
                  </a:lnTo>
                  <a:lnTo>
                    <a:pt x="152" y="209"/>
                  </a:lnTo>
                  <a:lnTo>
                    <a:pt x="150" y="218"/>
                  </a:lnTo>
                  <a:lnTo>
                    <a:pt x="146" y="226"/>
                  </a:lnTo>
                  <a:lnTo>
                    <a:pt x="142" y="229"/>
                  </a:lnTo>
                  <a:lnTo>
                    <a:pt x="137" y="228"/>
                  </a:lnTo>
                  <a:lnTo>
                    <a:pt x="135" y="226"/>
                  </a:lnTo>
                  <a:lnTo>
                    <a:pt x="131" y="220"/>
                  </a:lnTo>
                  <a:lnTo>
                    <a:pt x="130" y="216"/>
                  </a:lnTo>
                  <a:lnTo>
                    <a:pt x="126" y="205"/>
                  </a:lnTo>
                  <a:lnTo>
                    <a:pt x="122" y="194"/>
                  </a:lnTo>
                  <a:lnTo>
                    <a:pt x="115" y="187"/>
                  </a:lnTo>
                  <a:lnTo>
                    <a:pt x="109" y="181"/>
                  </a:lnTo>
                  <a:lnTo>
                    <a:pt x="106" y="176"/>
                  </a:lnTo>
                  <a:lnTo>
                    <a:pt x="106" y="170"/>
                  </a:lnTo>
                  <a:lnTo>
                    <a:pt x="106" y="163"/>
                  </a:lnTo>
                  <a:lnTo>
                    <a:pt x="111" y="155"/>
                  </a:lnTo>
                  <a:close/>
                  <a:moveTo>
                    <a:pt x="765" y="664"/>
                  </a:moveTo>
                  <a:lnTo>
                    <a:pt x="769" y="658"/>
                  </a:lnTo>
                  <a:lnTo>
                    <a:pt x="771" y="651"/>
                  </a:lnTo>
                  <a:lnTo>
                    <a:pt x="771" y="647"/>
                  </a:lnTo>
                  <a:lnTo>
                    <a:pt x="769" y="641"/>
                  </a:lnTo>
                  <a:lnTo>
                    <a:pt x="767" y="636"/>
                  </a:lnTo>
                  <a:lnTo>
                    <a:pt x="761" y="629"/>
                  </a:lnTo>
                  <a:lnTo>
                    <a:pt x="767" y="621"/>
                  </a:lnTo>
                  <a:lnTo>
                    <a:pt x="767" y="617"/>
                  </a:lnTo>
                  <a:lnTo>
                    <a:pt x="765" y="612"/>
                  </a:lnTo>
                  <a:lnTo>
                    <a:pt x="761" y="603"/>
                  </a:lnTo>
                  <a:lnTo>
                    <a:pt x="763" y="593"/>
                  </a:lnTo>
                  <a:lnTo>
                    <a:pt x="765" y="584"/>
                  </a:lnTo>
                  <a:lnTo>
                    <a:pt x="759" y="575"/>
                  </a:lnTo>
                  <a:lnTo>
                    <a:pt x="754" y="568"/>
                  </a:lnTo>
                  <a:lnTo>
                    <a:pt x="756" y="564"/>
                  </a:lnTo>
                  <a:lnTo>
                    <a:pt x="758" y="558"/>
                  </a:lnTo>
                  <a:lnTo>
                    <a:pt x="759" y="553"/>
                  </a:lnTo>
                  <a:lnTo>
                    <a:pt x="758" y="547"/>
                  </a:lnTo>
                  <a:lnTo>
                    <a:pt x="748" y="545"/>
                  </a:lnTo>
                  <a:lnTo>
                    <a:pt x="735" y="545"/>
                  </a:lnTo>
                  <a:lnTo>
                    <a:pt x="734" y="545"/>
                  </a:lnTo>
                  <a:lnTo>
                    <a:pt x="734" y="542"/>
                  </a:lnTo>
                  <a:lnTo>
                    <a:pt x="735" y="540"/>
                  </a:lnTo>
                  <a:lnTo>
                    <a:pt x="739" y="536"/>
                  </a:lnTo>
                  <a:lnTo>
                    <a:pt x="741" y="534"/>
                  </a:lnTo>
                  <a:lnTo>
                    <a:pt x="745" y="532"/>
                  </a:lnTo>
                  <a:lnTo>
                    <a:pt x="748" y="534"/>
                  </a:lnTo>
                  <a:lnTo>
                    <a:pt x="752" y="538"/>
                  </a:lnTo>
                  <a:lnTo>
                    <a:pt x="754" y="538"/>
                  </a:lnTo>
                  <a:lnTo>
                    <a:pt x="758" y="538"/>
                  </a:lnTo>
                  <a:lnTo>
                    <a:pt x="759" y="538"/>
                  </a:lnTo>
                  <a:lnTo>
                    <a:pt x="763" y="536"/>
                  </a:lnTo>
                  <a:lnTo>
                    <a:pt x="769" y="531"/>
                  </a:lnTo>
                  <a:lnTo>
                    <a:pt x="774" y="523"/>
                  </a:lnTo>
                  <a:lnTo>
                    <a:pt x="787" y="508"/>
                  </a:lnTo>
                  <a:lnTo>
                    <a:pt x="796" y="497"/>
                  </a:lnTo>
                  <a:lnTo>
                    <a:pt x="802" y="494"/>
                  </a:lnTo>
                  <a:lnTo>
                    <a:pt x="806" y="492"/>
                  </a:lnTo>
                  <a:lnTo>
                    <a:pt x="809" y="490"/>
                  </a:lnTo>
                  <a:lnTo>
                    <a:pt x="811" y="490"/>
                  </a:lnTo>
                  <a:lnTo>
                    <a:pt x="811" y="488"/>
                  </a:lnTo>
                  <a:lnTo>
                    <a:pt x="811" y="484"/>
                  </a:lnTo>
                  <a:lnTo>
                    <a:pt x="804" y="483"/>
                  </a:lnTo>
                  <a:lnTo>
                    <a:pt x="795" y="481"/>
                  </a:lnTo>
                  <a:lnTo>
                    <a:pt x="796" y="475"/>
                  </a:lnTo>
                  <a:lnTo>
                    <a:pt x="796" y="468"/>
                  </a:lnTo>
                  <a:lnTo>
                    <a:pt x="793" y="462"/>
                  </a:lnTo>
                  <a:lnTo>
                    <a:pt x="787" y="457"/>
                  </a:lnTo>
                  <a:lnTo>
                    <a:pt x="769" y="462"/>
                  </a:lnTo>
                  <a:lnTo>
                    <a:pt x="752" y="468"/>
                  </a:lnTo>
                  <a:lnTo>
                    <a:pt x="752" y="464"/>
                  </a:lnTo>
                  <a:lnTo>
                    <a:pt x="752" y="459"/>
                  </a:lnTo>
                  <a:lnTo>
                    <a:pt x="752" y="455"/>
                  </a:lnTo>
                  <a:lnTo>
                    <a:pt x="748" y="451"/>
                  </a:lnTo>
                  <a:lnTo>
                    <a:pt x="737" y="457"/>
                  </a:lnTo>
                  <a:lnTo>
                    <a:pt x="728" y="466"/>
                  </a:lnTo>
                  <a:lnTo>
                    <a:pt x="722" y="462"/>
                  </a:lnTo>
                  <a:lnTo>
                    <a:pt x="715" y="459"/>
                  </a:lnTo>
                  <a:lnTo>
                    <a:pt x="708" y="470"/>
                  </a:lnTo>
                  <a:lnTo>
                    <a:pt x="700" y="475"/>
                  </a:lnTo>
                  <a:lnTo>
                    <a:pt x="695" y="466"/>
                  </a:lnTo>
                  <a:lnTo>
                    <a:pt x="687" y="453"/>
                  </a:lnTo>
                  <a:lnTo>
                    <a:pt x="674" y="455"/>
                  </a:lnTo>
                  <a:lnTo>
                    <a:pt x="662" y="457"/>
                  </a:lnTo>
                  <a:lnTo>
                    <a:pt x="662" y="453"/>
                  </a:lnTo>
                  <a:lnTo>
                    <a:pt x="660" y="449"/>
                  </a:lnTo>
                  <a:lnTo>
                    <a:pt x="660" y="447"/>
                  </a:lnTo>
                  <a:lnTo>
                    <a:pt x="656" y="447"/>
                  </a:lnTo>
                  <a:lnTo>
                    <a:pt x="645" y="449"/>
                  </a:lnTo>
                  <a:lnTo>
                    <a:pt x="636" y="449"/>
                  </a:lnTo>
                  <a:lnTo>
                    <a:pt x="634" y="453"/>
                  </a:lnTo>
                  <a:lnTo>
                    <a:pt x="632" y="455"/>
                  </a:lnTo>
                  <a:lnTo>
                    <a:pt x="634" y="457"/>
                  </a:lnTo>
                  <a:lnTo>
                    <a:pt x="636" y="459"/>
                  </a:lnTo>
                  <a:lnTo>
                    <a:pt x="639" y="462"/>
                  </a:lnTo>
                  <a:lnTo>
                    <a:pt x="643" y="466"/>
                  </a:lnTo>
                  <a:lnTo>
                    <a:pt x="639" y="470"/>
                  </a:lnTo>
                  <a:lnTo>
                    <a:pt x="634" y="470"/>
                  </a:lnTo>
                  <a:lnTo>
                    <a:pt x="630" y="468"/>
                  </a:lnTo>
                  <a:lnTo>
                    <a:pt x="626" y="470"/>
                  </a:lnTo>
                  <a:lnTo>
                    <a:pt x="617" y="473"/>
                  </a:lnTo>
                  <a:lnTo>
                    <a:pt x="614" y="473"/>
                  </a:lnTo>
                  <a:lnTo>
                    <a:pt x="610" y="471"/>
                  </a:lnTo>
                  <a:lnTo>
                    <a:pt x="604" y="468"/>
                  </a:lnTo>
                  <a:lnTo>
                    <a:pt x="601" y="466"/>
                  </a:lnTo>
                  <a:lnTo>
                    <a:pt x="599" y="468"/>
                  </a:lnTo>
                  <a:lnTo>
                    <a:pt x="593" y="479"/>
                  </a:lnTo>
                  <a:lnTo>
                    <a:pt x="586" y="497"/>
                  </a:lnTo>
                  <a:lnTo>
                    <a:pt x="577" y="499"/>
                  </a:lnTo>
                  <a:lnTo>
                    <a:pt x="565" y="501"/>
                  </a:lnTo>
                  <a:lnTo>
                    <a:pt x="577" y="486"/>
                  </a:lnTo>
                  <a:lnTo>
                    <a:pt x="586" y="473"/>
                  </a:lnTo>
                  <a:lnTo>
                    <a:pt x="584" y="471"/>
                  </a:lnTo>
                  <a:lnTo>
                    <a:pt x="580" y="473"/>
                  </a:lnTo>
                  <a:lnTo>
                    <a:pt x="577" y="475"/>
                  </a:lnTo>
                  <a:lnTo>
                    <a:pt x="571" y="477"/>
                  </a:lnTo>
                  <a:lnTo>
                    <a:pt x="565" y="481"/>
                  </a:lnTo>
                  <a:lnTo>
                    <a:pt x="562" y="481"/>
                  </a:lnTo>
                  <a:lnTo>
                    <a:pt x="556" y="481"/>
                  </a:lnTo>
                  <a:lnTo>
                    <a:pt x="554" y="477"/>
                  </a:lnTo>
                  <a:lnTo>
                    <a:pt x="562" y="471"/>
                  </a:lnTo>
                  <a:lnTo>
                    <a:pt x="571" y="466"/>
                  </a:lnTo>
                  <a:lnTo>
                    <a:pt x="586" y="462"/>
                  </a:lnTo>
                  <a:lnTo>
                    <a:pt x="601" y="459"/>
                  </a:lnTo>
                  <a:lnTo>
                    <a:pt x="606" y="455"/>
                  </a:lnTo>
                  <a:lnTo>
                    <a:pt x="610" y="447"/>
                  </a:lnTo>
                  <a:lnTo>
                    <a:pt x="614" y="442"/>
                  </a:lnTo>
                  <a:lnTo>
                    <a:pt x="617" y="433"/>
                  </a:lnTo>
                  <a:lnTo>
                    <a:pt x="621" y="418"/>
                  </a:lnTo>
                  <a:lnTo>
                    <a:pt x="623" y="405"/>
                  </a:lnTo>
                  <a:lnTo>
                    <a:pt x="612" y="383"/>
                  </a:lnTo>
                  <a:lnTo>
                    <a:pt x="604" y="361"/>
                  </a:lnTo>
                  <a:lnTo>
                    <a:pt x="595" y="348"/>
                  </a:lnTo>
                  <a:lnTo>
                    <a:pt x="589" y="338"/>
                  </a:lnTo>
                  <a:lnTo>
                    <a:pt x="588" y="333"/>
                  </a:lnTo>
                  <a:lnTo>
                    <a:pt x="584" y="329"/>
                  </a:lnTo>
                  <a:lnTo>
                    <a:pt x="580" y="325"/>
                  </a:lnTo>
                  <a:lnTo>
                    <a:pt x="575" y="324"/>
                  </a:lnTo>
                  <a:lnTo>
                    <a:pt x="573" y="322"/>
                  </a:lnTo>
                  <a:lnTo>
                    <a:pt x="569" y="324"/>
                  </a:lnTo>
                  <a:lnTo>
                    <a:pt x="567" y="325"/>
                  </a:lnTo>
                  <a:lnTo>
                    <a:pt x="565" y="327"/>
                  </a:lnTo>
                  <a:lnTo>
                    <a:pt x="560" y="333"/>
                  </a:lnTo>
                  <a:lnTo>
                    <a:pt x="554" y="338"/>
                  </a:lnTo>
                  <a:lnTo>
                    <a:pt x="551" y="337"/>
                  </a:lnTo>
                  <a:lnTo>
                    <a:pt x="547" y="335"/>
                  </a:lnTo>
                  <a:lnTo>
                    <a:pt x="543" y="333"/>
                  </a:lnTo>
                  <a:lnTo>
                    <a:pt x="541" y="329"/>
                  </a:lnTo>
                  <a:lnTo>
                    <a:pt x="540" y="324"/>
                  </a:lnTo>
                  <a:lnTo>
                    <a:pt x="538" y="316"/>
                  </a:lnTo>
                  <a:lnTo>
                    <a:pt x="525" y="316"/>
                  </a:lnTo>
                  <a:lnTo>
                    <a:pt x="519" y="316"/>
                  </a:lnTo>
                  <a:lnTo>
                    <a:pt x="516" y="313"/>
                  </a:lnTo>
                  <a:lnTo>
                    <a:pt x="517" y="309"/>
                  </a:lnTo>
                  <a:lnTo>
                    <a:pt x="519" y="305"/>
                  </a:lnTo>
                  <a:lnTo>
                    <a:pt x="521" y="303"/>
                  </a:lnTo>
                  <a:lnTo>
                    <a:pt x="523" y="303"/>
                  </a:lnTo>
                  <a:lnTo>
                    <a:pt x="525" y="303"/>
                  </a:lnTo>
                  <a:lnTo>
                    <a:pt x="529" y="305"/>
                  </a:lnTo>
                  <a:lnTo>
                    <a:pt x="534" y="305"/>
                  </a:lnTo>
                  <a:lnTo>
                    <a:pt x="530" y="292"/>
                  </a:lnTo>
                  <a:lnTo>
                    <a:pt x="525" y="281"/>
                  </a:lnTo>
                  <a:lnTo>
                    <a:pt x="530" y="279"/>
                  </a:lnTo>
                  <a:lnTo>
                    <a:pt x="536" y="281"/>
                  </a:lnTo>
                  <a:lnTo>
                    <a:pt x="540" y="285"/>
                  </a:lnTo>
                  <a:lnTo>
                    <a:pt x="545" y="290"/>
                  </a:lnTo>
                  <a:lnTo>
                    <a:pt x="553" y="301"/>
                  </a:lnTo>
                  <a:lnTo>
                    <a:pt x="558" y="305"/>
                  </a:lnTo>
                  <a:lnTo>
                    <a:pt x="569" y="301"/>
                  </a:lnTo>
                  <a:lnTo>
                    <a:pt x="575" y="300"/>
                  </a:lnTo>
                  <a:lnTo>
                    <a:pt x="582" y="301"/>
                  </a:lnTo>
                  <a:lnTo>
                    <a:pt x="589" y="305"/>
                  </a:lnTo>
                  <a:lnTo>
                    <a:pt x="597" y="303"/>
                  </a:lnTo>
                  <a:lnTo>
                    <a:pt x="602" y="298"/>
                  </a:lnTo>
                  <a:lnTo>
                    <a:pt x="604" y="292"/>
                  </a:lnTo>
                  <a:lnTo>
                    <a:pt x="606" y="287"/>
                  </a:lnTo>
                  <a:lnTo>
                    <a:pt x="606" y="274"/>
                  </a:lnTo>
                  <a:lnTo>
                    <a:pt x="606" y="261"/>
                  </a:lnTo>
                  <a:lnTo>
                    <a:pt x="612" y="253"/>
                  </a:lnTo>
                  <a:lnTo>
                    <a:pt x="617" y="250"/>
                  </a:lnTo>
                  <a:lnTo>
                    <a:pt x="619" y="246"/>
                  </a:lnTo>
                  <a:lnTo>
                    <a:pt x="621" y="242"/>
                  </a:lnTo>
                  <a:lnTo>
                    <a:pt x="623" y="235"/>
                  </a:lnTo>
                  <a:lnTo>
                    <a:pt x="625" y="226"/>
                  </a:lnTo>
                  <a:lnTo>
                    <a:pt x="628" y="222"/>
                  </a:lnTo>
                  <a:lnTo>
                    <a:pt x="630" y="222"/>
                  </a:lnTo>
                  <a:lnTo>
                    <a:pt x="634" y="224"/>
                  </a:lnTo>
                  <a:lnTo>
                    <a:pt x="638" y="226"/>
                  </a:lnTo>
                  <a:lnTo>
                    <a:pt x="643" y="226"/>
                  </a:lnTo>
                  <a:lnTo>
                    <a:pt x="649" y="224"/>
                  </a:lnTo>
                  <a:lnTo>
                    <a:pt x="658" y="235"/>
                  </a:lnTo>
                  <a:lnTo>
                    <a:pt x="667" y="242"/>
                  </a:lnTo>
                  <a:lnTo>
                    <a:pt x="671" y="239"/>
                  </a:lnTo>
                  <a:lnTo>
                    <a:pt x="674" y="233"/>
                  </a:lnTo>
                  <a:lnTo>
                    <a:pt x="676" y="231"/>
                  </a:lnTo>
                  <a:lnTo>
                    <a:pt x="680" y="229"/>
                  </a:lnTo>
                  <a:lnTo>
                    <a:pt x="684" y="229"/>
                  </a:lnTo>
                  <a:lnTo>
                    <a:pt x="687" y="229"/>
                  </a:lnTo>
                  <a:lnTo>
                    <a:pt x="689" y="220"/>
                  </a:lnTo>
                  <a:lnTo>
                    <a:pt x="693" y="213"/>
                  </a:lnTo>
                  <a:lnTo>
                    <a:pt x="698" y="207"/>
                  </a:lnTo>
                  <a:lnTo>
                    <a:pt x="706" y="202"/>
                  </a:lnTo>
                  <a:lnTo>
                    <a:pt x="721" y="192"/>
                  </a:lnTo>
                  <a:lnTo>
                    <a:pt x="737" y="185"/>
                  </a:lnTo>
                  <a:lnTo>
                    <a:pt x="734" y="174"/>
                  </a:lnTo>
                  <a:lnTo>
                    <a:pt x="728" y="163"/>
                  </a:lnTo>
                  <a:lnTo>
                    <a:pt x="737" y="165"/>
                  </a:lnTo>
                  <a:lnTo>
                    <a:pt x="748" y="165"/>
                  </a:lnTo>
                  <a:lnTo>
                    <a:pt x="747" y="154"/>
                  </a:lnTo>
                  <a:lnTo>
                    <a:pt x="743" y="144"/>
                  </a:lnTo>
                  <a:lnTo>
                    <a:pt x="752" y="143"/>
                  </a:lnTo>
                  <a:lnTo>
                    <a:pt x="756" y="139"/>
                  </a:lnTo>
                  <a:lnTo>
                    <a:pt x="756" y="135"/>
                  </a:lnTo>
                  <a:lnTo>
                    <a:pt x="752" y="131"/>
                  </a:lnTo>
                  <a:lnTo>
                    <a:pt x="748" y="130"/>
                  </a:lnTo>
                  <a:lnTo>
                    <a:pt x="743" y="128"/>
                  </a:lnTo>
                  <a:lnTo>
                    <a:pt x="737" y="128"/>
                  </a:lnTo>
                  <a:lnTo>
                    <a:pt x="732" y="131"/>
                  </a:lnTo>
                  <a:lnTo>
                    <a:pt x="728" y="135"/>
                  </a:lnTo>
                  <a:lnTo>
                    <a:pt x="721" y="141"/>
                  </a:lnTo>
                  <a:lnTo>
                    <a:pt x="715" y="141"/>
                  </a:lnTo>
                  <a:lnTo>
                    <a:pt x="711" y="139"/>
                  </a:lnTo>
                  <a:lnTo>
                    <a:pt x="710" y="137"/>
                  </a:lnTo>
                  <a:lnTo>
                    <a:pt x="710" y="135"/>
                  </a:lnTo>
                  <a:lnTo>
                    <a:pt x="717" y="131"/>
                  </a:lnTo>
                  <a:lnTo>
                    <a:pt x="724" y="126"/>
                  </a:lnTo>
                  <a:lnTo>
                    <a:pt x="724" y="124"/>
                  </a:lnTo>
                  <a:lnTo>
                    <a:pt x="722" y="122"/>
                  </a:lnTo>
                  <a:lnTo>
                    <a:pt x="721" y="120"/>
                  </a:lnTo>
                  <a:lnTo>
                    <a:pt x="717" y="120"/>
                  </a:lnTo>
                  <a:lnTo>
                    <a:pt x="710" y="120"/>
                  </a:lnTo>
                  <a:lnTo>
                    <a:pt x="702" y="119"/>
                  </a:lnTo>
                  <a:lnTo>
                    <a:pt x="697" y="113"/>
                  </a:lnTo>
                  <a:lnTo>
                    <a:pt x="689" y="106"/>
                  </a:lnTo>
                  <a:lnTo>
                    <a:pt x="686" y="109"/>
                  </a:lnTo>
                  <a:lnTo>
                    <a:pt x="678" y="115"/>
                  </a:lnTo>
                  <a:lnTo>
                    <a:pt x="676" y="109"/>
                  </a:lnTo>
                  <a:lnTo>
                    <a:pt x="674" y="106"/>
                  </a:lnTo>
                  <a:lnTo>
                    <a:pt x="667" y="106"/>
                  </a:lnTo>
                  <a:lnTo>
                    <a:pt x="662" y="107"/>
                  </a:lnTo>
                  <a:lnTo>
                    <a:pt x="654" y="109"/>
                  </a:lnTo>
                  <a:lnTo>
                    <a:pt x="643" y="107"/>
                  </a:lnTo>
                  <a:lnTo>
                    <a:pt x="643" y="106"/>
                  </a:lnTo>
                  <a:lnTo>
                    <a:pt x="643" y="102"/>
                  </a:lnTo>
                  <a:lnTo>
                    <a:pt x="645" y="100"/>
                  </a:lnTo>
                  <a:lnTo>
                    <a:pt x="649" y="98"/>
                  </a:lnTo>
                  <a:lnTo>
                    <a:pt x="654" y="94"/>
                  </a:lnTo>
                  <a:lnTo>
                    <a:pt x="663" y="91"/>
                  </a:lnTo>
                  <a:lnTo>
                    <a:pt x="665" y="89"/>
                  </a:lnTo>
                  <a:lnTo>
                    <a:pt x="665" y="85"/>
                  </a:lnTo>
                  <a:lnTo>
                    <a:pt x="663" y="82"/>
                  </a:lnTo>
                  <a:lnTo>
                    <a:pt x="662" y="78"/>
                  </a:lnTo>
                  <a:lnTo>
                    <a:pt x="663" y="74"/>
                  </a:lnTo>
                  <a:lnTo>
                    <a:pt x="667" y="72"/>
                  </a:lnTo>
                  <a:lnTo>
                    <a:pt x="669" y="69"/>
                  </a:lnTo>
                  <a:lnTo>
                    <a:pt x="667" y="65"/>
                  </a:lnTo>
                  <a:lnTo>
                    <a:pt x="656" y="65"/>
                  </a:lnTo>
                  <a:lnTo>
                    <a:pt x="643" y="65"/>
                  </a:lnTo>
                  <a:lnTo>
                    <a:pt x="652" y="54"/>
                  </a:lnTo>
                  <a:lnTo>
                    <a:pt x="662" y="45"/>
                  </a:lnTo>
                  <a:lnTo>
                    <a:pt x="652" y="39"/>
                  </a:lnTo>
                  <a:lnTo>
                    <a:pt x="641" y="34"/>
                  </a:lnTo>
                  <a:lnTo>
                    <a:pt x="643" y="22"/>
                  </a:lnTo>
                  <a:lnTo>
                    <a:pt x="645" y="13"/>
                  </a:lnTo>
                  <a:lnTo>
                    <a:pt x="647" y="9"/>
                  </a:lnTo>
                  <a:lnTo>
                    <a:pt x="645" y="6"/>
                  </a:lnTo>
                  <a:lnTo>
                    <a:pt x="643" y="2"/>
                  </a:lnTo>
                  <a:lnTo>
                    <a:pt x="639" y="0"/>
                  </a:lnTo>
                  <a:lnTo>
                    <a:pt x="632" y="8"/>
                  </a:lnTo>
                  <a:lnTo>
                    <a:pt x="617" y="26"/>
                  </a:lnTo>
                  <a:lnTo>
                    <a:pt x="610" y="30"/>
                  </a:lnTo>
                  <a:lnTo>
                    <a:pt x="601" y="32"/>
                  </a:lnTo>
                  <a:lnTo>
                    <a:pt x="589" y="39"/>
                  </a:lnTo>
                  <a:lnTo>
                    <a:pt x="578" y="45"/>
                  </a:lnTo>
                  <a:lnTo>
                    <a:pt x="567" y="50"/>
                  </a:lnTo>
                  <a:lnTo>
                    <a:pt x="553" y="52"/>
                  </a:lnTo>
                  <a:lnTo>
                    <a:pt x="547" y="54"/>
                  </a:lnTo>
                  <a:lnTo>
                    <a:pt x="543" y="58"/>
                  </a:lnTo>
                  <a:lnTo>
                    <a:pt x="541" y="63"/>
                  </a:lnTo>
                  <a:lnTo>
                    <a:pt x="540" y="70"/>
                  </a:lnTo>
                  <a:lnTo>
                    <a:pt x="534" y="76"/>
                  </a:lnTo>
                  <a:lnTo>
                    <a:pt x="532" y="83"/>
                  </a:lnTo>
                  <a:lnTo>
                    <a:pt x="540" y="80"/>
                  </a:lnTo>
                  <a:lnTo>
                    <a:pt x="547" y="78"/>
                  </a:lnTo>
                  <a:lnTo>
                    <a:pt x="545" y="83"/>
                  </a:lnTo>
                  <a:lnTo>
                    <a:pt x="541" y="89"/>
                  </a:lnTo>
                  <a:lnTo>
                    <a:pt x="541" y="98"/>
                  </a:lnTo>
                  <a:lnTo>
                    <a:pt x="540" y="106"/>
                  </a:lnTo>
                  <a:lnTo>
                    <a:pt x="532" y="104"/>
                  </a:lnTo>
                  <a:lnTo>
                    <a:pt x="525" y="102"/>
                  </a:lnTo>
                  <a:lnTo>
                    <a:pt x="521" y="109"/>
                  </a:lnTo>
                  <a:lnTo>
                    <a:pt x="519" y="120"/>
                  </a:lnTo>
                  <a:lnTo>
                    <a:pt x="517" y="128"/>
                  </a:lnTo>
                  <a:lnTo>
                    <a:pt x="516" y="131"/>
                  </a:lnTo>
                  <a:lnTo>
                    <a:pt x="516" y="135"/>
                  </a:lnTo>
                  <a:lnTo>
                    <a:pt x="516" y="139"/>
                  </a:lnTo>
                  <a:lnTo>
                    <a:pt x="525" y="135"/>
                  </a:lnTo>
                  <a:lnTo>
                    <a:pt x="536" y="130"/>
                  </a:lnTo>
                  <a:lnTo>
                    <a:pt x="545" y="135"/>
                  </a:lnTo>
                  <a:lnTo>
                    <a:pt x="554" y="139"/>
                  </a:lnTo>
                  <a:lnTo>
                    <a:pt x="560" y="133"/>
                  </a:lnTo>
                  <a:lnTo>
                    <a:pt x="567" y="130"/>
                  </a:lnTo>
                  <a:lnTo>
                    <a:pt x="575" y="131"/>
                  </a:lnTo>
                  <a:lnTo>
                    <a:pt x="578" y="135"/>
                  </a:lnTo>
                  <a:lnTo>
                    <a:pt x="577" y="137"/>
                  </a:lnTo>
                  <a:lnTo>
                    <a:pt x="567" y="141"/>
                  </a:lnTo>
                  <a:lnTo>
                    <a:pt x="567" y="146"/>
                  </a:lnTo>
                  <a:lnTo>
                    <a:pt x="565" y="157"/>
                  </a:lnTo>
                  <a:lnTo>
                    <a:pt x="558" y="157"/>
                  </a:lnTo>
                  <a:lnTo>
                    <a:pt x="553" y="157"/>
                  </a:lnTo>
                  <a:lnTo>
                    <a:pt x="549" y="157"/>
                  </a:lnTo>
                  <a:lnTo>
                    <a:pt x="543" y="159"/>
                  </a:lnTo>
                  <a:lnTo>
                    <a:pt x="541" y="157"/>
                  </a:lnTo>
                  <a:lnTo>
                    <a:pt x="538" y="152"/>
                  </a:lnTo>
                  <a:lnTo>
                    <a:pt x="534" y="150"/>
                  </a:lnTo>
                  <a:lnTo>
                    <a:pt x="527" y="150"/>
                  </a:lnTo>
                  <a:lnTo>
                    <a:pt x="514" y="152"/>
                  </a:lnTo>
                  <a:lnTo>
                    <a:pt x="506" y="152"/>
                  </a:lnTo>
                  <a:lnTo>
                    <a:pt x="497" y="148"/>
                  </a:lnTo>
                  <a:lnTo>
                    <a:pt x="488" y="139"/>
                  </a:lnTo>
                  <a:lnTo>
                    <a:pt x="484" y="139"/>
                  </a:lnTo>
                  <a:lnTo>
                    <a:pt x="482" y="143"/>
                  </a:lnTo>
                  <a:lnTo>
                    <a:pt x="482" y="148"/>
                  </a:lnTo>
                  <a:lnTo>
                    <a:pt x="482" y="152"/>
                  </a:lnTo>
                  <a:lnTo>
                    <a:pt x="473" y="150"/>
                  </a:lnTo>
                  <a:lnTo>
                    <a:pt x="449" y="146"/>
                  </a:lnTo>
                  <a:lnTo>
                    <a:pt x="447" y="152"/>
                  </a:lnTo>
                  <a:lnTo>
                    <a:pt x="447" y="157"/>
                  </a:lnTo>
                  <a:lnTo>
                    <a:pt x="449" y="161"/>
                  </a:lnTo>
                  <a:lnTo>
                    <a:pt x="451" y="161"/>
                  </a:lnTo>
                  <a:lnTo>
                    <a:pt x="455" y="163"/>
                  </a:lnTo>
                  <a:lnTo>
                    <a:pt x="458" y="161"/>
                  </a:lnTo>
                  <a:lnTo>
                    <a:pt x="458" y="167"/>
                  </a:lnTo>
                  <a:lnTo>
                    <a:pt x="458" y="170"/>
                  </a:lnTo>
                  <a:lnTo>
                    <a:pt x="456" y="172"/>
                  </a:lnTo>
                  <a:lnTo>
                    <a:pt x="453" y="174"/>
                  </a:lnTo>
                  <a:lnTo>
                    <a:pt x="444" y="168"/>
                  </a:lnTo>
                  <a:lnTo>
                    <a:pt x="432" y="165"/>
                  </a:lnTo>
                  <a:lnTo>
                    <a:pt x="425" y="181"/>
                  </a:lnTo>
                  <a:lnTo>
                    <a:pt x="416" y="194"/>
                  </a:lnTo>
                  <a:lnTo>
                    <a:pt x="414" y="185"/>
                  </a:lnTo>
                  <a:lnTo>
                    <a:pt x="414" y="178"/>
                  </a:lnTo>
                  <a:lnTo>
                    <a:pt x="403" y="185"/>
                  </a:lnTo>
                  <a:lnTo>
                    <a:pt x="388" y="196"/>
                  </a:lnTo>
                  <a:lnTo>
                    <a:pt x="375" y="209"/>
                  </a:lnTo>
                  <a:lnTo>
                    <a:pt x="362" y="222"/>
                  </a:lnTo>
                  <a:lnTo>
                    <a:pt x="355" y="224"/>
                  </a:lnTo>
                  <a:lnTo>
                    <a:pt x="344" y="224"/>
                  </a:lnTo>
                  <a:lnTo>
                    <a:pt x="336" y="226"/>
                  </a:lnTo>
                  <a:lnTo>
                    <a:pt x="329" y="229"/>
                  </a:lnTo>
                  <a:lnTo>
                    <a:pt x="318" y="237"/>
                  </a:lnTo>
                  <a:lnTo>
                    <a:pt x="307" y="246"/>
                  </a:lnTo>
                  <a:lnTo>
                    <a:pt x="281" y="261"/>
                  </a:lnTo>
                  <a:lnTo>
                    <a:pt x="266" y="266"/>
                  </a:lnTo>
                  <a:lnTo>
                    <a:pt x="268" y="263"/>
                  </a:lnTo>
                  <a:lnTo>
                    <a:pt x="270" y="259"/>
                  </a:lnTo>
                  <a:lnTo>
                    <a:pt x="270" y="257"/>
                  </a:lnTo>
                  <a:lnTo>
                    <a:pt x="268" y="257"/>
                  </a:lnTo>
                  <a:lnTo>
                    <a:pt x="257" y="264"/>
                  </a:lnTo>
                  <a:lnTo>
                    <a:pt x="250" y="272"/>
                  </a:lnTo>
                  <a:lnTo>
                    <a:pt x="244" y="281"/>
                  </a:lnTo>
                  <a:lnTo>
                    <a:pt x="240" y="290"/>
                  </a:lnTo>
                  <a:lnTo>
                    <a:pt x="235" y="290"/>
                  </a:lnTo>
                  <a:lnTo>
                    <a:pt x="231" y="292"/>
                  </a:lnTo>
                  <a:lnTo>
                    <a:pt x="226" y="294"/>
                  </a:lnTo>
                  <a:lnTo>
                    <a:pt x="222" y="298"/>
                  </a:lnTo>
                  <a:lnTo>
                    <a:pt x="216" y="303"/>
                  </a:lnTo>
                  <a:lnTo>
                    <a:pt x="211" y="311"/>
                  </a:lnTo>
                  <a:lnTo>
                    <a:pt x="202" y="316"/>
                  </a:lnTo>
                  <a:lnTo>
                    <a:pt x="194" y="320"/>
                  </a:lnTo>
                  <a:lnTo>
                    <a:pt x="189" y="324"/>
                  </a:lnTo>
                  <a:lnTo>
                    <a:pt x="187" y="327"/>
                  </a:lnTo>
                  <a:lnTo>
                    <a:pt x="185" y="337"/>
                  </a:lnTo>
                  <a:lnTo>
                    <a:pt x="185" y="348"/>
                  </a:lnTo>
                  <a:lnTo>
                    <a:pt x="178" y="351"/>
                  </a:lnTo>
                  <a:lnTo>
                    <a:pt x="172" y="355"/>
                  </a:lnTo>
                  <a:lnTo>
                    <a:pt x="168" y="359"/>
                  </a:lnTo>
                  <a:lnTo>
                    <a:pt x="168" y="362"/>
                  </a:lnTo>
                  <a:lnTo>
                    <a:pt x="168" y="372"/>
                  </a:lnTo>
                  <a:lnTo>
                    <a:pt x="166" y="379"/>
                  </a:lnTo>
                  <a:lnTo>
                    <a:pt x="161" y="381"/>
                  </a:lnTo>
                  <a:lnTo>
                    <a:pt x="157" y="385"/>
                  </a:lnTo>
                  <a:lnTo>
                    <a:pt x="163" y="392"/>
                  </a:lnTo>
                  <a:lnTo>
                    <a:pt x="166" y="399"/>
                  </a:lnTo>
                  <a:lnTo>
                    <a:pt x="159" y="403"/>
                  </a:lnTo>
                  <a:lnTo>
                    <a:pt x="150" y="405"/>
                  </a:lnTo>
                  <a:lnTo>
                    <a:pt x="141" y="410"/>
                  </a:lnTo>
                  <a:lnTo>
                    <a:pt x="135" y="416"/>
                  </a:lnTo>
                  <a:lnTo>
                    <a:pt x="131" y="425"/>
                  </a:lnTo>
                  <a:lnTo>
                    <a:pt x="122" y="438"/>
                  </a:lnTo>
                  <a:lnTo>
                    <a:pt x="115" y="442"/>
                  </a:lnTo>
                  <a:lnTo>
                    <a:pt x="106" y="444"/>
                  </a:lnTo>
                  <a:lnTo>
                    <a:pt x="104" y="446"/>
                  </a:lnTo>
                  <a:lnTo>
                    <a:pt x="100" y="447"/>
                  </a:lnTo>
                  <a:lnTo>
                    <a:pt x="98" y="449"/>
                  </a:lnTo>
                  <a:lnTo>
                    <a:pt x="98" y="453"/>
                  </a:lnTo>
                  <a:lnTo>
                    <a:pt x="98" y="457"/>
                  </a:lnTo>
                  <a:lnTo>
                    <a:pt x="100" y="459"/>
                  </a:lnTo>
                  <a:lnTo>
                    <a:pt x="102" y="460"/>
                  </a:lnTo>
                  <a:lnTo>
                    <a:pt x="106" y="462"/>
                  </a:lnTo>
                  <a:lnTo>
                    <a:pt x="113" y="464"/>
                  </a:lnTo>
                  <a:lnTo>
                    <a:pt x="120" y="466"/>
                  </a:lnTo>
                  <a:lnTo>
                    <a:pt x="122" y="477"/>
                  </a:lnTo>
                  <a:lnTo>
                    <a:pt x="124" y="486"/>
                  </a:lnTo>
                  <a:lnTo>
                    <a:pt x="141" y="484"/>
                  </a:lnTo>
                  <a:lnTo>
                    <a:pt x="155" y="479"/>
                  </a:lnTo>
                  <a:lnTo>
                    <a:pt x="159" y="481"/>
                  </a:lnTo>
                  <a:lnTo>
                    <a:pt x="161" y="483"/>
                  </a:lnTo>
                  <a:lnTo>
                    <a:pt x="166" y="483"/>
                  </a:lnTo>
                  <a:lnTo>
                    <a:pt x="174" y="483"/>
                  </a:lnTo>
                  <a:lnTo>
                    <a:pt x="179" y="486"/>
                  </a:lnTo>
                  <a:lnTo>
                    <a:pt x="187" y="494"/>
                  </a:lnTo>
                  <a:lnTo>
                    <a:pt x="190" y="497"/>
                  </a:lnTo>
                  <a:lnTo>
                    <a:pt x="194" y="501"/>
                  </a:lnTo>
                  <a:lnTo>
                    <a:pt x="198" y="503"/>
                  </a:lnTo>
                  <a:lnTo>
                    <a:pt x="203" y="503"/>
                  </a:lnTo>
                  <a:lnTo>
                    <a:pt x="203" y="507"/>
                  </a:lnTo>
                  <a:lnTo>
                    <a:pt x="203" y="508"/>
                  </a:lnTo>
                  <a:lnTo>
                    <a:pt x="203" y="510"/>
                  </a:lnTo>
                  <a:lnTo>
                    <a:pt x="202" y="512"/>
                  </a:lnTo>
                  <a:lnTo>
                    <a:pt x="196" y="514"/>
                  </a:lnTo>
                  <a:lnTo>
                    <a:pt x="190" y="518"/>
                  </a:lnTo>
                  <a:lnTo>
                    <a:pt x="185" y="527"/>
                  </a:lnTo>
                  <a:lnTo>
                    <a:pt x="176" y="536"/>
                  </a:lnTo>
                  <a:lnTo>
                    <a:pt x="172" y="534"/>
                  </a:lnTo>
                  <a:lnTo>
                    <a:pt x="168" y="529"/>
                  </a:lnTo>
                  <a:lnTo>
                    <a:pt x="166" y="527"/>
                  </a:lnTo>
                  <a:lnTo>
                    <a:pt x="165" y="525"/>
                  </a:lnTo>
                  <a:lnTo>
                    <a:pt x="163" y="525"/>
                  </a:lnTo>
                  <a:lnTo>
                    <a:pt x="159" y="525"/>
                  </a:lnTo>
                  <a:lnTo>
                    <a:pt x="148" y="532"/>
                  </a:lnTo>
                  <a:lnTo>
                    <a:pt x="137" y="536"/>
                  </a:lnTo>
                  <a:lnTo>
                    <a:pt x="131" y="544"/>
                  </a:lnTo>
                  <a:lnTo>
                    <a:pt x="124" y="547"/>
                  </a:lnTo>
                  <a:lnTo>
                    <a:pt x="118" y="544"/>
                  </a:lnTo>
                  <a:lnTo>
                    <a:pt x="115" y="536"/>
                  </a:lnTo>
                  <a:lnTo>
                    <a:pt x="107" y="538"/>
                  </a:lnTo>
                  <a:lnTo>
                    <a:pt x="98" y="540"/>
                  </a:lnTo>
                  <a:lnTo>
                    <a:pt x="93" y="538"/>
                  </a:lnTo>
                  <a:lnTo>
                    <a:pt x="87" y="536"/>
                  </a:lnTo>
                  <a:lnTo>
                    <a:pt x="85" y="549"/>
                  </a:lnTo>
                  <a:lnTo>
                    <a:pt x="83" y="562"/>
                  </a:lnTo>
                  <a:lnTo>
                    <a:pt x="80" y="575"/>
                  </a:lnTo>
                  <a:lnTo>
                    <a:pt x="72" y="586"/>
                  </a:lnTo>
                  <a:lnTo>
                    <a:pt x="63" y="599"/>
                  </a:lnTo>
                  <a:lnTo>
                    <a:pt x="54" y="608"/>
                  </a:lnTo>
                  <a:lnTo>
                    <a:pt x="48" y="614"/>
                  </a:lnTo>
                  <a:lnTo>
                    <a:pt x="41" y="616"/>
                  </a:lnTo>
                  <a:lnTo>
                    <a:pt x="33" y="616"/>
                  </a:lnTo>
                  <a:lnTo>
                    <a:pt x="28" y="614"/>
                  </a:lnTo>
                  <a:lnTo>
                    <a:pt x="24" y="619"/>
                  </a:lnTo>
                  <a:lnTo>
                    <a:pt x="21" y="627"/>
                  </a:lnTo>
                  <a:lnTo>
                    <a:pt x="19" y="634"/>
                  </a:lnTo>
                  <a:lnTo>
                    <a:pt x="17" y="643"/>
                  </a:lnTo>
                  <a:lnTo>
                    <a:pt x="9" y="654"/>
                  </a:lnTo>
                  <a:lnTo>
                    <a:pt x="4" y="662"/>
                  </a:lnTo>
                  <a:lnTo>
                    <a:pt x="0" y="669"/>
                  </a:lnTo>
                  <a:lnTo>
                    <a:pt x="0" y="675"/>
                  </a:lnTo>
                  <a:lnTo>
                    <a:pt x="15" y="684"/>
                  </a:lnTo>
                  <a:lnTo>
                    <a:pt x="32" y="693"/>
                  </a:lnTo>
                  <a:lnTo>
                    <a:pt x="46" y="702"/>
                  </a:lnTo>
                  <a:lnTo>
                    <a:pt x="61" y="714"/>
                  </a:lnTo>
                  <a:lnTo>
                    <a:pt x="67" y="717"/>
                  </a:lnTo>
                  <a:lnTo>
                    <a:pt x="70" y="721"/>
                  </a:lnTo>
                  <a:lnTo>
                    <a:pt x="72" y="725"/>
                  </a:lnTo>
                  <a:lnTo>
                    <a:pt x="74" y="728"/>
                  </a:lnTo>
                  <a:lnTo>
                    <a:pt x="72" y="734"/>
                  </a:lnTo>
                  <a:lnTo>
                    <a:pt x="67" y="743"/>
                  </a:lnTo>
                  <a:lnTo>
                    <a:pt x="63" y="762"/>
                  </a:lnTo>
                  <a:lnTo>
                    <a:pt x="59" y="776"/>
                  </a:lnTo>
                  <a:lnTo>
                    <a:pt x="54" y="786"/>
                  </a:lnTo>
                  <a:lnTo>
                    <a:pt x="50" y="793"/>
                  </a:lnTo>
                  <a:lnTo>
                    <a:pt x="39" y="806"/>
                  </a:lnTo>
                  <a:lnTo>
                    <a:pt x="30" y="821"/>
                  </a:lnTo>
                  <a:lnTo>
                    <a:pt x="24" y="832"/>
                  </a:lnTo>
                  <a:lnTo>
                    <a:pt x="21" y="841"/>
                  </a:lnTo>
                  <a:lnTo>
                    <a:pt x="19" y="848"/>
                  </a:lnTo>
                  <a:lnTo>
                    <a:pt x="19" y="854"/>
                  </a:lnTo>
                  <a:lnTo>
                    <a:pt x="26" y="854"/>
                  </a:lnTo>
                  <a:lnTo>
                    <a:pt x="33" y="856"/>
                  </a:lnTo>
                  <a:lnTo>
                    <a:pt x="32" y="865"/>
                  </a:lnTo>
                  <a:lnTo>
                    <a:pt x="32" y="876"/>
                  </a:lnTo>
                  <a:lnTo>
                    <a:pt x="45" y="885"/>
                  </a:lnTo>
                  <a:lnTo>
                    <a:pt x="54" y="889"/>
                  </a:lnTo>
                  <a:lnTo>
                    <a:pt x="63" y="891"/>
                  </a:lnTo>
                  <a:lnTo>
                    <a:pt x="72" y="891"/>
                  </a:lnTo>
                  <a:lnTo>
                    <a:pt x="87" y="889"/>
                  </a:lnTo>
                  <a:lnTo>
                    <a:pt x="104" y="891"/>
                  </a:lnTo>
                  <a:lnTo>
                    <a:pt x="111" y="898"/>
                  </a:lnTo>
                  <a:lnTo>
                    <a:pt x="118" y="911"/>
                  </a:lnTo>
                  <a:lnTo>
                    <a:pt x="120" y="917"/>
                  </a:lnTo>
                  <a:lnTo>
                    <a:pt x="126" y="922"/>
                  </a:lnTo>
                  <a:lnTo>
                    <a:pt x="130" y="926"/>
                  </a:lnTo>
                  <a:lnTo>
                    <a:pt x="135" y="928"/>
                  </a:lnTo>
                  <a:lnTo>
                    <a:pt x="144" y="926"/>
                  </a:lnTo>
                  <a:lnTo>
                    <a:pt x="152" y="924"/>
                  </a:lnTo>
                  <a:lnTo>
                    <a:pt x="159" y="926"/>
                  </a:lnTo>
                  <a:lnTo>
                    <a:pt x="166" y="930"/>
                  </a:lnTo>
                  <a:lnTo>
                    <a:pt x="168" y="939"/>
                  </a:lnTo>
                  <a:lnTo>
                    <a:pt x="170" y="946"/>
                  </a:lnTo>
                  <a:lnTo>
                    <a:pt x="172" y="952"/>
                  </a:lnTo>
                  <a:lnTo>
                    <a:pt x="176" y="956"/>
                  </a:lnTo>
                  <a:lnTo>
                    <a:pt x="194" y="952"/>
                  </a:lnTo>
                  <a:lnTo>
                    <a:pt x="213" y="946"/>
                  </a:lnTo>
                  <a:lnTo>
                    <a:pt x="222" y="944"/>
                  </a:lnTo>
                  <a:lnTo>
                    <a:pt x="233" y="943"/>
                  </a:lnTo>
                  <a:lnTo>
                    <a:pt x="244" y="943"/>
                  </a:lnTo>
                  <a:lnTo>
                    <a:pt x="257" y="943"/>
                  </a:lnTo>
                  <a:lnTo>
                    <a:pt x="261" y="937"/>
                  </a:lnTo>
                  <a:lnTo>
                    <a:pt x="263" y="932"/>
                  </a:lnTo>
                  <a:lnTo>
                    <a:pt x="266" y="928"/>
                  </a:lnTo>
                  <a:lnTo>
                    <a:pt x="270" y="924"/>
                  </a:lnTo>
                  <a:lnTo>
                    <a:pt x="279" y="919"/>
                  </a:lnTo>
                  <a:lnTo>
                    <a:pt x="287" y="917"/>
                  </a:lnTo>
                  <a:lnTo>
                    <a:pt x="296" y="917"/>
                  </a:lnTo>
                  <a:lnTo>
                    <a:pt x="305" y="917"/>
                  </a:lnTo>
                  <a:lnTo>
                    <a:pt x="312" y="915"/>
                  </a:lnTo>
                  <a:lnTo>
                    <a:pt x="318" y="913"/>
                  </a:lnTo>
                  <a:lnTo>
                    <a:pt x="329" y="906"/>
                  </a:lnTo>
                  <a:lnTo>
                    <a:pt x="338" y="898"/>
                  </a:lnTo>
                  <a:lnTo>
                    <a:pt x="340" y="891"/>
                  </a:lnTo>
                  <a:lnTo>
                    <a:pt x="340" y="884"/>
                  </a:lnTo>
                  <a:lnTo>
                    <a:pt x="340" y="882"/>
                  </a:lnTo>
                  <a:lnTo>
                    <a:pt x="342" y="878"/>
                  </a:lnTo>
                  <a:lnTo>
                    <a:pt x="344" y="876"/>
                  </a:lnTo>
                  <a:lnTo>
                    <a:pt x="347" y="874"/>
                  </a:lnTo>
                  <a:lnTo>
                    <a:pt x="349" y="865"/>
                  </a:lnTo>
                  <a:lnTo>
                    <a:pt x="353" y="856"/>
                  </a:lnTo>
                  <a:lnTo>
                    <a:pt x="355" y="852"/>
                  </a:lnTo>
                  <a:lnTo>
                    <a:pt x="357" y="848"/>
                  </a:lnTo>
                  <a:lnTo>
                    <a:pt x="360" y="847"/>
                  </a:lnTo>
                  <a:lnTo>
                    <a:pt x="364" y="845"/>
                  </a:lnTo>
                  <a:lnTo>
                    <a:pt x="372" y="847"/>
                  </a:lnTo>
                  <a:lnTo>
                    <a:pt x="379" y="848"/>
                  </a:lnTo>
                  <a:lnTo>
                    <a:pt x="381" y="837"/>
                  </a:lnTo>
                  <a:lnTo>
                    <a:pt x="384" y="826"/>
                  </a:lnTo>
                  <a:lnTo>
                    <a:pt x="390" y="824"/>
                  </a:lnTo>
                  <a:lnTo>
                    <a:pt x="397" y="824"/>
                  </a:lnTo>
                  <a:lnTo>
                    <a:pt x="401" y="823"/>
                  </a:lnTo>
                  <a:lnTo>
                    <a:pt x="405" y="821"/>
                  </a:lnTo>
                  <a:lnTo>
                    <a:pt x="408" y="815"/>
                  </a:lnTo>
                  <a:lnTo>
                    <a:pt x="412" y="808"/>
                  </a:lnTo>
                  <a:lnTo>
                    <a:pt x="421" y="802"/>
                  </a:lnTo>
                  <a:lnTo>
                    <a:pt x="425" y="797"/>
                  </a:lnTo>
                  <a:lnTo>
                    <a:pt x="427" y="789"/>
                  </a:lnTo>
                  <a:lnTo>
                    <a:pt x="431" y="780"/>
                  </a:lnTo>
                  <a:lnTo>
                    <a:pt x="432" y="776"/>
                  </a:lnTo>
                  <a:lnTo>
                    <a:pt x="436" y="774"/>
                  </a:lnTo>
                  <a:lnTo>
                    <a:pt x="442" y="773"/>
                  </a:lnTo>
                  <a:lnTo>
                    <a:pt x="449" y="771"/>
                  </a:lnTo>
                  <a:lnTo>
                    <a:pt x="460" y="758"/>
                  </a:lnTo>
                  <a:lnTo>
                    <a:pt x="469" y="749"/>
                  </a:lnTo>
                  <a:lnTo>
                    <a:pt x="488" y="750"/>
                  </a:lnTo>
                  <a:lnTo>
                    <a:pt x="505" y="754"/>
                  </a:lnTo>
                  <a:lnTo>
                    <a:pt x="516" y="749"/>
                  </a:lnTo>
                  <a:lnTo>
                    <a:pt x="525" y="743"/>
                  </a:lnTo>
                  <a:lnTo>
                    <a:pt x="530" y="741"/>
                  </a:lnTo>
                  <a:lnTo>
                    <a:pt x="536" y="741"/>
                  </a:lnTo>
                  <a:lnTo>
                    <a:pt x="541" y="739"/>
                  </a:lnTo>
                  <a:lnTo>
                    <a:pt x="547" y="741"/>
                  </a:lnTo>
                  <a:lnTo>
                    <a:pt x="549" y="752"/>
                  </a:lnTo>
                  <a:lnTo>
                    <a:pt x="545" y="767"/>
                  </a:lnTo>
                  <a:lnTo>
                    <a:pt x="545" y="776"/>
                  </a:lnTo>
                  <a:lnTo>
                    <a:pt x="547" y="786"/>
                  </a:lnTo>
                  <a:lnTo>
                    <a:pt x="551" y="797"/>
                  </a:lnTo>
                  <a:lnTo>
                    <a:pt x="556" y="810"/>
                  </a:lnTo>
                  <a:lnTo>
                    <a:pt x="560" y="811"/>
                  </a:lnTo>
                  <a:lnTo>
                    <a:pt x="562" y="811"/>
                  </a:lnTo>
                  <a:lnTo>
                    <a:pt x="565" y="810"/>
                  </a:lnTo>
                  <a:lnTo>
                    <a:pt x="569" y="808"/>
                  </a:lnTo>
                  <a:lnTo>
                    <a:pt x="575" y="800"/>
                  </a:lnTo>
                  <a:lnTo>
                    <a:pt x="580" y="795"/>
                  </a:lnTo>
                  <a:lnTo>
                    <a:pt x="601" y="786"/>
                  </a:lnTo>
                  <a:lnTo>
                    <a:pt x="621" y="778"/>
                  </a:lnTo>
                  <a:lnTo>
                    <a:pt x="643" y="782"/>
                  </a:lnTo>
                  <a:lnTo>
                    <a:pt x="665" y="787"/>
                  </a:lnTo>
                  <a:lnTo>
                    <a:pt x="669" y="782"/>
                  </a:lnTo>
                  <a:lnTo>
                    <a:pt x="671" y="778"/>
                  </a:lnTo>
                  <a:lnTo>
                    <a:pt x="673" y="774"/>
                  </a:lnTo>
                  <a:lnTo>
                    <a:pt x="673" y="769"/>
                  </a:lnTo>
                  <a:lnTo>
                    <a:pt x="674" y="762"/>
                  </a:lnTo>
                  <a:lnTo>
                    <a:pt x="674" y="754"/>
                  </a:lnTo>
                  <a:lnTo>
                    <a:pt x="674" y="745"/>
                  </a:lnTo>
                  <a:lnTo>
                    <a:pt x="676" y="738"/>
                  </a:lnTo>
                  <a:lnTo>
                    <a:pt x="680" y="732"/>
                  </a:lnTo>
                  <a:lnTo>
                    <a:pt x="684" y="726"/>
                  </a:lnTo>
                  <a:lnTo>
                    <a:pt x="687" y="712"/>
                  </a:lnTo>
                  <a:lnTo>
                    <a:pt x="697" y="697"/>
                  </a:lnTo>
                  <a:lnTo>
                    <a:pt x="695" y="686"/>
                  </a:lnTo>
                  <a:lnTo>
                    <a:pt x="693" y="677"/>
                  </a:lnTo>
                  <a:lnTo>
                    <a:pt x="693" y="669"/>
                  </a:lnTo>
                  <a:lnTo>
                    <a:pt x="695" y="662"/>
                  </a:lnTo>
                  <a:lnTo>
                    <a:pt x="704" y="654"/>
                  </a:lnTo>
                  <a:lnTo>
                    <a:pt x="713" y="645"/>
                  </a:lnTo>
                  <a:lnTo>
                    <a:pt x="717" y="647"/>
                  </a:lnTo>
                  <a:lnTo>
                    <a:pt x="719" y="649"/>
                  </a:lnTo>
                  <a:lnTo>
                    <a:pt x="721" y="654"/>
                  </a:lnTo>
                  <a:lnTo>
                    <a:pt x="722" y="658"/>
                  </a:lnTo>
                  <a:lnTo>
                    <a:pt x="732" y="658"/>
                  </a:lnTo>
                  <a:lnTo>
                    <a:pt x="747" y="656"/>
                  </a:lnTo>
                  <a:lnTo>
                    <a:pt x="756" y="660"/>
                  </a:lnTo>
                  <a:lnTo>
                    <a:pt x="765" y="664"/>
                  </a:lnTo>
                  <a:close/>
                  <a:moveTo>
                    <a:pt x="100" y="494"/>
                  </a:moveTo>
                  <a:lnTo>
                    <a:pt x="106" y="499"/>
                  </a:lnTo>
                  <a:lnTo>
                    <a:pt x="111" y="505"/>
                  </a:lnTo>
                  <a:lnTo>
                    <a:pt x="113" y="510"/>
                  </a:lnTo>
                  <a:lnTo>
                    <a:pt x="113" y="519"/>
                  </a:lnTo>
                  <a:lnTo>
                    <a:pt x="102" y="523"/>
                  </a:lnTo>
                  <a:lnTo>
                    <a:pt x="91" y="525"/>
                  </a:lnTo>
                  <a:lnTo>
                    <a:pt x="80" y="525"/>
                  </a:lnTo>
                  <a:lnTo>
                    <a:pt x="69" y="523"/>
                  </a:lnTo>
                  <a:lnTo>
                    <a:pt x="67" y="519"/>
                  </a:lnTo>
                  <a:lnTo>
                    <a:pt x="67" y="518"/>
                  </a:lnTo>
                  <a:lnTo>
                    <a:pt x="69" y="516"/>
                  </a:lnTo>
                  <a:lnTo>
                    <a:pt x="70" y="514"/>
                  </a:lnTo>
                  <a:lnTo>
                    <a:pt x="76" y="512"/>
                  </a:lnTo>
                  <a:lnTo>
                    <a:pt x="83" y="510"/>
                  </a:lnTo>
                  <a:lnTo>
                    <a:pt x="85" y="505"/>
                  </a:lnTo>
                  <a:lnTo>
                    <a:pt x="93" y="499"/>
                  </a:lnTo>
                  <a:lnTo>
                    <a:pt x="98" y="494"/>
                  </a:lnTo>
                  <a:lnTo>
                    <a:pt x="100" y="49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1" name="Freeform 17"/>
            <p:cNvSpPr>
              <a:spLocks/>
            </p:cNvSpPr>
            <p:nvPr/>
          </p:nvSpPr>
          <p:spPr bwMode="auto">
            <a:xfrm>
              <a:off x="6017970" y="1901680"/>
              <a:ext cx="313075" cy="393382"/>
            </a:xfrm>
            <a:custGeom>
              <a:avLst/>
              <a:gdLst>
                <a:gd name="T0" fmla="*/ 305 w 600"/>
                <a:gd name="T1" fmla="*/ 773 h 773"/>
                <a:gd name="T2" fmla="*/ 323 w 600"/>
                <a:gd name="T3" fmla="*/ 747 h 773"/>
                <a:gd name="T4" fmla="*/ 355 w 600"/>
                <a:gd name="T5" fmla="*/ 736 h 773"/>
                <a:gd name="T6" fmla="*/ 345 w 600"/>
                <a:gd name="T7" fmla="*/ 710 h 773"/>
                <a:gd name="T8" fmla="*/ 357 w 600"/>
                <a:gd name="T9" fmla="*/ 678 h 773"/>
                <a:gd name="T10" fmla="*/ 401 w 600"/>
                <a:gd name="T11" fmla="*/ 664 h 773"/>
                <a:gd name="T12" fmla="*/ 418 w 600"/>
                <a:gd name="T13" fmla="*/ 645 h 773"/>
                <a:gd name="T14" fmla="*/ 453 w 600"/>
                <a:gd name="T15" fmla="*/ 634 h 773"/>
                <a:gd name="T16" fmla="*/ 440 w 600"/>
                <a:gd name="T17" fmla="*/ 665 h 773"/>
                <a:gd name="T18" fmla="*/ 464 w 600"/>
                <a:gd name="T19" fmla="*/ 678 h 773"/>
                <a:gd name="T20" fmla="*/ 497 w 600"/>
                <a:gd name="T21" fmla="*/ 625 h 773"/>
                <a:gd name="T22" fmla="*/ 538 w 600"/>
                <a:gd name="T23" fmla="*/ 573 h 773"/>
                <a:gd name="T24" fmla="*/ 521 w 600"/>
                <a:gd name="T25" fmla="*/ 551 h 773"/>
                <a:gd name="T26" fmla="*/ 499 w 600"/>
                <a:gd name="T27" fmla="*/ 573 h 773"/>
                <a:gd name="T28" fmla="*/ 469 w 600"/>
                <a:gd name="T29" fmla="*/ 497 h 773"/>
                <a:gd name="T30" fmla="*/ 458 w 600"/>
                <a:gd name="T31" fmla="*/ 412 h 773"/>
                <a:gd name="T32" fmla="*/ 447 w 600"/>
                <a:gd name="T33" fmla="*/ 357 h 773"/>
                <a:gd name="T34" fmla="*/ 464 w 600"/>
                <a:gd name="T35" fmla="*/ 322 h 773"/>
                <a:gd name="T36" fmla="*/ 499 w 600"/>
                <a:gd name="T37" fmla="*/ 283 h 773"/>
                <a:gd name="T38" fmla="*/ 512 w 600"/>
                <a:gd name="T39" fmla="*/ 250 h 773"/>
                <a:gd name="T40" fmla="*/ 532 w 600"/>
                <a:gd name="T41" fmla="*/ 268 h 773"/>
                <a:gd name="T42" fmla="*/ 558 w 600"/>
                <a:gd name="T43" fmla="*/ 305 h 773"/>
                <a:gd name="T44" fmla="*/ 589 w 600"/>
                <a:gd name="T45" fmla="*/ 320 h 773"/>
                <a:gd name="T46" fmla="*/ 595 w 600"/>
                <a:gd name="T47" fmla="*/ 281 h 773"/>
                <a:gd name="T48" fmla="*/ 582 w 600"/>
                <a:gd name="T49" fmla="*/ 196 h 773"/>
                <a:gd name="T50" fmla="*/ 552 w 600"/>
                <a:gd name="T51" fmla="*/ 167 h 773"/>
                <a:gd name="T52" fmla="*/ 502 w 600"/>
                <a:gd name="T53" fmla="*/ 130 h 773"/>
                <a:gd name="T54" fmla="*/ 477 w 600"/>
                <a:gd name="T55" fmla="*/ 95 h 773"/>
                <a:gd name="T56" fmla="*/ 454 w 600"/>
                <a:gd name="T57" fmla="*/ 72 h 773"/>
                <a:gd name="T58" fmla="*/ 419 w 600"/>
                <a:gd name="T59" fmla="*/ 46 h 773"/>
                <a:gd name="T60" fmla="*/ 406 w 600"/>
                <a:gd name="T61" fmla="*/ 26 h 773"/>
                <a:gd name="T62" fmla="*/ 388 w 600"/>
                <a:gd name="T63" fmla="*/ 2 h 773"/>
                <a:gd name="T64" fmla="*/ 375 w 600"/>
                <a:gd name="T65" fmla="*/ 32 h 773"/>
                <a:gd name="T66" fmla="*/ 325 w 600"/>
                <a:gd name="T67" fmla="*/ 45 h 773"/>
                <a:gd name="T68" fmla="*/ 290 w 600"/>
                <a:gd name="T69" fmla="*/ 69 h 773"/>
                <a:gd name="T70" fmla="*/ 218 w 600"/>
                <a:gd name="T71" fmla="*/ 78 h 773"/>
                <a:gd name="T72" fmla="*/ 190 w 600"/>
                <a:gd name="T73" fmla="*/ 50 h 773"/>
                <a:gd name="T74" fmla="*/ 177 w 600"/>
                <a:gd name="T75" fmla="*/ 89 h 773"/>
                <a:gd name="T76" fmla="*/ 152 w 600"/>
                <a:gd name="T77" fmla="*/ 120 h 773"/>
                <a:gd name="T78" fmla="*/ 111 w 600"/>
                <a:gd name="T79" fmla="*/ 189 h 773"/>
                <a:gd name="T80" fmla="*/ 100 w 600"/>
                <a:gd name="T81" fmla="*/ 204 h 773"/>
                <a:gd name="T82" fmla="*/ 103 w 600"/>
                <a:gd name="T83" fmla="*/ 224 h 773"/>
                <a:gd name="T84" fmla="*/ 124 w 600"/>
                <a:gd name="T85" fmla="*/ 244 h 773"/>
                <a:gd name="T86" fmla="*/ 127 w 600"/>
                <a:gd name="T87" fmla="*/ 289 h 773"/>
                <a:gd name="T88" fmla="*/ 144 w 600"/>
                <a:gd name="T89" fmla="*/ 335 h 773"/>
                <a:gd name="T90" fmla="*/ 116 w 600"/>
                <a:gd name="T91" fmla="*/ 377 h 773"/>
                <a:gd name="T92" fmla="*/ 76 w 600"/>
                <a:gd name="T93" fmla="*/ 401 h 773"/>
                <a:gd name="T94" fmla="*/ 46 w 600"/>
                <a:gd name="T95" fmla="*/ 414 h 773"/>
                <a:gd name="T96" fmla="*/ 55 w 600"/>
                <a:gd name="T97" fmla="*/ 436 h 773"/>
                <a:gd name="T98" fmla="*/ 50 w 600"/>
                <a:gd name="T99" fmla="*/ 460 h 773"/>
                <a:gd name="T100" fmla="*/ 24 w 600"/>
                <a:gd name="T101" fmla="*/ 471 h 773"/>
                <a:gd name="T102" fmla="*/ 6 w 600"/>
                <a:gd name="T103" fmla="*/ 490 h 773"/>
                <a:gd name="T104" fmla="*/ 22 w 600"/>
                <a:gd name="T105" fmla="*/ 529 h 773"/>
                <a:gd name="T106" fmla="*/ 61 w 600"/>
                <a:gd name="T107" fmla="*/ 612 h 773"/>
                <a:gd name="T108" fmla="*/ 79 w 600"/>
                <a:gd name="T109" fmla="*/ 654 h 773"/>
                <a:gd name="T110" fmla="*/ 137 w 600"/>
                <a:gd name="T111" fmla="*/ 632 h 773"/>
                <a:gd name="T112" fmla="*/ 188 w 600"/>
                <a:gd name="T113" fmla="*/ 677 h 773"/>
                <a:gd name="T114" fmla="*/ 183 w 600"/>
                <a:gd name="T115" fmla="*/ 743 h 773"/>
                <a:gd name="T116" fmla="*/ 212 w 600"/>
                <a:gd name="T117" fmla="*/ 741 h 773"/>
                <a:gd name="T118" fmla="*/ 272 w 600"/>
                <a:gd name="T119" fmla="*/ 749 h 77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773"/>
                <a:gd name="T182" fmla="*/ 600 w 600"/>
                <a:gd name="T183" fmla="*/ 773 h 77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773">
                  <a:moveTo>
                    <a:pt x="285" y="773"/>
                  </a:moveTo>
                  <a:lnTo>
                    <a:pt x="290" y="771"/>
                  </a:lnTo>
                  <a:lnTo>
                    <a:pt x="297" y="769"/>
                  </a:lnTo>
                  <a:lnTo>
                    <a:pt x="299" y="771"/>
                  </a:lnTo>
                  <a:lnTo>
                    <a:pt x="303" y="773"/>
                  </a:lnTo>
                  <a:lnTo>
                    <a:pt x="305" y="773"/>
                  </a:lnTo>
                  <a:lnTo>
                    <a:pt x="305" y="771"/>
                  </a:lnTo>
                  <a:lnTo>
                    <a:pt x="307" y="769"/>
                  </a:lnTo>
                  <a:lnTo>
                    <a:pt x="307" y="763"/>
                  </a:lnTo>
                  <a:lnTo>
                    <a:pt x="310" y="758"/>
                  </a:lnTo>
                  <a:lnTo>
                    <a:pt x="320" y="754"/>
                  </a:lnTo>
                  <a:lnTo>
                    <a:pt x="323" y="747"/>
                  </a:lnTo>
                  <a:lnTo>
                    <a:pt x="327" y="741"/>
                  </a:lnTo>
                  <a:lnTo>
                    <a:pt x="333" y="741"/>
                  </a:lnTo>
                  <a:lnTo>
                    <a:pt x="340" y="745"/>
                  </a:lnTo>
                  <a:lnTo>
                    <a:pt x="344" y="745"/>
                  </a:lnTo>
                  <a:lnTo>
                    <a:pt x="349" y="741"/>
                  </a:lnTo>
                  <a:lnTo>
                    <a:pt x="355" y="736"/>
                  </a:lnTo>
                  <a:lnTo>
                    <a:pt x="358" y="730"/>
                  </a:lnTo>
                  <a:lnTo>
                    <a:pt x="344" y="726"/>
                  </a:lnTo>
                  <a:lnTo>
                    <a:pt x="338" y="723"/>
                  </a:lnTo>
                  <a:lnTo>
                    <a:pt x="345" y="717"/>
                  </a:lnTo>
                  <a:lnTo>
                    <a:pt x="347" y="712"/>
                  </a:lnTo>
                  <a:lnTo>
                    <a:pt x="345" y="710"/>
                  </a:lnTo>
                  <a:lnTo>
                    <a:pt x="338" y="708"/>
                  </a:lnTo>
                  <a:lnTo>
                    <a:pt x="340" y="699"/>
                  </a:lnTo>
                  <a:lnTo>
                    <a:pt x="347" y="688"/>
                  </a:lnTo>
                  <a:lnTo>
                    <a:pt x="349" y="682"/>
                  </a:lnTo>
                  <a:lnTo>
                    <a:pt x="351" y="678"/>
                  </a:lnTo>
                  <a:lnTo>
                    <a:pt x="357" y="678"/>
                  </a:lnTo>
                  <a:lnTo>
                    <a:pt x="364" y="678"/>
                  </a:lnTo>
                  <a:lnTo>
                    <a:pt x="373" y="671"/>
                  </a:lnTo>
                  <a:lnTo>
                    <a:pt x="382" y="664"/>
                  </a:lnTo>
                  <a:lnTo>
                    <a:pt x="390" y="667"/>
                  </a:lnTo>
                  <a:lnTo>
                    <a:pt x="401" y="667"/>
                  </a:lnTo>
                  <a:lnTo>
                    <a:pt x="401" y="664"/>
                  </a:lnTo>
                  <a:lnTo>
                    <a:pt x="399" y="662"/>
                  </a:lnTo>
                  <a:lnTo>
                    <a:pt x="399" y="656"/>
                  </a:lnTo>
                  <a:lnTo>
                    <a:pt x="405" y="649"/>
                  </a:lnTo>
                  <a:lnTo>
                    <a:pt x="410" y="647"/>
                  </a:lnTo>
                  <a:lnTo>
                    <a:pt x="414" y="645"/>
                  </a:lnTo>
                  <a:lnTo>
                    <a:pt x="418" y="645"/>
                  </a:lnTo>
                  <a:lnTo>
                    <a:pt x="421" y="649"/>
                  </a:lnTo>
                  <a:lnTo>
                    <a:pt x="429" y="653"/>
                  </a:lnTo>
                  <a:lnTo>
                    <a:pt x="432" y="654"/>
                  </a:lnTo>
                  <a:lnTo>
                    <a:pt x="442" y="645"/>
                  </a:lnTo>
                  <a:lnTo>
                    <a:pt x="449" y="636"/>
                  </a:lnTo>
                  <a:lnTo>
                    <a:pt x="453" y="634"/>
                  </a:lnTo>
                  <a:lnTo>
                    <a:pt x="458" y="636"/>
                  </a:lnTo>
                  <a:lnTo>
                    <a:pt x="462" y="638"/>
                  </a:lnTo>
                  <a:lnTo>
                    <a:pt x="464" y="641"/>
                  </a:lnTo>
                  <a:lnTo>
                    <a:pt x="456" y="651"/>
                  </a:lnTo>
                  <a:lnTo>
                    <a:pt x="449" y="660"/>
                  </a:lnTo>
                  <a:lnTo>
                    <a:pt x="440" y="665"/>
                  </a:lnTo>
                  <a:lnTo>
                    <a:pt x="430" y="671"/>
                  </a:lnTo>
                  <a:lnTo>
                    <a:pt x="436" y="677"/>
                  </a:lnTo>
                  <a:lnTo>
                    <a:pt x="442" y="680"/>
                  </a:lnTo>
                  <a:lnTo>
                    <a:pt x="447" y="682"/>
                  </a:lnTo>
                  <a:lnTo>
                    <a:pt x="453" y="682"/>
                  </a:lnTo>
                  <a:lnTo>
                    <a:pt x="464" y="678"/>
                  </a:lnTo>
                  <a:lnTo>
                    <a:pt x="473" y="675"/>
                  </a:lnTo>
                  <a:lnTo>
                    <a:pt x="475" y="656"/>
                  </a:lnTo>
                  <a:lnTo>
                    <a:pt x="478" y="638"/>
                  </a:lnTo>
                  <a:lnTo>
                    <a:pt x="486" y="643"/>
                  </a:lnTo>
                  <a:lnTo>
                    <a:pt x="493" y="647"/>
                  </a:lnTo>
                  <a:lnTo>
                    <a:pt x="497" y="625"/>
                  </a:lnTo>
                  <a:lnTo>
                    <a:pt x="502" y="603"/>
                  </a:lnTo>
                  <a:lnTo>
                    <a:pt x="515" y="597"/>
                  </a:lnTo>
                  <a:lnTo>
                    <a:pt x="528" y="593"/>
                  </a:lnTo>
                  <a:lnTo>
                    <a:pt x="527" y="584"/>
                  </a:lnTo>
                  <a:lnTo>
                    <a:pt x="527" y="577"/>
                  </a:lnTo>
                  <a:lnTo>
                    <a:pt x="538" y="573"/>
                  </a:lnTo>
                  <a:lnTo>
                    <a:pt x="549" y="564"/>
                  </a:lnTo>
                  <a:lnTo>
                    <a:pt x="547" y="560"/>
                  </a:lnTo>
                  <a:lnTo>
                    <a:pt x="543" y="556"/>
                  </a:lnTo>
                  <a:lnTo>
                    <a:pt x="536" y="555"/>
                  </a:lnTo>
                  <a:lnTo>
                    <a:pt x="528" y="553"/>
                  </a:lnTo>
                  <a:lnTo>
                    <a:pt x="521" y="551"/>
                  </a:lnTo>
                  <a:lnTo>
                    <a:pt x="517" y="553"/>
                  </a:lnTo>
                  <a:lnTo>
                    <a:pt x="514" y="556"/>
                  </a:lnTo>
                  <a:lnTo>
                    <a:pt x="512" y="560"/>
                  </a:lnTo>
                  <a:lnTo>
                    <a:pt x="508" y="566"/>
                  </a:lnTo>
                  <a:lnTo>
                    <a:pt x="504" y="569"/>
                  </a:lnTo>
                  <a:lnTo>
                    <a:pt x="499" y="573"/>
                  </a:lnTo>
                  <a:lnTo>
                    <a:pt x="493" y="573"/>
                  </a:lnTo>
                  <a:lnTo>
                    <a:pt x="486" y="555"/>
                  </a:lnTo>
                  <a:lnTo>
                    <a:pt x="477" y="527"/>
                  </a:lnTo>
                  <a:lnTo>
                    <a:pt x="471" y="518"/>
                  </a:lnTo>
                  <a:lnTo>
                    <a:pt x="469" y="507"/>
                  </a:lnTo>
                  <a:lnTo>
                    <a:pt x="469" y="497"/>
                  </a:lnTo>
                  <a:lnTo>
                    <a:pt x="469" y="488"/>
                  </a:lnTo>
                  <a:lnTo>
                    <a:pt x="469" y="470"/>
                  </a:lnTo>
                  <a:lnTo>
                    <a:pt x="471" y="449"/>
                  </a:lnTo>
                  <a:lnTo>
                    <a:pt x="464" y="436"/>
                  </a:lnTo>
                  <a:lnTo>
                    <a:pt x="458" y="425"/>
                  </a:lnTo>
                  <a:lnTo>
                    <a:pt x="458" y="412"/>
                  </a:lnTo>
                  <a:lnTo>
                    <a:pt x="458" y="399"/>
                  </a:lnTo>
                  <a:lnTo>
                    <a:pt x="447" y="386"/>
                  </a:lnTo>
                  <a:lnTo>
                    <a:pt x="440" y="374"/>
                  </a:lnTo>
                  <a:lnTo>
                    <a:pt x="442" y="368"/>
                  </a:lnTo>
                  <a:lnTo>
                    <a:pt x="443" y="362"/>
                  </a:lnTo>
                  <a:lnTo>
                    <a:pt x="447" y="357"/>
                  </a:lnTo>
                  <a:lnTo>
                    <a:pt x="451" y="353"/>
                  </a:lnTo>
                  <a:lnTo>
                    <a:pt x="451" y="344"/>
                  </a:lnTo>
                  <a:lnTo>
                    <a:pt x="453" y="338"/>
                  </a:lnTo>
                  <a:lnTo>
                    <a:pt x="454" y="333"/>
                  </a:lnTo>
                  <a:lnTo>
                    <a:pt x="456" y="327"/>
                  </a:lnTo>
                  <a:lnTo>
                    <a:pt x="464" y="322"/>
                  </a:lnTo>
                  <a:lnTo>
                    <a:pt x="475" y="314"/>
                  </a:lnTo>
                  <a:lnTo>
                    <a:pt x="475" y="305"/>
                  </a:lnTo>
                  <a:lnTo>
                    <a:pt x="477" y="298"/>
                  </a:lnTo>
                  <a:lnTo>
                    <a:pt x="478" y="289"/>
                  </a:lnTo>
                  <a:lnTo>
                    <a:pt x="482" y="281"/>
                  </a:lnTo>
                  <a:lnTo>
                    <a:pt x="499" y="283"/>
                  </a:lnTo>
                  <a:lnTo>
                    <a:pt x="510" y="283"/>
                  </a:lnTo>
                  <a:lnTo>
                    <a:pt x="510" y="276"/>
                  </a:lnTo>
                  <a:lnTo>
                    <a:pt x="510" y="265"/>
                  </a:lnTo>
                  <a:lnTo>
                    <a:pt x="510" y="259"/>
                  </a:lnTo>
                  <a:lnTo>
                    <a:pt x="510" y="253"/>
                  </a:lnTo>
                  <a:lnTo>
                    <a:pt x="512" y="250"/>
                  </a:lnTo>
                  <a:lnTo>
                    <a:pt x="514" y="250"/>
                  </a:lnTo>
                  <a:lnTo>
                    <a:pt x="517" y="252"/>
                  </a:lnTo>
                  <a:lnTo>
                    <a:pt x="521" y="259"/>
                  </a:lnTo>
                  <a:lnTo>
                    <a:pt x="525" y="263"/>
                  </a:lnTo>
                  <a:lnTo>
                    <a:pt x="528" y="266"/>
                  </a:lnTo>
                  <a:lnTo>
                    <a:pt x="532" y="268"/>
                  </a:lnTo>
                  <a:lnTo>
                    <a:pt x="539" y="270"/>
                  </a:lnTo>
                  <a:lnTo>
                    <a:pt x="541" y="283"/>
                  </a:lnTo>
                  <a:lnTo>
                    <a:pt x="543" y="294"/>
                  </a:lnTo>
                  <a:lnTo>
                    <a:pt x="551" y="298"/>
                  </a:lnTo>
                  <a:lnTo>
                    <a:pt x="554" y="300"/>
                  </a:lnTo>
                  <a:lnTo>
                    <a:pt x="558" y="305"/>
                  </a:lnTo>
                  <a:lnTo>
                    <a:pt x="560" y="313"/>
                  </a:lnTo>
                  <a:lnTo>
                    <a:pt x="567" y="303"/>
                  </a:lnTo>
                  <a:lnTo>
                    <a:pt x="576" y="296"/>
                  </a:lnTo>
                  <a:lnTo>
                    <a:pt x="582" y="307"/>
                  </a:lnTo>
                  <a:lnTo>
                    <a:pt x="586" y="318"/>
                  </a:lnTo>
                  <a:lnTo>
                    <a:pt x="589" y="320"/>
                  </a:lnTo>
                  <a:lnTo>
                    <a:pt x="595" y="318"/>
                  </a:lnTo>
                  <a:lnTo>
                    <a:pt x="595" y="305"/>
                  </a:lnTo>
                  <a:lnTo>
                    <a:pt x="595" y="300"/>
                  </a:lnTo>
                  <a:lnTo>
                    <a:pt x="597" y="296"/>
                  </a:lnTo>
                  <a:lnTo>
                    <a:pt x="600" y="290"/>
                  </a:lnTo>
                  <a:lnTo>
                    <a:pt x="595" y="281"/>
                  </a:lnTo>
                  <a:lnTo>
                    <a:pt x="586" y="263"/>
                  </a:lnTo>
                  <a:lnTo>
                    <a:pt x="582" y="246"/>
                  </a:lnTo>
                  <a:lnTo>
                    <a:pt x="580" y="231"/>
                  </a:lnTo>
                  <a:lnTo>
                    <a:pt x="580" y="215"/>
                  </a:lnTo>
                  <a:lnTo>
                    <a:pt x="582" y="198"/>
                  </a:lnTo>
                  <a:lnTo>
                    <a:pt x="582" y="196"/>
                  </a:lnTo>
                  <a:lnTo>
                    <a:pt x="582" y="194"/>
                  </a:lnTo>
                  <a:lnTo>
                    <a:pt x="569" y="185"/>
                  </a:lnTo>
                  <a:lnTo>
                    <a:pt x="563" y="180"/>
                  </a:lnTo>
                  <a:lnTo>
                    <a:pt x="562" y="176"/>
                  </a:lnTo>
                  <a:lnTo>
                    <a:pt x="562" y="172"/>
                  </a:lnTo>
                  <a:lnTo>
                    <a:pt x="552" y="167"/>
                  </a:lnTo>
                  <a:lnTo>
                    <a:pt x="539" y="159"/>
                  </a:lnTo>
                  <a:lnTo>
                    <a:pt x="538" y="152"/>
                  </a:lnTo>
                  <a:lnTo>
                    <a:pt x="534" y="144"/>
                  </a:lnTo>
                  <a:lnTo>
                    <a:pt x="530" y="135"/>
                  </a:lnTo>
                  <a:lnTo>
                    <a:pt x="525" y="130"/>
                  </a:lnTo>
                  <a:lnTo>
                    <a:pt x="502" y="130"/>
                  </a:lnTo>
                  <a:lnTo>
                    <a:pt x="484" y="128"/>
                  </a:lnTo>
                  <a:lnTo>
                    <a:pt x="488" y="117"/>
                  </a:lnTo>
                  <a:lnTo>
                    <a:pt x="491" y="107"/>
                  </a:lnTo>
                  <a:lnTo>
                    <a:pt x="488" y="102"/>
                  </a:lnTo>
                  <a:lnTo>
                    <a:pt x="482" y="98"/>
                  </a:lnTo>
                  <a:lnTo>
                    <a:pt x="477" y="95"/>
                  </a:lnTo>
                  <a:lnTo>
                    <a:pt x="473" y="93"/>
                  </a:lnTo>
                  <a:lnTo>
                    <a:pt x="467" y="87"/>
                  </a:lnTo>
                  <a:lnTo>
                    <a:pt x="467" y="83"/>
                  </a:lnTo>
                  <a:lnTo>
                    <a:pt x="467" y="80"/>
                  </a:lnTo>
                  <a:lnTo>
                    <a:pt x="466" y="76"/>
                  </a:lnTo>
                  <a:lnTo>
                    <a:pt x="454" y="72"/>
                  </a:lnTo>
                  <a:lnTo>
                    <a:pt x="443" y="69"/>
                  </a:lnTo>
                  <a:lnTo>
                    <a:pt x="432" y="65"/>
                  </a:lnTo>
                  <a:lnTo>
                    <a:pt x="421" y="56"/>
                  </a:lnTo>
                  <a:lnTo>
                    <a:pt x="419" y="54"/>
                  </a:lnTo>
                  <a:lnTo>
                    <a:pt x="419" y="50"/>
                  </a:lnTo>
                  <a:lnTo>
                    <a:pt x="419" y="46"/>
                  </a:lnTo>
                  <a:lnTo>
                    <a:pt x="421" y="43"/>
                  </a:lnTo>
                  <a:lnTo>
                    <a:pt x="421" y="39"/>
                  </a:lnTo>
                  <a:lnTo>
                    <a:pt x="421" y="35"/>
                  </a:lnTo>
                  <a:lnTo>
                    <a:pt x="419" y="32"/>
                  </a:lnTo>
                  <a:lnTo>
                    <a:pt x="414" y="28"/>
                  </a:lnTo>
                  <a:lnTo>
                    <a:pt x="406" y="26"/>
                  </a:lnTo>
                  <a:lnTo>
                    <a:pt x="401" y="24"/>
                  </a:lnTo>
                  <a:lnTo>
                    <a:pt x="397" y="21"/>
                  </a:lnTo>
                  <a:lnTo>
                    <a:pt x="393" y="19"/>
                  </a:lnTo>
                  <a:lnTo>
                    <a:pt x="392" y="10"/>
                  </a:lnTo>
                  <a:lnTo>
                    <a:pt x="392" y="0"/>
                  </a:lnTo>
                  <a:lnTo>
                    <a:pt x="388" y="2"/>
                  </a:lnTo>
                  <a:lnTo>
                    <a:pt x="386" y="6"/>
                  </a:lnTo>
                  <a:lnTo>
                    <a:pt x="386" y="8"/>
                  </a:lnTo>
                  <a:lnTo>
                    <a:pt x="386" y="11"/>
                  </a:lnTo>
                  <a:lnTo>
                    <a:pt x="386" y="19"/>
                  </a:lnTo>
                  <a:lnTo>
                    <a:pt x="384" y="24"/>
                  </a:lnTo>
                  <a:lnTo>
                    <a:pt x="375" y="32"/>
                  </a:lnTo>
                  <a:lnTo>
                    <a:pt x="364" y="39"/>
                  </a:lnTo>
                  <a:lnTo>
                    <a:pt x="358" y="41"/>
                  </a:lnTo>
                  <a:lnTo>
                    <a:pt x="351" y="43"/>
                  </a:lnTo>
                  <a:lnTo>
                    <a:pt x="342" y="43"/>
                  </a:lnTo>
                  <a:lnTo>
                    <a:pt x="333" y="43"/>
                  </a:lnTo>
                  <a:lnTo>
                    <a:pt x="325" y="45"/>
                  </a:lnTo>
                  <a:lnTo>
                    <a:pt x="316" y="50"/>
                  </a:lnTo>
                  <a:lnTo>
                    <a:pt x="312" y="54"/>
                  </a:lnTo>
                  <a:lnTo>
                    <a:pt x="309" y="58"/>
                  </a:lnTo>
                  <a:lnTo>
                    <a:pt x="307" y="63"/>
                  </a:lnTo>
                  <a:lnTo>
                    <a:pt x="303" y="69"/>
                  </a:lnTo>
                  <a:lnTo>
                    <a:pt x="290" y="69"/>
                  </a:lnTo>
                  <a:lnTo>
                    <a:pt x="279" y="69"/>
                  </a:lnTo>
                  <a:lnTo>
                    <a:pt x="268" y="70"/>
                  </a:lnTo>
                  <a:lnTo>
                    <a:pt x="259" y="72"/>
                  </a:lnTo>
                  <a:lnTo>
                    <a:pt x="240" y="78"/>
                  </a:lnTo>
                  <a:lnTo>
                    <a:pt x="222" y="82"/>
                  </a:lnTo>
                  <a:lnTo>
                    <a:pt x="218" y="78"/>
                  </a:lnTo>
                  <a:lnTo>
                    <a:pt x="216" y="72"/>
                  </a:lnTo>
                  <a:lnTo>
                    <a:pt x="214" y="65"/>
                  </a:lnTo>
                  <a:lnTo>
                    <a:pt x="212" y="56"/>
                  </a:lnTo>
                  <a:lnTo>
                    <a:pt x="207" y="52"/>
                  </a:lnTo>
                  <a:lnTo>
                    <a:pt x="200" y="50"/>
                  </a:lnTo>
                  <a:lnTo>
                    <a:pt x="190" y="50"/>
                  </a:lnTo>
                  <a:lnTo>
                    <a:pt x="183" y="54"/>
                  </a:lnTo>
                  <a:lnTo>
                    <a:pt x="185" y="63"/>
                  </a:lnTo>
                  <a:lnTo>
                    <a:pt x="187" y="72"/>
                  </a:lnTo>
                  <a:lnTo>
                    <a:pt x="181" y="78"/>
                  </a:lnTo>
                  <a:lnTo>
                    <a:pt x="177" y="83"/>
                  </a:lnTo>
                  <a:lnTo>
                    <a:pt x="177" y="89"/>
                  </a:lnTo>
                  <a:lnTo>
                    <a:pt x="177" y="93"/>
                  </a:lnTo>
                  <a:lnTo>
                    <a:pt x="177" y="104"/>
                  </a:lnTo>
                  <a:lnTo>
                    <a:pt x="177" y="111"/>
                  </a:lnTo>
                  <a:lnTo>
                    <a:pt x="164" y="111"/>
                  </a:lnTo>
                  <a:lnTo>
                    <a:pt x="153" y="111"/>
                  </a:lnTo>
                  <a:lnTo>
                    <a:pt x="152" y="120"/>
                  </a:lnTo>
                  <a:lnTo>
                    <a:pt x="152" y="133"/>
                  </a:lnTo>
                  <a:lnTo>
                    <a:pt x="133" y="141"/>
                  </a:lnTo>
                  <a:lnTo>
                    <a:pt x="115" y="148"/>
                  </a:lnTo>
                  <a:lnTo>
                    <a:pt x="109" y="167"/>
                  </a:lnTo>
                  <a:lnTo>
                    <a:pt x="103" y="178"/>
                  </a:lnTo>
                  <a:lnTo>
                    <a:pt x="111" y="189"/>
                  </a:lnTo>
                  <a:lnTo>
                    <a:pt x="120" y="196"/>
                  </a:lnTo>
                  <a:lnTo>
                    <a:pt x="116" y="200"/>
                  </a:lnTo>
                  <a:lnTo>
                    <a:pt x="113" y="202"/>
                  </a:lnTo>
                  <a:lnTo>
                    <a:pt x="109" y="204"/>
                  </a:lnTo>
                  <a:lnTo>
                    <a:pt x="105" y="204"/>
                  </a:lnTo>
                  <a:lnTo>
                    <a:pt x="100" y="204"/>
                  </a:lnTo>
                  <a:lnTo>
                    <a:pt x="98" y="205"/>
                  </a:lnTo>
                  <a:lnTo>
                    <a:pt x="96" y="209"/>
                  </a:lnTo>
                  <a:lnTo>
                    <a:pt x="96" y="213"/>
                  </a:lnTo>
                  <a:lnTo>
                    <a:pt x="96" y="220"/>
                  </a:lnTo>
                  <a:lnTo>
                    <a:pt x="100" y="224"/>
                  </a:lnTo>
                  <a:lnTo>
                    <a:pt x="103" y="224"/>
                  </a:lnTo>
                  <a:lnTo>
                    <a:pt x="109" y="224"/>
                  </a:lnTo>
                  <a:lnTo>
                    <a:pt x="113" y="224"/>
                  </a:lnTo>
                  <a:lnTo>
                    <a:pt x="118" y="226"/>
                  </a:lnTo>
                  <a:lnTo>
                    <a:pt x="124" y="228"/>
                  </a:lnTo>
                  <a:lnTo>
                    <a:pt x="127" y="233"/>
                  </a:lnTo>
                  <a:lnTo>
                    <a:pt x="124" y="244"/>
                  </a:lnTo>
                  <a:lnTo>
                    <a:pt x="116" y="252"/>
                  </a:lnTo>
                  <a:lnTo>
                    <a:pt x="113" y="257"/>
                  </a:lnTo>
                  <a:lnTo>
                    <a:pt x="111" y="263"/>
                  </a:lnTo>
                  <a:lnTo>
                    <a:pt x="113" y="270"/>
                  </a:lnTo>
                  <a:lnTo>
                    <a:pt x="118" y="277"/>
                  </a:lnTo>
                  <a:lnTo>
                    <a:pt x="127" y="289"/>
                  </a:lnTo>
                  <a:lnTo>
                    <a:pt x="137" y="298"/>
                  </a:lnTo>
                  <a:lnTo>
                    <a:pt x="142" y="303"/>
                  </a:lnTo>
                  <a:lnTo>
                    <a:pt x="146" y="309"/>
                  </a:lnTo>
                  <a:lnTo>
                    <a:pt x="150" y="314"/>
                  </a:lnTo>
                  <a:lnTo>
                    <a:pt x="152" y="322"/>
                  </a:lnTo>
                  <a:lnTo>
                    <a:pt x="144" y="335"/>
                  </a:lnTo>
                  <a:lnTo>
                    <a:pt x="135" y="357"/>
                  </a:lnTo>
                  <a:lnTo>
                    <a:pt x="129" y="362"/>
                  </a:lnTo>
                  <a:lnTo>
                    <a:pt x="124" y="366"/>
                  </a:lnTo>
                  <a:lnTo>
                    <a:pt x="120" y="368"/>
                  </a:lnTo>
                  <a:lnTo>
                    <a:pt x="118" y="372"/>
                  </a:lnTo>
                  <a:lnTo>
                    <a:pt x="116" y="377"/>
                  </a:lnTo>
                  <a:lnTo>
                    <a:pt x="115" y="385"/>
                  </a:lnTo>
                  <a:lnTo>
                    <a:pt x="98" y="383"/>
                  </a:lnTo>
                  <a:lnTo>
                    <a:pt x="81" y="383"/>
                  </a:lnTo>
                  <a:lnTo>
                    <a:pt x="79" y="388"/>
                  </a:lnTo>
                  <a:lnTo>
                    <a:pt x="76" y="394"/>
                  </a:lnTo>
                  <a:lnTo>
                    <a:pt x="76" y="401"/>
                  </a:lnTo>
                  <a:lnTo>
                    <a:pt x="74" y="407"/>
                  </a:lnTo>
                  <a:lnTo>
                    <a:pt x="67" y="409"/>
                  </a:lnTo>
                  <a:lnTo>
                    <a:pt x="57" y="409"/>
                  </a:lnTo>
                  <a:lnTo>
                    <a:pt x="54" y="409"/>
                  </a:lnTo>
                  <a:lnTo>
                    <a:pt x="50" y="410"/>
                  </a:lnTo>
                  <a:lnTo>
                    <a:pt x="46" y="414"/>
                  </a:lnTo>
                  <a:lnTo>
                    <a:pt x="44" y="418"/>
                  </a:lnTo>
                  <a:lnTo>
                    <a:pt x="43" y="423"/>
                  </a:lnTo>
                  <a:lnTo>
                    <a:pt x="44" y="429"/>
                  </a:lnTo>
                  <a:lnTo>
                    <a:pt x="48" y="431"/>
                  </a:lnTo>
                  <a:lnTo>
                    <a:pt x="52" y="435"/>
                  </a:lnTo>
                  <a:lnTo>
                    <a:pt x="55" y="436"/>
                  </a:lnTo>
                  <a:lnTo>
                    <a:pt x="59" y="440"/>
                  </a:lnTo>
                  <a:lnTo>
                    <a:pt x="61" y="447"/>
                  </a:lnTo>
                  <a:lnTo>
                    <a:pt x="61" y="457"/>
                  </a:lnTo>
                  <a:lnTo>
                    <a:pt x="57" y="460"/>
                  </a:lnTo>
                  <a:lnTo>
                    <a:pt x="54" y="460"/>
                  </a:lnTo>
                  <a:lnTo>
                    <a:pt x="50" y="460"/>
                  </a:lnTo>
                  <a:lnTo>
                    <a:pt x="46" y="459"/>
                  </a:lnTo>
                  <a:lnTo>
                    <a:pt x="41" y="455"/>
                  </a:lnTo>
                  <a:lnTo>
                    <a:pt x="35" y="453"/>
                  </a:lnTo>
                  <a:lnTo>
                    <a:pt x="33" y="462"/>
                  </a:lnTo>
                  <a:lnTo>
                    <a:pt x="31" y="470"/>
                  </a:lnTo>
                  <a:lnTo>
                    <a:pt x="24" y="471"/>
                  </a:lnTo>
                  <a:lnTo>
                    <a:pt x="17" y="470"/>
                  </a:lnTo>
                  <a:lnTo>
                    <a:pt x="13" y="471"/>
                  </a:lnTo>
                  <a:lnTo>
                    <a:pt x="9" y="473"/>
                  </a:lnTo>
                  <a:lnTo>
                    <a:pt x="4" y="477"/>
                  </a:lnTo>
                  <a:lnTo>
                    <a:pt x="0" y="484"/>
                  </a:lnTo>
                  <a:lnTo>
                    <a:pt x="6" y="490"/>
                  </a:lnTo>
                  <a:lnTo>
                    <a:pt x="9" y="497"/>
                  </a:lnTo>
                  <a:lnTo>
                    <a:pt x="11" y="503"/>
                  </a:lnTo>
                  <a:lnTo>
                    <a:pt x="11" y="508"/>
                  </a:lnTo>
                  <a:lnTo>
                    <a:pt x="11" y="518"/>
                  </a:lnTo>
                  <a:lnTo>
                    <a:pt x="13" y="525"/>
                  </a:lnTo>
                  <a:lnTo>
                    <a:pt x="22" y="529"/>
                  </a:lnTo>
                  <a:lnTo>
                    <a:pt x="28" y="534"/>
                  </a:lnTo>
                  <a:lnTo>
                    <a:pt x="28" y="549"/>
                  </a:lnTo>
                  <a:lnTo>
                    <a:pt x="26" y="560"/>
                  </a:lnTo>
                  <a:lnTo>
                    <a:pt x="33" y="575"/>
                  </a:lnTo>
                  <a:lnTo>
                    <a:pt x="46" y="593"/>
                  </a:lnTo>
                  <a:lnTo>
                    <a:pt x="61" y="612"/>
                  </a:lnTo>
                  <a:lnTo>
                    <a:pt x="70" y="623"/>
                  </a:lnTo>
                  <a:lnTo>
                    <a:pt x="67" y="643"/>
                  </a:lnTo>
                  <a:lnTo>
                    <a:pt x="67" y="660"/>
                  </a:lnTo>
                  <a:lnTo>
                    <a:pt x="70" y="660"/>
                  </a:lnTo>
                  <a:lnTo>
                    <a:pt x="74" y="658"/>
                  </a:lnTo>
                  <a:lnTo>
                    <a:pt x="79" y="654"/>
                  </a:lnTo>
                  <a:lnTo>
                    <a:pt x="83" y="651"/>
                  </a:lnTo>
                  <a:lnTo>
                    <a:pt x="92" y="638"/>
                  </a:lnTo>
                  <a:lnTo>
                    <a:pt x="100" y="627"/>
                  </a:lnTo>
                  <a:lnTo>
                    <a:pt x="109" y="627"/>
                  </a:lnTo>
                  <a:lnTo>
                    <a:pt x="122" y="627"/>
                  </a:lnTo>
                  <a:lnTo>
                    <a:pt x="137" y="632"/>
                  </a:lnTo>
                  <a:lnTo>
                    <a:pt x="152" y="640"/>
                  </a:lnTo>
                  <a:lnTo>
                    <a:pt x="166" y="647"/>
                  </a:lnTo>
                  <a:lnTo>
                    <a:pt x="179" y="658"/>
                  </a:lnTo>
                  <a:lnTo>
                    <a:pt x="183" y="664"/>
                  </a:lnTo>
                  <a:lnTo>
                    <a:pt x="187" y="671"/>
                  </a:lnTo>
                  <a:lnTo>
                    <a:pt x="188" y="677"/>
                  </a:lnTo>
                  <a:lnTo>
                    <a:pt x="188" y="682"/>
                  </a:lnTo>
                  <a:lnTo>
                    <a:pt x="187" y="704"/>
                  </a:lnTo>
                  <a:lnTo>
                    <a:pt x="183" y="721"/>
                  </a:lnTo>
                  <a:lnTo>
                    <a:pt x="181" y="728"/>
                  </a:lnTo>
                  <a:lnTo>
                    <a:pt x="181" y="736"/>
                  </a:lnTo>
                  <a:lnTo>
                    <a:pt x="183" y="743"/>
                  </a:lnTo>
                  <a:lnTo>
                    <a:pt x="190" y="749"/>
                  </a:lnTo>
                  <a:lnTo>
                    <a:pt x="194" y="750"/>
                  </a:lnTo>
                  <a:lnTo>
                    <a:pt x="198" y="749"/>
                  </a:lnTo>
                  <a:lnTo>
                    <a:pt x="201" y="747"/>
                  </a:lnTo>
                  <a:lnTo>
                    <a:pt x="207" y="745"/>
                  </a:lnTo>
                  <a:lnTo>
                    <a:pt x="212" y="741"/>
                  </a:lnTo>
                  <a:lnTo>
                    <a:pt x="222" y="739"/>
                  </a:lnTo>
                  <a:lnTo>
                    <a:pt x="233" y="738"/>
                  </a:lnTo>
                  <a:lnTo>
                    <a:pt x="248" y="739"/>
                  </a:lnTo>
                  <a:lnTo>
                    <a:pt x="257" y="741"/>
                  </a:lnTo>
                  <a:lnTo>
                    <a:pt x="266" y="745"/>
                  </a:lnTo>
                  <a:lnTo>
                    <a:pt x="272" y="749"/>
                  </a:lnTo>
                  <a:lnTo>
                    <a:pt x="275" y="754"/>
                  </a:lnTo>
                  <a:lnTo>
                    <a:pt x="281" y="762"/>
                  </a:lnTo>
                  <a:lnTo>
                    <a:pt x="285" y="77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2" name="Freeform 18"/>
            <p:cNvSpPr>
              <a:spLocks/>
            </p:cNvSpPr>
            <p:nvPr/>
          </p:nvSpPr>
          <p:spPr bwMode="auto">
            <a:xfrm>
              <a:off x="5361555" y="1976997"/>
              <a:ext cx="21393" cy="16794"/>
            </a:xfrm>
            <a:custGeom>
              <a:avLst/>
              <a:gdLst>
                <a:gd name="T0" fmla="*/ 6 w 41"/>
                <a:gd name="T1" fmla="*/ 15 h 33"/>
                <a:gd name="T2" fmla="*/ 4 w 41"/>
                <a:gd name="T3" fmla="*/ 11 h 33"/>
                <a:gd name="T4" fmla="*/ 0 w 41"/>
                <a:gd name="T5" fmla="*/ 7 h 33"/>
                <a:gd name="T6" fmla="*/ 0 w 41"/>
                <a:gd name="T7" fmla="*/ 6 h 33"/>
                <a:gd name="T8" fmla="*/ 0 w 41"/>
                <a:gd name="T9" fmla="*/ 4 h 33"/>
                <a:gd name="T10" fmla="*/ 0 w 41"/>
                <a:gd name="T11" fmla="*/ 2 h 33"/>
                <a:gd name="T12" fmla="*/ 4 w 41"/>
                <a:gd name="T13" fmla="*/ 2 h 33"/>
                <a:gd name="T14" fmla="*/ 6 w 41"/>
                <a:gd name="T15" fmla="*/ 0 h 33"/>
                <a:gd name="T16" fmla="*/ 9 w 41"/>
                <a:gd name="T17" fmla="*/ 2 h 33"/>
                <a:gd name="T18" fmla="*/ 13 w 41"/>
                <a:gd name="T19" fmla="*/ 4 h 33"/>
                <a:gd name="T20" fmla="*/ 17 w 41"/>
                <a:gd name="T21" fmla="*/ 6 h 33"/>
                <a:gd name="T22" fmla="*/ 24 w 41"/>
                <a:gd name="T23" fmla="*/ 2 h 33"/>
                <a:gd name="T24" fmla="*/ 30 w 41"/>
                <a:gd name="T25" fmla="*/ 0 h 33"/>
                <a:gd name="T26" fmla="*/ 33 w 41"/>
                <a:gd name="T27" fmla="*/ 0 h 33"/>
                <a:gd name="T28" fmla="*/ 37 w 41"/>
                <a:gd name="T29" fmla="*/ 0 h 33"/>
                <a:gd name="T30" fmla="*/ 41 w 41"/>
                <a:gd name="T31" fmla="*/ 4 h 33"/>
                <a:gd name="T32" fmla="*/ 41 w 41"/>
                <a:gd name="T33" fmla="*/ 7 h 33"/>
                <a:gd name="T34" fmla="*/ 41 w 41"/>
                <a:gd name="T35" fmla="*/ 13 h 33"/>
                <a:gd name="T36" fmla="*/ 37 w 41"/>
                <a:gd name="T37" fmla="*/ 20 h 33"/>
                <a:gd name="T38" fmla="*/ 37 w 41"/>
                <a:gd name="T39" fmla="*/ 26 h 33"/>
                <a:gd name="T40" fmla="*/ 35 w 41"/>
                <a:gd name="T41" fmla="*/ 28 h 33"/>
                <a:gd name="T42" fmla="*/ 33 w 41"/>
                <a:gd name="T43" fmla="*/ 30 h 33"/>
                <a:gd name="T44" fmla="*/ 30 w 41"/>
                <a:gd name="T45" fmla="*/ 32 h 33"/>
                <a:gd name="T46" fmla="*/ 22 w 41"/>
                <a:gd name="T47" fmla="*/ 33 h 33"/>
                <a:gd name="T48" fmla="*/ 15 w 41"/>
                <a:gd name="T49" fmla="*/ 32 h 33"/>
                <a:gd name="T50" fmla="*/ 4 w 41"/>
                <a:gd name="T51" fmla="*/ 28 h 33"/>
                <a:gd name="T52" fmla="*/ 0 w 41"/>
                <a:gd name="T53" fmla="*/ 26 h 33"/>
                <a:gd name="T54" fmla="*/ 2 w 41"/>
                <a:gd name="T55" fmla="*/ 20 h 33"/>
                <a:gd name="T56" fmla="*/ 6 w 41"/>
                <a:gd name="T57" fmla="*/ 15 h 3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1"/>
                <a:gd name="T88" fmla="*/ 0 h 33"/>
                <a:gd name="T89" fmla="*/ 41 w 41"/>
                <a:gd name="T90" fmla="*/ 33 h 3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1" h="33">
                  <a:moveTo>
                    <a:pt x="6" y="15"/>
                  </a:moveTo>
                  <a:lnTo>
                    <a:pt x="4" y="11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9" y="2"/>
                  </a:lnTo>
                  <a:lnTo>
                    <a:pt x="13" y="4"/>
                  </a:lnTo>
                  <a:lnTo>
                    <a:pt x="17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1" y="4"/>
                  </a:lnTo>
                  <a:lnTo>
                    <a:pt x="41" y="7"/>
                  </a:lnTo>
                  <a:lnTo>
                    <a:pt x="41" y="13"/>
                  </a:lnTo>
                  <a:lnTo>
                    <a:pt x="37" y="20"/>
                  </a:lnTo>
                  <a:lnTo>
                    <a:pt x="37" y="26"/>
                  </a:lnTo>
                  <a:lnTo>
                    <a:pt x="35" y="28"/>
                  </a:lnTo>
                  <a:lnTo>
                    <a:pt x="33" y="30"/>
                  </a:lnTo>
                  <a:lnTo>
                    <a:pt x="30" y="32"/>
                  </a:lnTo>
                  <a:lnTo>
                    <a:pt x="22" y="33"/>
                  </a:lnTo>
                  <a:lnTo>
                    <a:pt x="15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6" y="1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3" name="Freeform 19"/>
            <p:cNvSpPr>
              <a:spLocks noEditPoints="1"/>
            </p:cNvSpPr>
            <p:nvPr/>
          </p:nvSpPr>
          <p:spPr bwMode="auto">
            <a:xfrm>
              <a:off x="5598449" y="1715421"/>
              <a:ext cx="440914" cy="188294"/>
            </a:xfrm>
            <a:custGeom>
              <a:avLst/>
              <a:gdLst>
                <a:gd name="T0" fmla="*/ 172 w 845"/>
                <a:gd name="T1" fmla="*/ 309 h 370"/>
                <a:gd name="T2" fmla="*/ 194 w 845"/>
                <a:gd name="T3" fmla="*/ 311 h 370"/>
                <a:gd name="T4" fmla="*/ 185 w 845"/>
                <a:gd name="T5" fmla="*/ 281 h 370"/>
                <a:gd name="T6" fmla="*/ 204 w 845"/>
                <a:gd name="T7" fmla="*/ 339 h 370"/>
                <a:gd name="T8" fmla="*/ 207 w 845"/>
                <a:gd name="T9" fmla="*/ 355 h 370"/>
                <a:gd name="T10" fmla="*/ 261 w 845"/>
                <a:gd name="T11" fmla="*/ 335 h 370"/>
                <a:gd name="T12" fmla="*/ 289 w 845"/>
                <a:gd name="T13" fmla="*/ 318 h 370"/>
                <a:gd name="T14" fmla="*/ 272 w 845"/>
                <a:gd name="T15" fmla="*/ 300 h 370"/>
                <a:gd name="T16" fmla="*/ 246 w 845"/>
                <a:gd name="T17" fmla="*/ 287 h 370"/>
                <a:gd name="T18" fmla="*/ 209 w 845"/>
                <a:gd name="T19" fmla="*/ 296 h 370"/>
                <a:gd name="T20" fmla="*/ 72 w 845"/>
                <a:gd name="T21" fmla="*/ 359 h 370"/>
                <a:gd name="T22" fmla="*/ 98 w 845"/>
                <a:gd name="T23" fmla="*/ 370 h 370"/>
                <a:gd name="T24" fmla="*/ 82 w 845"/>
                <a:gd name="T25" fmla="*/ 351 h 370"/>
                <a:gd name="T26" fmla="*/ 23 w 845"/>
                <a:gd name="T27" fmla="*/ 272 h 370"/>
                <a:gd name="T28" fmla="*/ 28 w 845"/>
                <a:gd name="T29" fmla="*/ 257 h 370"/>
                <a:gd name="T30" fmla="*/ 13 w 845"/>
                <a:gd name="T31" fmla="*/ 237 h 370"/>
                <a:gd name="T32" fmla="*/ 48 w 845"/>
                <a:gd name="T33" fmla="*/ 218 h 370"/>
                <a:gd name="T34" fmla="*/ 47 w 845"/>
                <a:gd name="T35" fmla="*/ 237 h 370"/>
                <a:gd name="T36" fmla="*/ 60 w 845"/>
                <a:gd name="T37" fmla="*/ 266 h 370"/>
                <a:gd name="T38" fmla="*/ 104 w 845"/>
                <a:gd name="T39" fmla="*/ 287 h 370"/>
                <a:gd name="T40" fmla="*/ 130 w 845"/>
                <a:gd name="T41" fmla="*/ 270 h 370"/>
                <a:gd name="T42" fmla="*/ 132 w 845"/>
                <a:gd name="T43" fmla="*/ 261 h 370"/>
                <a:gd name="T44" fmla="*/ 146 w 845"/>
                <a:gd name="T45" fmla="*/ 244 h 370"/>
                <a:gd name="T46" fmla="*/ 170 w 845"/>
                <a:gd name="T47" fmla="*/ 226 h 370"/>
                <a:gd name="T48" fmla="*/ 198 w 845"/>
                <a:gd name="T49" fmla="*/ 209 h 370"/>
                <a:gd name="T50" fmla="*/ 163 w 845"/>
                <a:gd name="T51" fmla="*/ 202 h 370"/>
                <a:gd name="T52" fmla="*/ 141 w 845"/>
                <a:gd name="T53" fmla="*/ 176 h 370"/>
                <a:gd name="T54" fmla="*/ 150 w 845"/>
                <a:gd name="T55" fmla="*/ 163 h 370"/>
                <a:gd name="T56" fmla="*/ 161 w 845"/>
                <a:gd name="T57" fmla="*/ 191 h 370"/>
                <a:gd name="T58" fmla="*/ 211 w 845"/>
                <a:gd name="T59" fmla="*/ 189 h 370"/>
                <a:gd name="T60" fmla="*/ 202 w 845"/>
                <a:gd name="T61" fmla="*/ 157 h 370"/>
                <a:gd name="T62" fmla="*/ 194 w 845"/>
                <a:gd name="T63" fmla="*/ 133 h 370"/>
                <a:gd name="T64" fmla="*/ 154 w 845"/>
                <a:gd name="T65" fmla="*/ 137 h 370"/>
                <a:gd name="T66" fmla="*/ 104 w 845"/>
                <a:gd name="T67" fmla="*/ 143 h 370"/>
                <a:gd name="T68" fmla="*/ 100 w 845"/>
                <a:gd name="T69" fmla="*/ 163 h 370"/>
                <a:gd name="T70" fmla="*/ 115 w 845"/>
                <a:gd name="T71" fmla="*/ 183 h 370"/>
                <a:gd name="T72" fmla="*/ 84 w 845"/>
                <a:gd name="T73" fmla="*/ 174 h 370"/>
                <a:gd name="T74" fmla="*/ 56 w 845"/>
                <a:gd name="T75" fmla="*/ 167 h 370"/>
                <a:gd name="T76" fmla="*/ 37 w 845"/>
                <a:gd name="T77" fmla="*/ 202 h 370"/>
                <a:gd name="T78" fmla="*/ 257 w 845"/>
                <a:gd name="T79" fmla="*/ 145 h 370"/>
                <a:gd name="T80" fmla="*/ 290 w 845"/>
                <a:gd name="T81" fmla="*/ 146 h 370"/>
                <a:gd name="T82" fmla="*/ 322 w 845"/>
                <a:gd name="T83" fmla="*/ 100 h 370"/>
                <a:gd name="T84" fmla="*/ 311 w 845"/>
                <a:gd name="T85" fmla="*/ 85 h 370"/>
                <a:gd name="T86" fmla="*/ 283 w 845"/>
                <a:gd name="T87" fmla="*/ 95 h 370"/>
                <a:gd name="T88" fmla="*/ 248 w 845"/>
                <a:gd name="T89" fmla="*/ 104 h 370"/>
                <a:gd name="T90" fmla="*/ 231 w 845"/>
                <a:gd name="T91" fmla="*/ 128 h 370"/>
                <a:gd name="T92" fmla="*/ 217 w 845"/>
                <a:gd name="T93" fmla="*/ 130 h 370"/>
                <a:gd name="T94" fmla="*/ 235 w 845"/>
                <a:gd name="T95" fmla="*/ 148 h 370"/>
                <a:gd name="T96" fmla="*/ 196 w 845"/>
                <a:gd name="T97" fmla="*/ 24 h 370"/>
                <a:gd name="T98" fmla="*/ 200 w 845"/>
                <a:gd name="T99" fmla="*/ 2 h 370"/>
                <a:gd name="T100" fmla="*/ 187 w 845"/>
                <a:gd name="T101" fmla="*/ 13 h 370"/>
                <a:gd name="T102" fmla="*/ 734 w 845"/>
                <a:gd name="T103" fmla="*/ 141 h 370"/>
                <a:gd name="T104" fmla="*/ 745 w 845"/>
                <a:gd name="T105" fmla="*/ 152 h 370"/>
                <a:gd name="T106" fmla="*/ 762 w 845"/>
                <a:gd name="T107" fmla="*/ 133 h 370"/>
                <a:gd name="T108" fmla="*/ 769 w 845"/>
                <a:gd name="T109" fmla="*/ 126 h 370"/>
                <a:gd name="T110" fmla="*/ 750 w 845"/>
                <a:gd name="T111" fmla="*/ 128 h 370"/>
                <a:gd name="T112" fmla="*/ 782 w 845"/>
                <a:gd name="T113" fmla="*/ 117 h 370"/>
                <a:gd name="T114" fmla="*/ 789 w 845"/>
                <a:gd name="T115" fmla="*/ 113 h 370"/>
                <a:gd name="T116" fmla="*/ 839 w 845"/>
                <a:gd name="T117" fmla="*/ 180 h 370"/>
                <a:gd name="T118" fmla="*/ 835 w 845"/>
                <a:gd name="T119" fmla="*/ 180 h 370"/>
                <a:gd name="T120" fmla="*/ 834 w 845"/>
                <a:gd name="T121" fmla="*/ 189 h 370"/>
                <a:gd name="T122" fmla="*/ 841 w 845"/>
                <a:gd name="T123" fmla="*/ 181 h 37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45"/>
                <a:gd name="T187" fmla="*/ 0 h 370"/>
                <a:gd name="T188" fmla="*/ 845 w 845"/>
                <a:gd name="T189" fmla="*/ 370 h 37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45" h="370">
                  <a:moveTo>
                    <a:pt x="170" y="289"/>
                  </a:moveTo>
                  <a:lnTo>
                    <a:pt x="169" y="291"/>
                  </a:lnTo>
                  <a:lnTo>
                    <a:pt x="169" y="292"/>
                  </a:lnTo>
                  <a:lnTo>
                    <a:pt x="169" y="294"/>
                  </a:lnTo>
                  <a:lnTo>
                    <a:pt x="169" y="296"/>
                  </a:lnTo>
                  <a:lnTo>
                    <a:pt x="167" y="298"/>
                  </a:lnTo>
                  <a:lnTo>
                    <a:pt x="169" y="300"/>
                  </a:lnTo>
                  <a:lnTo>
                    <a:pt x="169" y="302"/>
                  </a:lnTo>
                  <a:lnTo>
                    <a:pt x="169" y="303"/>
                  </a:lnTo>
                  <a:lnTo>
                    <a:pt x="169" y="305"/>
                  </a:lnTo>
                  <a:lnTo>
                    <a:pt x="170" y="305"/>
                  </a:lnTo>
                  <a:lnTo>
                    <a:pt x="170" y="307"/>
                  </a:lnTo>
                  <a:lnTo>
                    <a:pt x="172" y="309"/>
                  </a:lnTo>
                  <a:lnTo>
                    <a:pt x="174" y="311"/>
                  </a:lnTo>
                  <a:lnTo>
                    <a:pt x="176" y="311"/>
                  </a:lnTo>
                  <a:lnTo>
                    <a:pt x="178" y="313"/>
                  </a:lnTo>
                  <a:lnTo>
                    <a:pt x="181" y="313"/>
                  </a:lnTo>
                  <a:lnTo>
                    <a:pt x="183" y="315"/>
                  </a:lnTo>
                  <a:lnTo>
                    <a:pt x="185" y="315"/>
                  </a:lnTo>
                  <a:lnTo>
                    <a:pt x="187" y="315"/>
                  </a:lnTo>
                  <a:lnTo>
                    <a:pt x="189" y="315"/>
                  </a:lnTo>
                  <a:lnTo>
                    <a:pt x="189" y="313"/>
                  </a:lnTo>
                  <a:lnTo>
                    <a:pt x="191" y="313"/>
                  </a:lnTo>
                  <a:lnTo>
                    <a:pt x="193" y="313"/>
                  </a:lnTo>
                  <a:lnTo>
                    <a:pt x="194" y="311"/>
                  </a:lnTo>
                  <a:lnTo>
                    <a:pt x="196" y="309"/>
                  </a:lnTo>
                  <a:lnTo>
                    <a:pt x="198" y="309"/>
                  </a:lnTo>
                  <a:lnTo>
                    <a:pt x="200" y="305"/>
                  </a:lnTo>
                  <a:lnTo>
                    <a:pt x="198" y="302"/>
                  </a:lnTo>
                  <a:lnTo>
                    <a:pt x="198" y="298"/>
                  </a:lnTo>
                  <a:lnTo>
                    <a:pt x="196" y="294"/>
                  </a:lnTo>
                  <a:lnTo>
                    <a:pt x="196" y="291"/>
                  </a:lnTo>
                  <a:lnTo>
                    <a:pt x="194" y="289"/>
                  </a:lnTo>
                  <a:lnTo>
                    <a:pt x="193" y="287"/>
                  </a:lnTo>
                  <a:lnTo>
                    <a:pt x="191" y="285"/>
                  </a:lnTo>
                  <a:lnTo>
                    <a:pt x="189" y="283"/>
                  </a:lnTo>
                  <a:lnTo>
                    <a:pt x="185" y="281"/>
                  </a:lnTo>
                  <a:lnTo>
                    <a:pt x="183" y="281"/>
                  </a:lnTo>
                  <a:lnTo>
                    <a:pt x="181" y="281"/>
                  </a:lnTo>
                  <a:lnTo>
                    <a:pt x="178" y="283"/>
                  </a:lnTo>
                  <a:lnTo>
                    <a:pt x="176" y="283"/>
                  </a:lnTo>
                  <a:lnTo>
                    <a:pt x="174" y="285"/>
                  </a:lnTo>
                  <a:lnTo>
                    <a:pt x="172" y="287"/>
                  </a:lnTo>
                  <a:lnTo>
                    <a:pt x="170" y="289"/>
                  </a:lnTo>
                  <a:close/>
                  <a:moveTo>
                    <a:pt x="204" y="327"/>
                  </a:moveTo>
                  <a:lnTo>
                    <a:pt x="204" y="331"/>
                  </a:lnTo>
                  <a:lnTo>
                    <a:pt x="206" y="337"/>
                  </a:lnTo>
                  <a:lnTo>
                    <a:pt x="204" y="337"/>
                  </a:lnTo>
                  <a:lnTo>
                    <a:pt x="204" y="339"/>
                  </a:lnTo>
                  <a:lnTo>
                    <a:pt x="200" y="342"/>
                  </a:lnTo>
                  <a:lnTo>
                    <a:pt x="198" y="348"/>
                  </a:lnTo>
                  <a:lnTo>
                    <a:pt x="198" y="350"/>
                  </a:lnTo>
                  <a:lnTo>
                    <a:pt x="198" y="351"/>
                  </a:lnTo>
                  <a:lnTo>
                    <a:pt x="198" y="353"/>
                  </a:lnTo>
                  <a:lnTo>
                    <a:pt x="200" y="353"/>
                  </a:lnTo>
                  <a:lnTo>
                    <a:pt x="200" y="355"/>
                  </a:lnTo>
                  <a:lnTo>
                    <a:pt x="202" y="355"/>
                  </a:lnTo>
                  <a:lnTo>
                    <a:pt x="204" y="355"/>
                  </a:lnTo>
                  <a:lnTo>
                    <a:pt x="206" y="355"/>
                  </a:lnTo>
                  <a:lnTo>
                    <a:pt x="207" y="355"/>
                  </a:lnTo>
                  <a:lnTo>
                    <a:pt x="209" y="355"/>
                  </a:lnTo>
                  <a:lnTo>
                    <a:pt x="211" y="353"/>
                  </a:lnTo>
                  <a:lnTo>
                    <a:pt x="218" y="350"/>
                  </a:lnTo>
                  <a:lnTo>
                    <a:pt x="226" y="344"/>
                  </a:lnTo>
                  <a:lnTo>
                    <a:pt x="230" y="346"/>
                  </a:lnTo>
                  <a:lnTo>
                    <a:pt x="233" y="346"/>
                  </a:lnTo>
                  <a:lnTo>
                    <a:pt x="237" y="348"/>
                  </a:lnTo>
                  <a:lnTo>
                    <a:pt x="239" y="348"/>
                  </a:lnTo>
                  <a:lnTo>
                    <a:pt x="241" y="348"/>
                  </a:lnTo>
                  <a:lnTo>
                    <a:pt x="242" y="348"/>
                  </a:lnTo>
                  <a:lnTo>
                    <a:pt x="250" y="344"/>
                  </a:lnTo>
                  <a:lnTo>
                    <a:pt x="257" y="339"/>
                  </a:lnTo>
                  <a:lnTo>
                    <a:pt x="261" y="335"/>
                  </a:lnTo>
                  <a:lnTo>
                    <a:pt x="266" y="329"/>
                  </a:lnTo>
                  <a:lnTo>
                    <a:pt x="268" y="329"/>
                  </a:lnTo>
                  <a:lnTo>
                    <a:pt x="270" y="329"/>
                  </a:lnTo>
                  <a:lnTo>
                    <a:pt x="276" y="329"/>
                  </a:lnTo>
                  <a:lnTo>
                    <a:pt x="281" y="329"/>
                  </a:lnTo>
                  <a:lnTo>
                    <a:pt x="283" y="327"/>
                  </a:lnTo>
                  <a:lnTo>
                    <a:pt x="285" y="327"/>
                  </a:lnTo>
                  <a:lnTo>
                    <a:pt x="287" y="326"/>
                  </a:lnTo>
                  <a:lnTo>
                    <a:pt x="289" y="324"/>
                  </a:lnTo>
                  <a:lnTo>
                    <a:pt x="289" y="322"/>
                  </a:lnTo>
                  <a:lnTo>
                    <a:pt x="289" y="318"/>
                  </a:lnTo>
                  <a:lnTo>
                    <a:pt x="289" y="316"/>
                  </a:lnTo>
                  <a:lnTo>
                    <a:pt x="289" y="315"/>
                  </a:lnTo>
                  <a:lnTo>
                    <a:pt x="287" y="313"/>
                  </a:lnTo>
                  <a:lnTo>
                    <a:pt x="285" y="313"/>
                  </a:lnTo>
                  <a:lnTo>
                    <a:pt x="283" y="311"/>
                  </a:lnTo>
                  <a:lnTo>
                    <a:pt x="281" y="309"/>
                  </a:lnTo>
                  <a:lnTo>
                    <a:pt x="278" y="307"/>
                  </a:lnTo>
                  <a:lnTo>
                    <a:pt x="276" y="307"/>
                  </a:lnTo>
                  <a:lnTo>
                    <a:pt x="276" y="305"/>
                  </a:lnTo>
                  <a:lnTo>
                    <a:pt x="274" y="303"/>
                  </a:lnTo>
                  <a:lnTo>
                    <a:pt x="274" y="302"/>
                  </a:lnTo>
                  <a:lnTo>
                    <a:pt x="272" y="300"/>
                  </a:lnTo>
                  <a:lnTo>
                    <a:pt x="270" y="300"/>
                  </a:lnTo>
                  <a:lnTo>
                    <a:pt x="270" y="298"/>
                  </a:lnTo>
                  <a:lnTo>
                    <a:pt x="268" y="298"/>
                  </a:lnTo>
                  <a:lnTo>
                    <a:pt x="265" y="296"/>
                  </a:lnTo>
                  <a:lnTo>
                    <a:pt x="261" y="294"/>
                  </a:lnTo>
                  <a:lnTo>
                    <a:pt x="257" y="294"/>
                  </a:lnTo>
                  <a:lnTo>
                    <a:pt x="252" y="292"/>
                  </a:lnTo>
                  <a:lnTo>
                    <a:pt x="250" y="291"/>
                  </a:lnTo>
                  <a:lnTo>
                    <a:pt x="248" y="289"/>
                  </a:lnTo>
                  <a:lnTo>
                    <a:pt x="246" y="287"/>
                  </a:lnTo>
                  <a:lnTo>
                    <a:pt x="244" y="287"/>
                  </a:lnTo>
                  <a:lnTo>
                    <a:pt x="242" y="287"/>
                  </a:lnTo>
                  <a:lnTo>
                    <a:pt x="241" y="287"/>
                  </a:lnTo>
                  <a:lnTo>
                    <a:pt x="239" y="287"/>
                  </a:lnTo>
                  <a:lnTo>
                    <a:pt x="233" y="287"/>
                  </a:lnTo>
                  <a:lnTo>
                    <a:pt x="228" y="289"/>
                  </a:lnTo>
                  <a:lnTo>
                    <a:pt x="224" y="289"/>
                  </a:lnTo>
                  <a:lnTo>
                    <a:pt x="220" y="289"/>
                  </a:lnTo>
                  <a:lnTo>
                    <a:pt x="218" y="289"/>
                  </a:lnTo>
                  <a:lnTo>
                    <a:pt x="217" y="289"/>
                  </a:lnTo>
                  <a:lnTo>
                    <a:pt x="213" y="289"/>
                  </a:lnTo>
                  <a:lnTo>
                    <a:pt x="211" y="292"/>
                  </a:lnTo>
                  <a:lnTo>
                    <a:pt x="209" y="296"/>
                  </a:lnTo>
                  <a:lnTo>
                    <a:pt x="207" y="300"/>
                  </a:lnTo>
                  <a:lnTo>
                    <a:pt x="206" y="303"/>
                  </a:lnTo>
                  <a:lnTo>
                    <a:pt x="204" y="305"/>
                  </a:lnTo>
                  <a:lnTo>
                    <a:pt x="204" y="309"/>
                  </a:lnTo>
                  <a:lnTo>
                    <a:pt x="204" y="311"/>
                  </a:lnTo>
                  <a:lnTo>
                    <a:pt x="204" y="315"/>
                  </a:lnTo>
                  <a:lnTo>
                    <a:pt x="204" y="316"/>
                  </a:lnTo>
                  <a:lnTo>
                    <a:pt x="204" y="320"/>
                  </a:lnTo>
                  <a:lnTo>
                    <a:pt x="204" y="322"/>
                  </a:lnTo>
                  <a:lnTo>
                    <a:pt x="204" y="326"/>
                  </a:lnTo>
                  <a:lnTo>
                    <a:pt x="204" y="327"/>
                  </a:lnTo>
                  <a:close/>
                  <a:moveTo>
                    <a:pt x="71" y="357"/>
                  </a:moveTo>
                  <a:lnTo>
                    <a:pt x="72" y="359"/>
                  </a:lnTo>
                  <a:lnTo>
                    <a:pt x="74" y="361"/>
                  </a:lnTo>
                  <a:lnTo>
                    <a:pt x="76" y="363"/>
                  </a:lnTo>
                  <a:lnTo>
                    <a:pt x="78" y="364"/>
                  </a:lnTo>
                  <a:lnTo>
                    <a:pt x="80" y="364"/>
                  </a:lnTo>
                  <a:lnTo>
                    <a:pt x="82" y="366"/>
                  </a:lnTo>
                  <a:lnTo>
                    <a:pt x="85" y="368"/>
                  </a:lnTo>
                  <a:lnTo>
                    <a:pt x="87" y="368"/>
                  </a:lnTo>
                  <a:lnTo>
                    <a:pt x="89" y="370"/>
                  </a:lnTo>
                  <a:lnTo>
                    <a:pt x="91" y="370"/>
                  </a:lnTo>
                  <a:lnTo>
                    <a:pt x="93" y="370"/>
                  </a:lnTo>
                  <a:lnTo>
                    <a:pt x="97" y="370"/>
                  </a:lnTo>
                  <a:lnTo>
                    <a:pt x="98" y="370"/>
                  </a:lnTo>
                  <a:lnTo>
                    <a:pt x="100" y="368"/>
                  </a:lnTo>
                  <a:lnTo>
                    <a:pt x="102" y="368"/>
                  </a:lnTo>
                  <a:lnTo>
                    <a:pt x="104" y="366"/>
                  </a:lnTo>
                  <a:lnTo>
                    <a:pt x="104" y="364"/>
                  </a:lnTo>
                  <a:lnTo>
                    <a:pt x="104" y="363"/>
                  </a:lnTo>
                  <a:lnTo>
                    <a:pt x="104" y="361"/>
                  </a:lnTo>
                  <a:lnTo>
                    <a:pt x="104" y="359"/>
                  </a:lnTo>
                  <a:lnTo>
                    <a:pt x="102" y="359"/>
                  </a:lnTo>
                  <a:lnTo>
                    <a:pt x="102" y="357"/>
                  </a:lnTo>
                  <a:lnTo>
                    <a:pt x="98" y="357"/>
                  </a:lnTo>
                  <a:lnTo>
                    <a:pt x="91" y="353"/>
                  </a:lnTo>
                  <a:lnTo>
                    <a:pt x="82" y="351"/>
                  </a:lnTo>
                  <a:lnTo>
                    <a:pt x="78" y="351"/>
                  </a:lnTo>
                  <a:lnTo>
                    <a:pt x="74" y="351"/>
                  </a:lnTo>
                  <a:lnTo>
                    <a:pt x="72" y="351"/>
                  </a:lnTo>
                  <a:lnTo>
                    <a:pt x="71" y="351"/>
                  </a:lnTo>
                  <a:lnTo>
                    <a:pt x="71" y="355"/>
                  </a:lnTo>
                  <a:lnTo>
                    <a:pt x="71" y="357"/>
                  </a:lnTo>
                  <a:close/>
                  <a:moveTo>
                    <a:pt x="8" y="250"/>
                  </a:moveTo>
                  <a:lnTo>
                    <a:pt x="12" y="259"/>
                  </a:lnTo>
                  <a:lnTo>
                    <a:pt x="17" y="268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1" y="272"/>
                  </a:lnTo>
                  <a:lnTo>
                    <a:pt x="23" y="272"/>
                  </a:lnTo>
                  <a:lnTo>
                    <a:pt x="24" y="274"/>
                  </a:lnTo>
                  <a:lnTo>
                    <a:pt x="26" y="274"/>
                  </a:lnTo>
                  <a:lnTo>
                    <a:pt x="28" y="274"/>
                  </a:lnTo>
                  <a:lnTo>
                    <a:pt x="30" y="272"/>
                  </a:lnTo>
                  <a:lnTo>
                    <a:pt x="32" y="272"/>
                  </a:lnTo>
                  <a:lnTo>
                    <a:pt x="34" y="270"/>
                  </a:lnTo>
                  <a:lnTo>
                    <a:pt x="34" y="268"/>
                  </a:lnTo>
                  <a:lnTo>
                    <a:pt x="34" y="266"/>
                  </a:lnTo>
                  <a:lnTo>
                    <a:pt x="32" y="261"/>
                  </a:lnTo>
                  <a:lnTo>
                    <a:pt x="28" y="257"/>
                  </a:lnTo>
                  <a:lnTo>
                    <a:pt x="26" y="255"/>
                  </a:lnTo>
                  <a:lnTo>
                    <a:pt x="26" y="254"/>
                  </a:lnTo>
                  <a:lnTo>
                    <a:pt x="26" y="252"/>
                  </a:lnTo>
                  <a:lnTo>
                    <a:pt x="26" y="248"/>
                  </a:lnTo>
                  <a:lnTo>
                    <a:pt x="24" y="244"/>
                  </a:lnTo>
                  <a:lnTo>
                    <a:pt x="24" y="242"/>
                  </a:lnTo>
                  <a:lnTo>
                    <a:pt x="23" y="242"/>
                  </a:lnTo>
                  <a:lnTo>
                    <a:pt x="21" y="241"/>
                  </a:lnTo>
                  <a:lnTo>
                    <a:pt x="19" y="241"/>
                  </a:lnTo>
                  <a:lnTo>
                    <a:pt x="17" y="239"/>
                  </a:lnTo>
                  <a:lnTo>
                    <a:pt x="15" y="239"/>
                  </a:lnTo>
                  <a:lnTo>
                    <a:pt x="13" y="237"/>
                  </a:lnTo>
                  <a:lnTo>
                    <a:pt x="13" y="235"/>
                  </a:lnTo>
                  <a:lnTo>
                    <a:pt x="12" y="233"/>
                  </a:lnTo>
                  <a:lnTo>
                    <a:pt x="10" y="231"/>
                  </a:lnTo>
                  <a:lnTo>
                    <a:pt x="8" y="231"/>
                  </a:lnTo>
                  <a:lnTo>
                    <a:pt x="6" y="231"/>
                  </a:lnTo>
                  <a:lnTo>
                    <a:pt x="4" y="231"/>
                  </a:lnTo>
                  <a:lnTo>
                    <a:pt x="0" y="231"/>
                  </a:lnTo>
                  <a:lnTo>
                    <a:pt x="4" y="241"/>
                  </a:lnTo>
                  <a:lnTo>
                    <a:pt x="8" y="250"/>
                  </a:lnTo>
                  <a:close/>
                  <a:moveTo>
                    <a:pt x="45" y="217"/>
                  </a:moveTo>
                  <a:lnTo>
                    <a:pt x="47" y="217"/>
                  </a:lnTo>
                  <a:lnTo>
                    <a:pt x="48" y="218"/>
                  </a:lnTo>
                  <a:lnTo>
                    <a:pt x="47" y="220"/>
                  </a:lnTo>
                  <a:lnTo>
                    <a:pt x="45" y="220"/>
                  </a:lnTo>
                  <a:lnTo>
                    <a:pt x="43" y="222"/>
                  </a:lnTo>
                  <a:lnTo>
                    <a:pt x="41" y="222"/>
                  </a:lnTo>
                  <a:lnTo>
                    <a:pt x="41" y="224"/>
                  </a:lnTo>
                  <a:lnTo>
                    <a:pt x="39" y="226"/>
                  </a:lnTo>
                  <a:lnTo>
                    <a:pt x="39" y="228"/>
                  </a:lnTo>
                  <a:lnTo>
                    <a:pt x="39" y="230"/>
                  </a:lnTo>
                  <a:lnTo>
                    <a:pt x="41" y="231"/>
                  </a:lnTo>
                  <a:lnTo>
                    <a:pt x="41" y="233"/>
                  </a:lnTo>
                  <a:lnTo>
                    <a:pt x="47" y="237"/>
                  </a:lnTo>
                  <a:lnTo>
                    <a:pt x="50" y="239"/>
                  </a:lnTo>
                  <a:lnTo>
                    <a:pt x="52" y="241"/>
                  </a:lnTo>
                  <a:lnTo>
                    <a:pt x="54" y="242"/>
                  </a:lnTo>
                  <a:lnTo>
                    <a:pt x="54" y="244"/>
                  </a:lnTo>
                  <a:lnTo>
                    <a:pt x="52" y="250"/>
                  </a:lnTo>
                  <a:lnTo>
                    <a:pt x="52" y="255"/>
                  </a:lnTo>
                  <a:lnTo>
                    <a:pt x="50" y="257"/>
                  </a:lnTo>
                  <a:lnTo>
                    <a:pt x="52" y="259"/>
                  </a:lnTo>
                  <a:lnTo>
                    <a:pt x="54" y="261"/>
                  </a:lnTo>
                  <a:lnTo>
                    <a:pt x="56" y="265"/>
                  </a:lnTo>
                  <a:lnTo>
                    <a:pt x="58" y="265"/>
                  </a:lnTo>
                  <a:lnTo>
                    <a:pt x="60" y="266"/>
                  </a:lnTo>
                  <a:lnTo>
                    <a:pt x="61" y="266"/>
                  </a:lnTo>
                  <a:lnTo>
                    <a:pt x="63" y="268"/>
                  </a:lnTo>
                  <a:lnTo>
                    <a:pt x="65" y="268"/>
                  </a:lnTo>
                  <a:lnTo>
                    <a:pt x="74" y="270"/>
                  </a:lnTo>
                  <a:lnTo>
                    <a:pt x="84" y="272"/>
                  </a:lnTo>
                  <a:lnTo>
                    <a:pt x="87" y="272"/>
                  </a:lnTo>
                  <a:lnTo>
                    <a:pt x="91" y="272"/>
                  </a:lnTo>
                  <a:lnTo>
                    <a:pt x="93" y="274"/>
                  </a:lnTo>
                  <a:lnTo>
                    <a:pt x="93" y="276"/>
                  </a:lnTo>
                  <a:lnTo>
                    <a:pt x="97" y="279"/>
                  </a:lnTo>
                  <a:lnTo>
                    <a:pt x="98" y="283"/>
                  </a:lnTo>
                  <a:lnTo>
                    <a:pt x="100" y="285"/>
                  </a:lnTo>
                  <a:lnTo>
                    <a:pt x="104" y="287"/>
                  </a:lnTo>
                  <a:lnTo>
                    <a:pt x="106" y="287"/>
                  </a:lnTo>
                  <a:lnTo>
                    <a:pt x="108" y="285"/>
                  </a:lnTo>
                  <a:lnTo>
                    <a:pt x="111" y="283"/>
                  </a:lnTo>
                  <a:lnTo>
                    <a:pt x="117" y="279"/>
                  </a:lnTo>
                  <a:lnTo>
                    <a:pt x="119" y="279"/>
                  </a:lnTo>
                  <a:lnTo>
                    <a:pt x="121" y="281"/>
                  </a:lnTo>
                  <a:lnTo>
                    <a:pt x="124" y="281"/>
                  </a:lnTo>
                  <a:lnTo>
                    <a:pt x="128" y="281"/>
                  </a:lnTo>
                  <a:lnTo>
                    <a:pt x="130" y="281"/>
                  </a:lnTo>
                  <a:lnTo>
                    <a:pt x="130" y="276"/>
                  </a:lnTo>
                  <a:lnTo>
                    <a:pt x="130" y="274"/>
                  </a:lnTo>
                  <a:lnTo>
                    <a:pt x="130" y="270"/>
                  </a:lnTo>
                  <a:lnTo>
                    <a:pt x="130" y="268"/>
                  </a:lnTo>
                  <a:lnTo>
                    <a:pt x="130" y="265"/>
                  </a:lnTo>
                  <a:lnTo>
                    <a:pt x="128" y="259"/>
                  </a:lnTo>
                  <a:lnTo>
                    <a:pt x="126" y="254"/>
                  </a:lnTo>
                  <a:lnTo>
                    <a:pt x="126" y="250"/>
                  </a:lnTo>
                  <a:lnTo>
                    <a:pt x="124" y="246"/>
                  </a:lnTo>
                  <a:lnTo>
                    <a:pt x="126" y="248"/>
                  </a:lnTo>
                  <a:lnTo>
                    <a:pt x="128" y="252"/>
                  </a:lnTo>
                  <a:lnTo>
                    <a:pt x="128" y="255"/>
                  </a:lnTo>
                  <a:lnTo>
                    <a:pt x="130" y="259"/>
                  </a:lnTo>
                  <a:lnTo>
                    <a:pt x="132" y="261"/>
                  </a:lnTo>
                  <a:lnTo>
                    <a:pt x="133" y="261"/>
                  </a:lnTo>
                  <a:lnTo>
                    <a:pt x="135" y="261"/>
                  </a:lnTo>
                  <a:lnTo>
                    <a:pt x="137" y="259"/>
                  </a:lnTo>
                  <a:lnTo>
                    <a:pt x="139" y="259"/>
                  </a:lnTo>
                  <a:lnTo>
                    <a:pt x="141" y="257"/>
                  </a:lnTo>
                  <a:lnTo>
                    <a:pt x="143" y="255"/>
                  </a:lnTo>
                  <a:lnTo>
                    <a:pt x="145" y="254"/>
                  </a:lnTo>
                  <a:lnTo>
                    <a:pt x="145" y="250"/>
                  </a:lnTo>
                  <a:lnTo>
                    <a:pt x="146" y="246"/>
                  </a:lnTo>
                  <a:lnTo>
                    <a:pt x="146" y="244"/>
                  </a:lnTo>
                  <a:lnTo>
                    <a:pt x="148" y="242"/>
                  </a:lnTo>
                  <a:lnTo>
                    <a:pt x="152" y="241"/>
                  </a:lnTo>
                  <a:lnTo>
                    <a:pt x="156" y="239"/>
                  </a:lnTo>
                  <a:lnTo>
                    <a:pt x="156" y="237"/>
                  </a:lnTo>
                  <a:lnTo>
                    <a:pt x="157" y="235"/>
                  </a:lnTo>
                  <a:lnTo>
                    <a:pt x="159" y="233"/>
                  </a:lnTo>
                  <a:lnTo>
                    <a:pt x="161" y="231"/>
                  </a:lnTo>
                  <a:lnTo>
                    <a:pt x="165" y="228"/>
                  </a:lnTo>
                  <a:lnTo>
                    <a:pt x="167" y="222"/>
                  </a:lnTo>
                  <a:lnTo>
                    <a:pt x="169" y="224"/>
                  </a:lnTo>
                  <a:lnTo>
                    <a:pt x="170" y="226"/>
                  </a:lnTo>
                  <a:lnTo>
                    <a:pt x="174" y="228"/>
                  </a:lnTo>
                  <a:lnTo>
                    <a:pt x="176" y="230"/>
                  </a:lnTo>
                  <a:lnTo>
                    <a:pt x="178" y="230"/>
                  </a:lnTo>
                  <a:lnTo>
                    <a:pt x="180" y="230"/>
                  </a:lnTo>
                  <a:lnTo>
                    <a:pt x="181" y="228"/>
                  </a:lnTo>
                  <a:lnTo>
                    <a:pt x="183" y="228"/>
                  </a:lnTo>
                  <a:lnTo>
                    <a:pt x="187" y="224"/>
                  </a:lnTo>
                  <a:lnTo>
                    <a:pt x="191" y="222"/>
                  </a:lnTo>
                  <a:lnTo>
                    <a:pt x="194" y="217"/>
                  </a:lnTo>
                  <a:lnTo>
                    <a:pt x="198" y="213"/>
                  </a:lnTo>
                  <a:lnTo>
                    <a:pt x="198" y="211"/>
                  </a:lnTo>
                  <a:lnTo>
                    <a:pt x="198" y="209"/>
                  </a:lnTo>
                  <a:lnTo>
                    <a:pt x="198" y="207"/>
                  </a:lnTo>
                  <a:lnTo>
                    <a:pt x="198" y="206"/>
                  </a:lnTo>
                  <a:lnTo>
                    <a:pt x="196" y="206"/>
                  </a:lnTo>
                  <a:lnTo>
                    <a:pt x="196" y="204"/>
                  </a:lnTo>
                  <a:lnTo>
                    <a:pt x="194" y="204"/>
                  </a:lnTo>
                  <a:lnTo>
                    <a:pt x="193" y="204"/>
                  </a:lnTo>
                  <a:lnTo>
                    <a:pt x="191" y="204"/>
                  </a:lnTo>
                  <a:lnTo>
                    <a:pt x="185" y="204"/>
                  </a:lnTo>
                  <a:lnTo>
                    <a:pt x="180" y="204"/>
                  </a:lnTo>
                  <a:lnTo>
                    <a:pt x="176" y="204"/>
                  </a:lnTo>
                  <a:lnTo>
                    <a:pt x="170" y="204"/>
                  </a:lnTo>
                  <a:lnTo>
                    <a:pt x="167" y="202"/>
                  </a:lnTo>
                  <a:lnTo>
                    <a:pt x="163" y="202"/>
                  </a:lnTo>
                  <a:lnTo>
                    <a:pt x="159" y="200"/>
                  </a:lnTo>
                  <a:lnTo>
                    <a:pt x="157" y="200"/>
                  </a:lnTo>
                  <a:lnTo>
                    <a:pt x="156" y="198"/>
                  </a:lnTo>
                  <a:lnTo>
                    <a:pt x="154" y="196"/>
                  </a:lnTo>
                  <a:lnTo>
                    <a:pt x="150" y="193"/>
                  </a:lnTo>
                  <a:lnTo>
                    <a:pt x="148" y="191"/>
                  </a:lnTo>
                  <a:lnTo>
                    <a:pt x="146" y="189"/>
                  </a:lnTo>
                  <a:lnTo>
                    <a:pt x="145" y="185"/>
                  </a:lnTo>
                  <a:lnTo>
                    <a:pt x="145" y="183"/>
                  </a:lnTo>
                  <a:lnTo>
                    <a:pt x="143" y="181"/>
                  </a:lnTo>
                  <a:lnTo>
                    <a:pt x="141" y="180"/>
                  </a:lnTo>
                  <a:lnTo>
                    <a:pt x="141" y="176"/>
                  </a:lnTo>
                  <a:lnTo>
                    <a:pt x="141" y="174"/>
                  </a:lnTo>
                  <a:lnTo>
                    <a:pt x="141" y="172"/>
                  </a:lnTo>
                  <a:lnTo>
                    <a:pt x="141" y="170"/>
                  </a:lnTo>
                  <a:lnTo>
                    <a:pt x="141" y="169"/>
                  </a:lnTo>
                  <a:lnTo>
                    <a:pt x="143" y="167"/>
                  </a:lnTo>
                  <a:lnTo>
                    <a:pt x="143" y="165"/>
                  </a:lnTo>
                  <a:lnTo>
                    <a:pt x="145" y="165"/>
                  </a:lnTo>
                  <a:lnTo>
                    <a:pt x="145" y="163"/>
                  </a:lnTo>
                  <a:lnTo>
                    <a:pt x="148" y="163"/>
                  </a:lnTo>
                  <a:lnTo>
                    <a:pt x="150" y="161"/>
                  </a:lnTo>
                  <a:lnTo>
                    <a:pt x="150" y="163"/>
                  </a:lnTo>
                  <a:lnTo>
                    <a:pt x="150" y="165"/>
                  </a:lnTo>
                  <a:lnTo>
                    <a:pt x="150" y="169"/>
                  </a:lnTo>
                  <a:lnTo>
                    <a:pt x="150" y="172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80"/>
                  </a:lnTo>
                  <a:lnTo>
                    <a:pt x="152" y="181"/>
                  </a:lnTo>
                  <a:lnTo>
                    <a:pt x="152" y="183"/>
                  </a:lnTo>
                  <a:lnTo>
                    <a:pt x="152" y="185"/>
                  </a:lnTo>
                  <a:lnTo>
                    <a:pt x="154" y="187"/>
                  </a:lnTo>
                  <a:lnTo>
                    <a:pt x="156" y="189"/>
                  </a:lnTo>
                  <a:lnTo>
                    <a:pt x="157" y="189"/>
                  </a:lnTo>
                  <a:lnTo>
                    <a:pt x="161" y="191"/>
                  </a:lnTo>
                  <a:lnTo>
                    <a:pt x="165" y="193"/>
                  </a:lnTo>
                  <a:lnTo>
                    <a:pt x="169" y="194"/>
                  </a:lnTo>
                  <a:lnTo>
                    <a:pt x="170" y="194"/>
                  </a:lnTo>
                  <a:lnTo>
                    <a:pt x="174" y="194"/>
                  </a:lnTo>
                  <a:lnTo>
                    <a:pt x="176" y="196"/>
                  </a:lnTo>
                  <a:lnTo>
                    <a:pt x="180" y="196"/>
                  </a:lnTo>
                  <a:lnTo>
                    <a:pt x="193" y="196"/>
                  </a:lnTo>
                  <a:lnTo>
                    <a:pt x="206" y="194"/>
                  </a:lnTo>
                  <a:lnTo>
                    <a:pt x="207" y="194"/>
                  </a:lnTo>
                  <a:lnTo>
                    <a:pt x="209" y="193"/>
                  </a:lnTo>
                  <a:lnTo>
                    <a:pt x="211" y="191"/>
                  </a:lnTo>
                  <a:lnTo>
                    <a:pt x="211" y="189"/>
                  </a:lnTo>
                  <a:lnTo>
                    <a:pt x="211" y="185"/>
                  </a:lnTo>
                  <a:lnTo>
                    <a:pt x="209" y="181"/>
                  </a:lnTo>
                  <a:lnTo>
                    <a:pt x="207" y="176"/>
                  </a:lnTo>
                  <a:lnTo>
                    <a:pt x="207" y="174"/>
                  </a:lnTo>
                  <a:lnTo>
                    <a:pt x="207" y="172"/>
                  </a:lnTo>
                  <a:lnTo>
                    <a:pt x="207" y="170"/>
                  </a:lnTo>
                  <a:lnTo>
                    <a:pt x="209" y="169"/>
                  </a:lnTo>
                  <a:lnTo>
                    <a:pt x="207" y="169"/>
                  </a:lnTo>
                  <a:lnTo>
                    <a:pt x="207" y="167"/>
                  </a:lnTo>
                  <a:lnTo>
                    <a:pt x="207" y="165"/>
                  </a:lnTo>
                  <a:lnTo>
                    <a:pt x="207" y="163"/>
                  </a:lnTo>
                  <a:lnTo>
                    <a:pt x="204" y="159"/>
                  </a:lnTo>
                  <a:lnTo>
                    <a:pt x="202" y="157"/>
                  </a:lnTo>
                  <a:lnTo>
                    <a:pt x="200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48"/>
                  </a:lnTo>
                  <a:lnTo>
                    <a:pt x="198" y="146"/>
                  </a:lnTo>
                  <a:lnTo>
                    <a:pt x="200" y="146"/>
                  </a:lnTo>
                  <a:lnTo>
                    <a:pt x="200" y="141"/>
                  </a:lnTo>
                  <a:lnTo>
                    <a:pt x="200" y="137"/>
                  </a:lnTo>
                  <a:lnTo>
                    <a:pt x="200" y="135"/>
                  </a:lnTo>
                  <a:lnTo>
                    <a:pt x="200" y="133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89" y="133"/>
                  </a:lnTo>
                  <a:lnTo>
                    <a:pt x="185" y="135"/>
                  </a:lnTo>
                  <a:lnTo>
                    <a:pt x="183" y="137"/>
                  </a:lnTo>
                  <a:lnTo>
                    <a:pt x="181" y="137"/>
                  </a:lnTo>
                  <a:lnTo>
                    <a:pt x="180" y="139"/>
                  </a:lnTo>
                  <a:lnTo>
                    <a:pt x="174" y="135"/>
                  </a:lnTo>
                  <a:lnTo>
                    <a:pt x="169" y="133"/>
                  </a:lnTo>
                  <a:lnTo>
                    <a:pt x="167" y="133"/>
                  </a:lnTo>
                  <a:lnTo>
                    <a:pt x="161" y="135"/>
                  </a:lnTo>
                  <a:lnTo>
                    <a:pt x="156" y="135"/>
                  </a:lnTo>
                  <a:lnTo>
                    <a:pt x="154" y="137"/>
                  </a:lnTo>
                  <a:lnTo>
                    <a:pt x="152" y="139"/>
                  </a:lnTo>
                  <a:lnTo>
                    <a:pt x="148" y="143"/>
                  </a:lnTo>
                  <a:lnTo>
                    <a:pt x="145" y="146"/>
                  </a:lnTo>
                  <a:lnTo>
                    <a:pt x="143" y="148"/>
                  </a:lnTo>
                  <a:lnTo>
                    <a:pt x="141" y="150"/>
                  </a:lnTo>
                  <a:lnTo>
                    <a:pt x="141" y="152"/>
                  </a:lnTo>
                  <a:lnTo>
                    <a:pt x="137" y="152"/>
                  </a:lnTo>
                  <a:lnTo>
                    <a:pt x="135" y="154"/>
                  </a:lnTo>
                  <a:lnTo>
                    <a:pt x="124" y="148"/>
                  </a:lnTo>
                  <a:lnTo>
                    <a:pt x="113" y="145"/>
                  </a:lnTo>
                  <a:lnTo>
                    <a:pt x="109" y="145"/>
                  </a:lnTo>
                  <a:lnTo>
                    <a:pt x="106" y="143"/>
                  </a:lnTo>
                  <a:lnTo>
                    <a:pt x="104" y="143"/>
                  </a:lnTo>
                  <a:lnTo>
                    <a:pt x="104" y="145"/>
                  </a:lnTo>
                  <a:lnTo>
                    <a:pt x="102" y="145"/>
                  </a:lnTo>
                  <a:lnTo>
                    <a:pt x="100" y="145"/>
                  </a:lnTo>
                  <a:lnTo>
                    <a:pt x="98" y="148"/>
                  </a:lnTo>
                  <a:lnTo>
                    <a:pt x="98" y="150"/>
                  </a:lnTo>
                  <a:lnTo>
                    <a:pt x="98" y="152"/>
                  </a:lnTo>
                  <a:lnTo>
                    <a:pt x="100" y="154"/>
                  </a:lnTo>
                  <a:lnTo>
                    <a:pt x="102" y="157"/>
                  </a:lnTo>
                  <a:lnTo>
                    <a:pt x="102" y="159"/>
                  </a:lnTo>
                  <a:lnTo>
                    <a:pt x="102" y="161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100" y="167"/>
                  </a:lnTo>
                  <a:lnTo>
                    <a:pt x="100" y="169"/>
                  </a:lnTo>
                  <a:lnTo>
                    <a:pt x="102" y="170"/>
                  </a:lnTo>
                  <a:lnTo>
                    <a:pt x="102" y="172"/>
                  </a:lnTo>
                  <a:lnTo>
                    <a:pt x="104" y="174"/>
                  </a:lnTo>
                  <a:lnTo>
                    <a:pt x="108" y="176"/>
                  </a:lnTo>
                  <a:lnTo>
                    <a:pt x="111" y="178"/>
                  </a:lnTo>
                  <a:lnTo>
                    <a:pt x="113" y="180"/>
                  </a:lnTo>
                  <a:lnTo>
                    <a:pt x="115" y="181"/>
                  </a:lnTo>
                  <a:lnTo>
                    <a:pt x="115" y="183"/>
                  </a:lnTo>
                  <a:lnTo>
                    <a:pt x="117" y="185"/>
                  </a:lnTo>
                  <a:lnTo>
                    <a:pt x="117" y="187"/>
                  </a:lnTo>
                  <a:lnTo>
                    <a:pt x="117" y="189"/>
                  </a:lnTo>
                  <a:lnTo>
                    <a:pt x="109" y="191"/>
                  </a:lnTo>
                  <a:lnTo>
                    <a:pt x="104" y="189"/>
                  </a:lnTo>
                  <a:lnTo>
                    <a:pt x="102" y="187"/>
                  </a:lnTo>
                  <a:lnTo>
                    <a:pt x="98" y="185"/>
                  </a:lnTo>
                  <a:lnTo>
                    <a:pt x="93" y="181"/>
                  </a:lnTo>
                  <a:lnTo>
                    <a:pt x="89" y="178"/>
                  </a:lnTo>
                  <a:lnTo>
                    <a:pt x="87" y="176"/>
                  </a:lnTo>
                  <a:lnTo>
                    <a:pt x="85" y="174"/>
                  </a:lnTo>
                  <a:lnTo>
                    <a:pt x="84" y="174"/>
                  </a:lnTo>
                  <a:lnTo>
                    <a:pt x="82" y="174"/>
                  </a:lnTo>
                  <a:lnTo>
                    <a:pt x="76" y="174"/>
                  </a:lnTo>
                  <a:lnTo>
                    <a:pt x="69" y="174"/>
                  </a:lnTo>
                  <a:lnTo>
                    <a:pt x="67" y="172"/>
                  </a:lnTo>
                  <a:lnTo>
                    <a:pt x="65" y="172"/>
                  </a:lnTo>
                  <a:lnTo>
                    <a:pt x="65" y="170"/>
                  </a:lnTo>
                  <a:lnTo>
                    <a:pt x="63" y="169"/>
                  </a:lnTo>
                  <a:lnTo>
                    <a:pt x="60" y="169"/>
                  </a:lnTo>
                  <a:lnTo>
                    <a:pt x="58" y="167"/>
                  </a:lnTo>
                  <a:lnTo>
                    <a:pt x="56" y="167"/>
                  </a:lnTo>
                  <a:lnTo>
                    <a:pt x="54" y="169"/>
                  </a:lnTo>
                  <a:lnTo>
                    <a:pt x="52" y="169"/>
                  </a:lnTo>
                  <a:lnTo>
                    <a:pt x="50" y="170"/>
                  </a:lnTo>
                  <a:lnTo>
                    <a:pt x="48" y="172"/>
                  </a:lnTo>
                  <a:lnTo>
                    <a:pt x="45" y="178"/>
                  </a:lnTo>
                  <a:lnTo>
                    <a:pt x="43" y="185"/>
                  </a:lnTo>
                  <a:lnTo>
                    <a:pt x="43" y="187"/>
                  </a:lnTo>
                  <a:lnTo>
                    <a:pt x="43" y="189"/>
                  </a:lnTo>
                  <a:lnTo>
                    <a:pt x="41" y="193"/>
                  </a:lnTo>
                  <a:lnTo>
                    <a:pt x="41" y="194"/>
                  </a:lnTo>
                  <a:lnTo>
                    <a:pt x="39" y="198"/>
                  </a:lnTo>
                  <a:lnTo>
                    <a:pt x="37" y="202"/>
                  </a:lnTo>
                  <a:lnTo>
                    <a:pt x="36" y="204"/>
                  </a:lnTo>
                  <a:lnTo>
                    <a:pt x="36" y="206"/>
                  </a:lnTo>
                  <a:lnTo>
                    <a:pt x="36" y="207"/>
                  </a:lnTo>
                  <a:lnTo>
                    <a:pt x="36" y="209"/>
                  </a:lnTo>
                  <a:lnTo>
                    <a:pt x="37" y="211"/>
                  </a:lnTo>
                  <a:lnTo>
                    <a:pt x="39" y="213"/>
                  </a:lnTo>
                  <a:lnTo>
                    <a:pt x="41" y="215"/>
                  </a:lnTo>
                  <a:lnTo>
                    <a:pt x="43" y="215"/>
                  </a:lnTo>
                  <a:lnTo>
                    <a:pt x="45" y="217"/>
                  </a:lnTo>
                  <a:close/>
                  <a:moveTo>
                    <a:pt x="257" y="145"/>
                  </a:moveTo>
                  <a:lnTo>
                    <a:pt x="265" y="143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4" y="143"/>
                  </a:lnTo>
                  <a:lnTo>
                    <a:pt x="278" y="145"/>
                  </a:lnTo>
                  <a:lnTo>
                    <a:pt x="279" y="145"/>
                  </a:lnTo>
                  <a:lnTo>
                    <a:pt x="281" y="146"/>
                  </a:lnTo>
                  <a:lnTo>
                    <a:pt x="283" y="146"/>
                  </a:lnTo>
                  <a:lnTo>
                    <a:pt x="285" y="146"/>
                  </a:lnTo>
                  <a:lnTo>
                    <a:pt x="287" y="146"/>
                  </a:lnTo>
                  <a:lnTo>
                    <a:pt x="289" y="146"/>
                  </a:lnTo>
                  <a:lnTo>
                    <a:pt x="290" y="146"/>
                  </a:lnTo>
                  <a:lnTo>
                    <a:pt x="292" y="143"/>
                  </a:lnTo>
                  <a:lnTo>
                    <a:pt x="296" y="141"/>
                  </a:lnTo>
                  <a:lnTo>
                    <a:pt x="303" y="133"/>
                  </a:lnTo>
                  <a:lnTo>
                    <a:pt x="309" y="124"/>
                  </a:lnTo>
                  <a:lnTo>
                    <a:pt x="313" y="122"/>
                  </a:lnTo>
                  <a:lnTo>
                    <a:pt x="314" y="119"/>
                  </a:lnTo>
                  <a:lnTo>
                    <a:pt x="316" y="115"/>
                  </a:lnTo>
                  <a:lnTo>
                    <a:pt x="318" y="113"/>
                  </a:lnTo>
                  <a:lnTo>
                    <a:pt x="320" y="109"/>
                  </a:lnTo>
                  <a:lnTo>
                    <a:pt x="320" y="106"/>
                  </a:lnTo>
                  <a:lnTo>
                    <a:pt x="322" y="104"/>
                  </a:lnTo>
                  <a:lnTo>
                    <a:pt x="322" y="102"/>
                  </a:lnTo>
                  <a:lnTo>
                    <a:pt x="322" y="100"/>
                  </a:lnTo>
                  <a:lnTo>
                    <a:pt x="322" y="98"/>
                  </a:lnTo>
                  <a:lnTo>
                    <a:pt x="322" y="96"/>
                  </a:lnTo>
                  <a:lnTo>
                    <a:pt x="322" y="95"/>
                  </a:lnTo>
                  <a:lnTo>
                    <a:pt x="322" y="91"/>
                  </a:lnTo>
                  <a:lnTo>
                    <a:pt x="320" y="89"/>
                  </a:lnTo>
                  <a:lnTo>
                    <a:pt x="320" y="87"/>
                  </a:lnTo>
                  <a:lnTo>
                    <a:pt x="318" y="85"/>
                  </a:lnTo>
                  <a:lnTo>
                    <a:pt x="316" y="85"/>
                  </a:lnTo>
                  <a:lnTo>
                    <a:pt x="314" y="85"/>
                  </a:lnTo>
                  <a:lnTo>
                    <a:pt x="313" y="85"/>
                  </a:lnTo>
                  <a:lnTo>
                    <a:pt x="311" y="85"/>
                  </a:lnTo>
                  <a:lnTo>
                    <a:pt x="307" y="89"/>
                  </a:lnTo>
                  <a:lnTo>
                    <a:pt x="303" y="93"/>
                  </a:lnTo>
                  <a:lnTo>
                    <a:pt x="302" y="93"/>
                  </a:lnTo>
                  <a:lnTo>
                    <a:pt x="300" y="93"/>
                  </a:lnTo>
                  <a:lnTo>
                    <a:pt x="298" y="93"/>
                  </a:lnTo>
                  <a:lnTo>
                    <a:pt x="296" y="93"/>
                  </a:lnTo>
                  <a:lnTo>
                    <a:pt x="294" y="91"/>
                  </a:lnTo>
                  <a:lnTo>
                    <a:pt x="292" y="91"/>
                  </a:lnTo>
                  <a:lnTo>
                    <a:pt x="290" y="91"/>
                  </a:lnTo>
                  <a:lnTo>
                    <a:pt x="289" y="93"/>
                  </a:lnTo>
                  <a:lnTo>
                    <a:pt x="285" y="95"/>
                  </a:lnTo>
                  <a:lnTo>
                    <a:pt x="283" y="95"/>
                  </a:lnTo>
                  <a:lnTo>
                    <a:pt x="281" y="96"/>
                  </a:lnTo>
                  <a:lnTo>
                    <a:pt x="279" y="100"/>
                  </a:lnTo>
                  <a:lnTo>
                    <a:pt x="276" y="102"/>
                  </a:lnTo>
                  <a:lnTo>
                    <a:pt x="274" y="106"/>
                  </a:lnTo>
                  <a:lnTo>
                    <a:pt x="270" y="108"/>
                  </a:lnTo>
                  <a:lnTo>
                    <a:pt x="265" y="108"/>
                  </a:lnTo>
                  <a:lnTo>
                    <a:pt x="257" y="106"/>
                  </a:lnTo>
                  <a:lnTo>
                    <a:pt x="255" y="106"/>
                  </a:lnTo>
                  <a:lnTo>
                    <a:pt x="254" y="104"/>
                  </a:lnTo>
                  <a:lnTo>
                    <a:pt x="252" y="104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6" y="104"/>
                  </a:lnTo>
                  <a:lnTo>
                    <a:pt x="244" y="104"/>
                  </a:lnTo>
                  <a:lnTo>
                    <a:pt x="244" y="106"/>
                  </a:lnTo>
                  <a:lnTo>
                    <a:pt x="242" y="106"/>
                  </a:lnTo>
                  <a:lnTo>
                    <a:pt x="241" y="106"/>
                  </a:lnTo>
                  <a:lnTo>
                    <a:pt x="241" y="108"/>
                  </a:lnTo>
                  <a:lnTo>
                    <a:pt x="239" y="109"/>
                  </a:lnTo>
                  <a:lnTo>
                    <a:pt x="237" y="111"/>
                  </a:lnTo>
                  <a:lnTo>
                    <a:pt x="235" y="113"/>
                  </a:lnTo>
                  <a:lnTo>
                    <a:pt x="233" y="121"/>
                  </a:lnTo>
                  <a:lnTo>
                    <a:pt x="231" y="128"/>
                  </a:lnTo>
                  <a:lnTo>
                    <a:pt x="230" y="128"/>
                  </a:lnTo>
                  <a:lnTo>
                    <a:pt x="228" y="126"/>
                  </a:lnTo>
                  <a:lnTo>
                    <a:pt x="226" y="122"/>
                  </a:lnTo>
                  <a:lnTo>
                    <a:pt x="224" y="122"/>
                  </a:lnTo>
                  <a:lnTo>
                    <a:pt x="222" y="121"/>
                  </a:lnTo>
                  <a:lnTo>
                    <a:pt x="220" y="122"/>
                  </a:lnTo>
                  <a:lnTo>
                    <a:pt x="218" y="122"/>
                  </a:lnTo>
                  <a:lnTo>
                    <a:pt x="217" y="124"/>
                  </a:lnTo>
                  <a:lnTo>
                    <a:pt x="215" y="126"/>
                  </a:lnTo>
                  <a:lnTo>
                    <a:pt x="217" y="130"/>
                  </a:lnTo>
                  <a:lnTo>
                    <a:pt x="218" y="133"/>
                  </a:lnTo>
                  <a:lnTo>
                    <a:pt x="218" y="135"/>
                  </a:lnTo>
                  <a:lnTo>
                    <a:pt x="220" y="137"/>
                  </a:lnTo>
                  <a:lnTo>
                    <a:pt x="220" y="139"/>
                  </a:lnTo>
                  <a:lnTo>
                    <a:pt x="222" y="141"/>
                  </a:lnTo>
                  <a:lnTo>
                    <a:pt x="224" y="143"/>
                  </a:lnTo>
                  <a:lnTo>
                    <a:pt x="226" y="145"/>
                  </a:lnTo>
                  <a:lnTo>
                    <a:pt x="228" y="145"/>
                  </a:lnTo>
                  <a:lnTo>
                    <a:pt x="230" y="146"/>
                  </a:lnTo>
                  <a:lnTo>
                    <a:pt x="231" y="146"/>
                  </a:lnTo>
                  <a:lnTo>
                    <a:pt x="233" y="146"/>
                  </a:lnTo>
                  <a:lnTo>
                    <a:pt x="235" y="148"/>
                  </a:lnTo>
                  <a:lnTo>
                    <a:pt x="239" y="148"/>
                  </a:lnTo>
                  <a:lnTo>
                    <a:pt x="242" y="148"/>
                  </a:lnTo>
                  <a:lnTo>
                    <a:pt x="244" y="148"/>
                  </a:lnTo>
                  <a:lnTo>
                    <a:pt x="248" y="146"/>
                  </a:lnTo>
                  <a:lnTo>
                    <a:pt x="252" y="146"/>
                  </a:lnTo>
                  <a:lnTo>
                    <a:pt x="257" y="145"/>
                  </a:lnTo>
                  <a:close/>
                  <a:moveTo>
                    <a:pt x="185" y="23"/>
                  </a:moveTo>
                  <a:lnTo>
                    <a:pt x="187" y="23"/>
                  </a:lnTo>
                  <a:lnTo>
                    <a:pt x="189" y="24"/>
                  </a:lnTo>
                  <a:lnTo>
                    <a:pt x="191" y="24"/>
                  </a:lnTo>
                  <a:lnTo>
                    <a:pt x="193" y="24"/>
                  </a:lnTo>
                  <a:lnTo>
                    <a:pt x="194" y="24"/>
                  </a:lnTo>
                  <a:lnTo>
                    <a:pt x="196" y="24"/>
                  </a:lnTo>
                  <a:lnTo>
                    <a:pt x="202" y="23"/>
                  </a:lnTo>
                  <a:lnTo>
                    <a:pt x="206" y="17"/>
                  </a:lnTo>
                  <a:lnTo>
                    <a:pt x="206" y="15"/>
                  </a:lnTo>
                  <a:lnTo>
                    <a:pt x="206" y="13"/>
                  </a:lnTo>
                  <a:lnTo>
                    <a:pt x="206" y="11"/>
                  </a:lnTo>
                  <a:lnTo>
                    <a:pt x="206" y="10"/>
                  </a:lnTo>
                  <a:lnTo>
                    <a:pt x="206" y="8"/>
                  </a:lnTo>
                  <a:lnTo>
                    <a:pt x="204" y="6"/>
                  </a:lnTo>
                  <a:lnTo>
                    <a:pt x="204" y="4"/>
                  </a:lnTo>
                  <a:lnTo>
                    <a:pt x="202" y="2"/>
                  </a:lnTo>
                  <a:lnTo>
                    <a:pt x="200" y="2"/>
                  </a:lnTo>
                  <a:lnTo>
                    <a:pt x="198" y="2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94" y="2"/>
                  </a:lnTo>
                  <a:lnTo>
                    <a:pt x="193" y="2"/>
                  </a:lnTo>
                  <a:lnTo>
                    <a:pt x="191" y="4"/>
                  </a:lnTo>
                  <a:lnTo>
                    <a:pt x="191" y="6"/>
                  </a:lnTo>
                  <a:lnTo>
                    <a:pt x="189" y="8"/>
                  </a:lnTo>
                  <a:lnTo>
                    <a:pt x="189" y="10"/>
                  </a:lnTo>
                  <a:lnTo>
                    <a:pt x="187" y="13"/>
                  </a:lnTo>
                  <a:lnTo>
                    <a:pt x="187" y="17"/>
                  </a:lnTo>
                  <a:lnTo>
                    <a:pt x="185" y="23"/>
                  </a:lnTo>
                  <a:close/>
                  <a:moveTo>
                    <a:pt x="747" y="146"/>
                  </a:moveTo>
                  <a:lnTo>
                    <a:pt x="747" y="146"/>
                  </a:lnTo>
                  <a:lnTo>
                    <a:pt x="747" y="145"/>
                  </a:lnTo>
                  <a:lnTo>
                    <a:pt x="745" y="143"/>
                  </a:lnTo>
                  <a:lnTo>
                    <a:pt x="741" y="141"/>
                  </a:lnTo>
                  <a:lnTo>
                    <a:pt x="736" y="141"/>
                  </a:lnTo>
                  <a:lnTo>
                    <a:pt x="734" y="141"/>
                  </a:lnTo>
                  <a:lnTo>
                    <a:pt x="732" y="143"/>
                  </a:lnTo>
                  <a:lnTo>
                    <a:pt x="732" y="145"/>
                  </a:lnTo>
                  <a:lnTo>
                    <a:pt x="732" y="146"/>
                  </a:lnTo>
                  <a:lnTo>
                    <a:pt x="732" y="148"/>
                  </a:lnTo>
                  <a:lnTo>
                    <a:pt x="734" y="150"/>
                  </a:lnTo>
                  <a:lnTo>
                    <a:pt x="736" y="150"/>
                  </a:lnTo>
                  <a:lnTo>
                    <a:pt x="738" y="152"/>
                  </a:lnTo>
                  <a:lnTo>
                    <a:pt x="739" y="152"/>
                  </a:lnTo>
                  <a:lnTo>
                    <a:pt x="741" y="154"/>
                  </a:lnTo>
                  <a:lnTo>
                    <a:pt x="743" y="154"/>
                  </a:lnTo>
                  <a:lnTo>
                    <a:pt x="745" y="152"/>
                  </a:lnTo>
                  <a:lnTo>
                    <a:pt x="747" y="152"/>
                  </a:lnTo>
                  <a:lnTo>
                    <a:pt x="747" y="150"/>
                  </a:lnTo>
                  <a:lnTo>
                    <a:pt x="747" y="148"/>
                  </a:lnTo>
                  <a:lnTo>
                    <a:pt x="747" y="146"/>
                  </a:lnTo>
                  <a:close/>
                  <a:moveTo>
                    <a:pt x="767" y="126"/>
                  </a:moveTo>
                  <a:lnTo>
                    <a:pt x="765" y="126"/>
                  </a:lnTo>
                  <a:lnTo>
                    <a:pt x="763" y="126"/>
                  </a:lnTo>
                  <a:lnTo>
                    <a:pt x="762" y="130"/>
                  </a:lnTo>
                  <a:lnTo>
                    <a:pt x="762" y="133"/>
                  </a:lnTo>
                  <a:lnTo>
                    <a:pt x="763" y="135"/>
                  </a:lnTo>
                  <a:lnTo>
                    <a:pt x="763" y="137"/>
                  </a:lnTo>
                  <a:lnTo>
                    <a:pt x="765" y="137"/>
                  </a:lnTo>
                  <a:lnTo>
                    <a:pt x="765" y="139"/>
                  </a:lnTo>
                  <a:lnTo>
                    <a:pt x="767" y="139"/>
                  </a:lnTo>
                  <a:lnTo>
                    <a:pt x="769" y="137"/>
                  </a:lnTo>
                  <a:lnTo>
                    <a:pt x="771" y="137"/>
                  </a:lnTo>
                  <a:lnTo>
                    <a:pt x="771" y="133"/>
                  </a:lnTo>
                  <a:lnTo>
                    <a:pt x="771" y="130"/>
                  </a:lnTo>
                  <a:lnTo>
                    <a:pt x="771" y="128"/>
                  </a:lnTo>
                  <a:lnTo>
                    <a:pt x="769" y="126"/>
                  </a:lnTo>
                  <a:lnTo>
                    <a:pt x="767" y="126"/>
                  </a:lnTo>
                  <a:close/>
                  <a:moveTo>
                    <a:pt x="749" y="119"/>
                  </a:moveTo>
                  <a:lnTo>
                    <a:pt x="749" y="119"/>
                  </a:lnTo>
                  <a:lnTo>
                    <a:pt x="745" y="119"/>
                  </a:lnTo>
                  <a:lnTo>
                    <a:pt x="743" y="122"/>
                  </a:lnTo>
                  <a:lnTo>
                    <a:pt x="743" y="126"/>
                  </a:lnTo>
                  <a:lnTo>
                    <a:pt x="745" y="128"/>
                  </a:lnTo>
                  <a:lnTo>
                    <a:pt x="747" y="128"/>
                  </a:lnTo>
                  <a:lnTo>
                    <a:pt x="749" y="130"/>
                  </a:lnTo>
                  <a:lnTo>
                    <a:pt x="750" y="128"/>
                  </a:lnTo>
                  <a:lnTo>
                    <a:pt x="752" y="128"/>
                  </a:lnTo>
                  <a:lnTo>
                    <a:pt x="754" y="126"/>
                  </a:lnTo>
                  <a:lnTo>
                    <a:pt x="754" y="122"/>
                  </a:lnTo>
                  <a:lnTo>
                    <a:pt x="754" y="121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49" y="119"/>
                  </a:lnTo>
                  <a:close/>
                  <a:moveTo>
                    <a:pt x="786" y="111"/>
                  </a:moveTo>
                  <a:lnTo>
                    <a:pt x="786" y="111"/>
                  </a:lnTo>
                  <a:lnTo>
                    <a:pt x="784" y="113"/>
                  </a:lnTo>
                  <a:lnTo>
                    <a:pt x="782" y="113"/>
                  </a:lnTo>
                  <a:lnTo>
                    <a:pt x="782" y="117"/>
                  </a:lnTo>
                  <a:lnTo>
                    <a:pt x="782" y="119"/>
                  </a:lnTo>
                  <a:lnTo>
                    <a:pt x="782" y="121"/>
                  </a:lnTo>
                  <a:lnTo>
                    <a:pt x="784" y="122"/>
                  </a:lnTo>
                  <a:lnTo>
                    <a:pt x="786" y="122"/>
                  </a:lnTo>
                  <a:lnTo>
                    <a:pt x="787" y="122"/>
                  </a:lnTo>
                  <a:lnTo>
                    <a:pt x="789" y="122"/>
                  </a:lnTo>
                  <a:lnTo>
                    <a:pt x="791" y="121"/>
                  </a:lnTo>
                  <a:lnTo>
                    <a:pt x="791" y="117"/>
                  </a:lnTo>
                  <a:lnTo>
                    <a:pt x="791" y="115"/>
                  </a:lnTo>
                  <a:lnTo>
                    <a:pt x="791" y="113"/>
                  </a:lnTo>
                  <a:lnTo>
                    <a:pt x="789" y="113"/>
                  </a:lnTo>
                  <a:lnTo>
                    <a:pt x="787" y="111"/>
                  </a:lnTo>
                  <a:lnTo>
                    <a:pt x="786" y="111"/>
                  </a:lnTo>
                  <a:close/>
                  <a:moveTo>
                    <a:pt x="841" y="167"/>
                  </a:moveTo>
                  <a:lnTo>
                    <a:pt x="839" y="167"/>
                  </a:lnTo>
                  <a:lnTo>
                    <a:pt x="837" y="167"/>
                  </a:lnTo>
                  <a:lnTo>
                    <a:pt x="837" y="169"/>
                  </a:lnTo>
                  <a:lnTo>
                    <a:pt x="835" y="172"/>
                  </a:lnTo>
                  <a:lnTo>
                    <a:pt x="835" y="176"/>
                  </a:lnTo>
                  <a:lnTo>
                    <a:pt x="837" y="178"/>
                  </a:lnTo>
                  <a:lnTo>
                    <a:pt x="839" y="180"/>
                  </a:lnTo>
                  <a:lnTo>
                    <a:pt x="841" y="180"/>
                  </a:lnTo>
                  <a:lnTo>
                    <a:pt x="843" y="180"/>
                  </a:lnTo>
                  <a:lnTo>
                    <a:pt x="843" y="178"/>
                  </a:lnTo>
                  <a:lnTo>
                    <a:pt x="845" y="178"/>
                  </a:lnTo>
                  <a:lnTo>
                    <a:pt x="845" y="174"/>
                  </a:lnTo>
                  <a:lnTo>
                    <a:pt x="845" y="169"/>
                  </a:lnTo>
                  <a:lnTo>
                    <a:pt x="843" y="167"/>
                  </a:lnTo>
                  <a:lnTo>
                    <a:pt x="841" y="167"/>
                  </a:lnTo>
                  <a:close/>
                  <a:moveTo>
                    <a:pt x="835" y="180"/>
                  </a:moveTo>
                  <a:lnTo>
                    <a:pt x="835" y="180"/>
                  </a:lnTo>
                  <a:lnTo>
                    <a:pt x="834" y="180"/>
                  </a:lnTo>
                  <a:lnTo>
                    <a:pt x="832" y="181"/>
                  </a:lnTo>
                  <a:lnTo>
                    <a:pt x="832" y="183"/>
                  </a:lnTo>
                  <a:lnTo>
                    <a:pt x="832" y="185"/>
                  </a:lnTo>
                  <a:lnTo>
                    <a:pt x="832" y="187"/>
                  </a:lnTo>
                  <a:lnTo>
                    <a:pt x="834" y="189"/>
                  </a:lnTo>
                  <a:lnTo>
                    <a:pt x="835" y="189"/>
                  </a:lnTo>
                  <a:lnTo>
                    <a:pt x="837" y="189"/>
                  </a:lnTo>
                  <a:lnTo>
                    <a:pt x="839" y="189"/>
                  </a:lnTo>
                  <a:lnTo>
                    <a:pt x="839" y="187"/>
                  </a:lnTo>
                  <a:lnTo>
                    <a:pt x="841" y="187"/>
                  </a:lnTo>
                  <a:lnTo>
                    <a:pt x="841" y="185"/>
                  </a:lnTo>
                  <a:lnTo>
                    <a:pt x="841" y="183"/>
                  </a:lnTo>
                  <a:lnTo>
                    <a:pt x="841" y="181"/>
                  </a:lnTo>
                  <a:lnTo>
                    <a:pt x="839" y="181"/>
                  </a:lnTo>
                  <a:lnTo>
                    <a:pt x="839" y="180"/>
                  </a:lnTo>
                  <a:lnTo>
                    <a:pt x="837" y="180"/>
                  </a:lnTo>
                  <a:lnTo>
                    <a:pt x="835" y="18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4" name="Freeform 20"/>
            <p:cNvSpPr>
              <a:spLocks/>
            </p:cNvSpPr>
            <p:nvPr/>
          </p:nvSpPr>
          <p:spPr bwMode="auto">
            <a:xfrm>
              <a:off x="5309376" y="1800408"/>
              <a:ext cx="806169" cy="874295"/>
            </a:xfrm>
            <a:custGeom>
              <a:avLst/>
              <a:gdLst>
                <a:gd name="T0" fmla="*/ 1454 w 1545"/>
                <a:gd name="T1" fmla="*/ 118 h 1718"/>
                <a:gd name="T2" fmla="*/ 1491 w 1545"/>
                <a:gd name="T3" fmla="*/ 214 h 1718"/>
                <a:gd name="T4" fmla="*/ 1535 w 1545"/>
                <a:gd name="T5" fmla="*/ 292 h 1718"/>
                <a:gd name="T6" fmla="*/ 1467 w 1545"/>
                <a:gd name="T7" fmla="*/ 403 h 1718"/>
                <a:gd name="T8" fmla="*/ 1474 w 1545"/>
                <a:gd name="T9" fmla="*/ 451 h 1718"/>
                <a:gd name="T10" fmla="*/ 1478 w 1545"/>
                <a:gd name="T11" fmla="*/ 567 h 1718"/>
                <a:gd name="T12" fmla="*/ 1402 w 1545"/>
                <a:gd name="T13" fmla="*/ 617 h 1718"/>
                <a:gd name="T14" fmla="*/ 1391 w 1545"/>
                <a:gd name="T15" fmla="*/ 661 h 1718"/>
                <a:gd name="T16" fmla="*/ 1386 w 1545"/>
                <a:gd name="T17" fmla="*/ 733 h 1718"/>
                <a:gd name="T18" fmla="*/ 1436 w 1545"/>
                <a:gd name="T19" fmla="*/ 877 h 1718"/>
                <a:gd name="T20" fmla="*/ 1375 w 1545"/>
                <a:gd name="T21" fmla="*/ 896 h 1718"/>
                <a:gd name="T22" fmla="*/ 1293 w 1545"/>
                <a:gd name="T23" fmla="*/ 972 h 1718"/>
                <a:gd name="T24" fmla="*/ 1325 w 1545"/>
                <a:gd name="T25" fmla="*/ 1155 h 1718"/>
                <a:gd name="T26" fmla="*/ 1301 w 1545"/>
                <a:gd name="T27" fmla="*/ 1219 h 1718"/>
                <a:gd name="T28" fmla="*/ 1210 w 1545"/>
                <a:gd name="T29" fmla="*/ 1295 h 1718"/>
                <a:gd name="T30" fmla="*/ 1166 w 1545"/>
                <a:gd name="T31" fmla="*/ 1328 h 1718"/>
                <a:gd name="T32" fmla="*/ 1173 w 1545"/>
                <a:gd name="T33" fmla="*/ 1461 h 1718"/>
                <a:gd name="T34" fmla="*/ 1218 w 1545"/>
                <a:gd name="T35" fmla="*/ 1598 h 1718"/>
                <a:gd name="T36" fmla="*/ 1070 w 1545"/>
                <a:gd name="T37" fmla="*/ 1689 h 1718"/>
                <a:gd name="T38" fmla="*/ 907 w 1545"/>
                <a:gd name="T39" fmla="*/ 1700 h 1718"/>
                <a:gd name="T40" fmla="*/ 686 w 1545"/>
                <a:gd name="T41" fmla="*/ 1687 h 1718"/>
                <a:gd name="T42" fmla="*/ 638 w 1545"/>
                <a:gd name="T43" fmla="*/ 1611 h 1718"/>
                <a:gd name="T44" fmla="*/ 593 w 1545"/>
                <a:gd name="T45" fmla="*/ 1543 h 1718"/>
                <a:gd name="T46" fmla="*/ 549 w 1545"/>
                <a:gd name="T47" fmla="*/ 1522 h 1718"/>
                <a:gd name="T48" fmla="*/ 433 w 1545"/>
                <a:gd name="T49" fmla="*/ 1463 h 1718"/>
                <a:gd name="T50" fmla="*/ 366 w 1545"/>
                <a:gd name="T51" fmla="*/ 1604 h 1718"/>
                <a:gd name="T52" fmla="*/ 307 w 1545"/>
                <a:gd name="T53" fmla="*/ 1594 h 1718"/>
                <a:gd name="T54" fmla="*/ 220 w 1545"/>
                <a:gd name="T55" fmla="*/ 1561 h 1718"/>
                <a:gd name="T56" fmla="*/ 200 w 1545"/>
                <a:gd name="T57" fmla="*/ 1369 h 1718"/>
                <a:gd name="T58" fmla="*/ 130 w 1545"/>
                <a:gd name="T59" fmla="*/ 1262 h 1718"/>
                <a:gd name="T60" fmla="*/ 111 w 1545"/>
                <a:gd name="T61" fmla="*/ 1206 h 1718"/>
                <a:gd name="T62" fmla="*/ 28 w 1545"/>
                <a:gd name="T63" fmla="*/ 1177 h 1718"/>
                <a:gd name="T64" fmla="*/ 30 w 1545"/>
                <a:gd name="T65" fmla="*/ 1014 h 1718"/>
                <a:gd name="T66" fmla="*/ 35 w 1545"/>
                <a:gd name="T67" fmla="*/ 874 h 1718"/>
                <a:gd name="T68" fmla="*/ 91 w 1545"/>
                <a:gd name="T69" fmla="*/ 746 h 1718"/>
                <a:gd name="T70" fmla="*/ 155 w 1545"/>
                <a:gd name="T71" fmla="*/ 598 h 1718"/>
                <a:gd name="T72" fmla="*/ 94 w 1545"/>
                <a:gd name="T73" fmla="*/ 473 h 1718"/>
                <a:gd name="T74" fmla="*/ 135 w 1545"/>
                <a:gd name="T75" fmla="*/ 406 h 1718"/>
                <a:gd name="T76" fmla="*/ 157 w 1545"/>
                <a:gd name="T77" fmla="*/ 443 h 1718"/>
                <a:gd name="T78" fmla="*/ 274 w 1545"/>
                <a:gd name="T79" fmla="*/ 391 h 1718"/>
                <a:gd name="T80" fmla="*/ 342 w 1545"/>
                <a:gd name="T81" fmla="*/ 430 h 1718"/>
                <a:gd name="T82" fmla="*/ 392 w 1545"/>
                <a:gd name="T83" fmla="*/ 345 h 1718"/>
                <a:gd name="T84" fmla="*/ 469 w 1545"/>
                <a:gd name="T85" fmla="*/ 340 h 1718"/>
                <a:gd name="T86" fmla="*/ 542 w 1545"/>
                <a:gd name="T87" fmla="*/ 380 h 1718"/>
                <a:gd name="T88" fmla="*/ 549 w 1545"/>
                <a:gd name="T89" fmla="*/ 430 h 1718"/>
                <a:gd name="T90" fmla="*/ 586 w 1545"/>
                <a:gd name="T91" fmla="*/ 445 h 1718"/>
                <a:gd name="T92" fmla="*/ 660 w 1545"/>
                <a:gd name="T93" fmla="*/ 415 h 1718"/>
                <a:gd name="T94" fmla="*/ 737 w 1545"/>
                <a:gd name="T95" fmla="*/ 369 h 1718"/>
                <a:gd name="T96" fmla="*/ 815 w 1545"/>
                <a:gd name="T97" fmla="*/ 360 h 1718"/>
                <a:gd name="T98" fmla="*/ 841 w 1545"/>
                <a:gd name="T99" fmla="*/ 329 h 1718"/>
                <a:gd name="T100" fmla="*/ 795 w 1545"/>
                <a:gd name="T101" fmla="*/ 249 h 1718"/>
                <a:gd name="T102" fmla="*/ 941 w 1545"/>
                <a:gd name="T103" fmla="*/ 151 h 1718"/>
                <a:gd name="T104" fmla="*/ 946 w 1545"/>
                <a:gd name="T105" fmla="*/ 164 h 1718"/>
                <a:gd name="T106" fmla="*/ 939 w 1545"/>
                <a:gd name="T107" fmla="*/ 216 h 1718"/>
                <a:gd name="T108" fmla="*/ 974 w 1545"/>
                <a:gd name="T109" fmla="*/ 129 h 1718"/>
                <a:gd name="T110" fmla="*/ 1020 w 1545"/>
                <a:gd name="T111" fmla="*/ 149 h 1718"/>
                <a:gd name="T112" fmla="*/ 1101 w 1545"/>
                <a:gd name="T113" fmla="*/ 135 h 1718"/>
                <a:gd name="T114" fmla="*/ 1179 w 1545"/>
                <a:gd name="T115" fmla="*/ 87 h 1718"/>
                <a:gd name="T116" fmla="*/ 1321 w 1545"/>
                <a:gd name="T117" fmla="*/ 14 h 1718"/>
                <a:gd name="T118" fmla="*/ 1404 w 1545"/>
                <a:gd name="T119" fmla="*/ 27 h 17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545"/>
                <a:gd name="T181" fmla="*/ 0 h 1718"/>
                <a:gd name="T182" fmla="*/ 1545 w 1545"/>
                <a:gd name="T183" fmla="*/ 1718 h 17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545" h="1718">
                  <a:moveTo>
                    <a:pt x="1404" y="0"/>
                  </a:moveTo>
                  <a:lnTo>
                    <a:pt x="1419" y="9"/>
                  </a:lnTo>
                  <a:lnTo>
                    <a:pt x="1436" y="18"/>
                  </a:lnTo>
                  <a:lnTo>
                    <a:pt x="1450" y="27"/>
                  </a:lnTo>
                  <a:lnTo>
                    <a:pt x="1465" y="39"/>
                  </a:lnTo>
                  <a:lnTo>
                    <a:pt x="1471" y="42"/>
                  </a:lnTo>
                  <a:lnTo>
                    <a:pt x="1474" y="46"/>
                  </a:lnTo>
                  <a:lnTo>
                    <a:pt x="1476" y="50"/>
                  </a:lnTo>
                  <a:lnTo>
                    <a:pt x="1478" y="53"/>
                  </a:lnTo>
                  <a:lnTo>
                    <a:pt x="1476" y="59"/>
                  </a:lnTo>
                  <a:lnTo>
                    <a:pt x="1471" y="68"/>
                  </a:lnTo>
                  <a:lnTo>
                    <a:pt x="1467" y="87"/>
                  </a:lnTo>
                  <a:lnTo>
                    <a:pt x="1463" y="101"/>
                  </a:lnTo>
                  <a:lnTo>
                    <a:pt x="1458" y="111"/>
                  </a:lnTo>
                  <a:lnTo>
                    <a:pt x="1454" y="118"/>
                  </a:lnTo>
                  <a:lnTo>
                    <a:pt x="1443" y="131"/>
                  </a:lnTo>
                  <a:lnTo>
                    <a:pt x="1434" y="146"/>
                  </a:lnTo>
                  <a:lnTo>
                    <a:pt x="1428" y="157"/>
                  </a:lnTo>
                  <a:lnTo>
                    <a:pt x="1425" y="166"/>
                  </a:lnTo>
                  <a:lnTo>
                    <a:pt x="1423" y="173"/>
                  </a:lnTo>
                  <a:lnTo>
                    <a:pt x="1423" y="179"/>
                  </a:lnTo>
                  <a:lnTo>
                    <a:pt x="1430" y="179"/>
                  </a:lnTo>
                  <a:lnTo>
                    <a:pt x="1437" y="181"/>
                  </a:lnTo>
                  <a:lnTo>
                    <a:pt x="1436" y="190"/>
                  </a:lnTo>
                  <a:lnTo>
                    <a:pt x="1436" y="201"/>
                  </a:lnTo>
                  <a:lnTo>
                    <a:pt x="1449" y="210"/>
                  </a:lnTo>
                  <a:lnTo>
                    <a:pt x="1458" y="214"/>
                  </a:lnTo>
                  <a:lnTo>
                    <a:pt x="1467" y="216"/>
                  </a:lnTo>
                  <a:lnTo>
                    <a:pt x="1476" y="216"/>
                  </a:lnTo>
                  <a:lnTo>
                    <a:pt x="1491" y="214"/>
                  </a:lnTo>
                  <a:lnTo>
                    <a:pt x="1508" y="216"/>
                  </a:lnTo>
                  <a:lnTo>
                    <a:pt x="1515" y="223"/>
                  </a:lnTo>
                  <a:lnTo>
                    <a:pt x="1522" y="236"/>
                  </a:lnTo>
                  <a:lnTo>
                    <a:pt x="1524" y="242"/>
                  </a:lnTo>
                  <a:lnTo>
                    <a:pt x="1530" y="247"/>
                  </a:lnTo>
                  <a:lnTo>
                    <a:pt x="1534" y="251"/>
                  </a:lnTo>
                  <a:lnTo>
                    <a:pt x="1539" y="253"/>
                  </a:lnTo>
                  <a:lnTo>
                    <a:pt x="1541" y="253"/>
                  </a:lnTo>
                  <a:lnTo>
                    <a:pt x="1543" y="262"/>
                  </a:lnTo>
                  <a:lnTo>
                    <a:pt x="1545" y="271"/>
                  </a:lnTo>
                  <a:lnTo>
                    <a:pt x="1539" y="277"/>
                  </a:lnTo>
                  <a:lnTo>
                    <a:pt x="1535" y="282"/>
                  </a:lnTo>
                  <a:lnTo>
                    <a:pt x="1535" y="288"/>
                  </a:lnTo>
                  <a:lnTo>
                    <a:pt x="1535" y="292"/>
                  </a:lnTo>
                  <a:lnTo>
                    <a:pt x="1535" y="303"/>
                  </a:lnTo>
                  <a:lnTo>
                    <a:pt x="1535" y="310"/>
                  </a:lnTo>
                  <a:lnTo>
                    <a:pt x="1522" y="310"/>
                  </a:lnTo>
                  <a:lnTo>
                    <a:pt x="1511" y="310"/>
                  </a:lnTo>
                  <a:lnTo>
                    <a:pt x="1510" y="319"/>
                  </a:lnTo>
                  <a:lnTo>
                    <a:pt x="1510" y="332"/>
                  </a:lnTo>
                  <a:lnTo>
                    <a:pt x="1491" y="340"/>
                  </a:lnTo>
                  <a:lnTo>
                    <a:pt x="1473" y="347"/>
                  </a:lnTo>
                  <a:lnTo>
                    <a:pt x="1467" y="366"/>
                  </a:lnTo>
                  <a:lnTo>
                    <a:pt x="1461" y="377"/>
                  </a:lnTo>
                  <a:lnTo>
                    <a:pt x="1469" y="388"/>
                  </a:lnTo>
                  <a:lnTo>
                    <a:pt x="1478" y="395"/>
                  </a:lnTo>
                  <a:lnTo>
                    <a:pt x="1474" y="399"/>
                  </a:lnTo>
                  <a:lnTo>
                    <a:pt x="1471" y="401"/>
                  </a:lnTo>
                  <a:lnTo>
                    <a:pt x="1467" y="403"/>
                  </a:lnTo>
                  <a:lnTo>
                    <a:pt x="1463" y="403"/>
                  </a:lnTo>
                  <a:lnTo>
                    <a:pt x="1458" y="403"/>
                  </a:lnTo>
                  <a:lnTo>
                    <a:pt x="1456" y="404"/>
                  </a:lnTo>
                  <a:lnTo>
                    <a:pt x="1454" y="408"/>
                  </a:lnTo>
                  <a:lnTo>
                    <a:pt x="1454" y="412"/>
                  </a:lnTo>
                  <a:lnTo>
                    <a:pt x="1454" y="419"/>
                  </a:lnTo>
                  <a:lnTo>
                    <a:pt x="1458" y="423"/>
                  </a:lnTo>
                  <a:lnTo>
                    <a:pt x="1461" y="423"/>
                  </a:lnTo>
                  <a:lnTo>
                    <a:pt x="1467" y="423"/>
                  </a:lnTo>
                  <a:lnTo>
                    <a:pt x="1471" y="423"/>
                  </a:lnTo>
                  <a:lnTo>
                    <a:pt x="1476" y="425"/>
                  </a:lnTo>
                  <a:lnTo>
                    <a:pt x="1482" y="427"/>
                  </a:lnTo>
                  <a:lnTo>
                    <a:pt x="1485" y="432"/>
                  </a:lnTo>
                  <a:lnTo>
                    <a:pt x="1482" y="443"/>
                  </a:lnTo>
                  <a:lnTo>
                    <a:pt x="1474" y="451"/>
                  </a:lnTo>
                  <a:lnTo>
                    <a:pt x="1471" y="456"/>
                  </a:lnTo>
                  <a:lnTo>
                    <a:pt x="1469" y="462"/>
                  </a:lnTo>
                  <a:lnTo>
                    <a:pt x="1471" y="469"/>
                  </a:lnTo>
                  <a:lnTo>
                    <a:pt x="1476" y="476"/>
                  </a:lnTo>
                  <a:lnTo>
                    <a:pt x="1485" y="488"/>
                  </a:lnTo>
                  <a:lnTo>
                    <a:pt x="1495" y="497"/>
                  </a:lnTo>
                  <a:lnTo>
                    <a:pt x="1500" y="502"/>
                  </a:lnTo>
                  <a:lnTo>
                    <a:pt x="1504" y="508"/>
                  </a:lnTo>
                  <a:lnTo>
                    <a:pt x="1508" y="513"/>
                  </a:lnTo>
                  <a:lnTo>
                    <a:pt x="1510" y="521"/>
                  </a:lnTo>
                  <a:lnTo>
                    <a:pt x="1502" y="534"/>
                  </a:lnTo>
                  <a:lnTo>
                    <a:pt x="1493" y="556"/>
                  </a:lnTo>
                  <a:lnTo>
                    <a:pt x="1487" y="561"/>
                  </a:lnTo>
                  <a:lnTo>
                    <a:pt x="1482" y="565"/>
                  </a:lnTo>
                  <a:lnTo>
                    <a:pt x="1478" y="567"/>
                  </a:lnTo>
                  <a:lnTo>
                    <a:pt x="1476" y="571"/>
                  </a:lnTo>
                  <a:lnTo>
                    <a:pt x="1474" y="576"/>
                  </a:lnTo>
                  <a:lnTo>
                    <a:pt x="1473" y="584"/>
                  </a:lnTo>
                  <a:lnTo>
                    <a:pt x="1456" y="582"/>
                  </a:lnTo>
                  <a:lnTo>
                    <a:pt x="1439" y="582"/>
                  </a:lnTo>
                  <a:lnTo>
                    <a:pt x="1437" y="587"/>
                  </a:lnTo>
                  <a:lnTo>
                    <a:pt x="1434" y="593"/>
                  </a:lnTo>
                  <a:lnTo>
                    <a:pt x="1434" y="600"/>
                  </a:lnTo>
                  <a:lnTo>
                    <a:pt x="1432" y="606"/>
                  </a:lnTo>
                  <a:lnTo>
                    <a:pt x="1425" y="608"/>
                  </a:lnTo>
                  <a:lnTo>
                    <a:pt x="1415" y="608"/>
                  </a:lnTo>
                  <a:lnTo>
                    <a:pt x="1412" y="608"/>
                  </a:lnTo>
                  <a:lnTo>
                    <a:pt x="1408" y="609"/>
                  </a:lnTo>
                  <a:lnTo>
                    <a:pt x="1404" y="613"/>
                  </a:lnTo>
                  <a:lnTo>
                    <a:pt x="1402" y="617"/>
                  </a:lnTo>
                  <a:lnTo>
                    <a:pt x="1401" y="622"/>
                  </a:lnTo>
                  <a:lnTo>
                    <a:pt x="1402" y="628"/>
                  </a:lnTo>
                  <a:lnTo>
                    <a:pt x="1406" y="630"/>
                  </a:lnTo>
                  <a:lnTo>
                    <a:pt x="1410" y="634"/>
                  </a:lnTo>
                  <a:lnTo>
                    <a:pt x="1413" y="635"/>
                  </a:lnTo>
                  <a:lnTo>
                    <a:pt x="1417" y="639"/>
                  </a:lnTo>
                  <a:lnTo>
                    <a:pt x="1419" y="646"/>
                  </a:lnTo>
                  <a:lnTo>
                    <a:pt x="1419" y="656"/>
                  </a:lnTo>
                  <a:lnTo>
                    <a:pt x="1415" y="659"/>
                  </a:lnTo>
                  <a:lnTo>
                    <a:pt x="1412" y="659"/>
                  </a:lnTo>
                  <a:lnTo>
                    <a:pt x="1408" y="659"/>
                  </a:lnTo>
                  <a:lnTo>
                    <a:pt x="1404" y="658"/>
                  </a:lnTo>
                  <a:lnTo>
                    <a:pt x="1399" y="654"/>
                  </a:lnTo>
                  <a:lnTo>
                    <a:pt x="1393" y="652"/>
                  </a:lnTo>
                  <a:lnTo>
                    <a:pt x="1391" y="661"/>
                  </a:lnTo>
                  <a:lnTo>
                    <a:pt x="1389" y="669"/>
                  </a:lnTo>
                  <a:lnTo>
                    <a:pt x="1382" y="670"/>
                  </a:lnTo>
                  <a:lnTo>
                    <a:pt x="1375" y="669"/>
                  </a:lnTo>
                  <a:lnTo>
                    <a:pt x="1371" y="670"/>
                  </a:lnTo>
                  <a:lnTo>
                    <a:pt x="1367" y="672"/>
                  </a:lnTo>
                  <a:lnTo>
                    <a:pt x="1362" y="676"/>
                  </a:lnTo>
                  <a:lnTo>
                    <a:pt x="1358" y="683"/>
                  </a:lnTo>
                  <a:lnTo>
                    <a:pt x="1364" y="689"/>
                  </a:lnTo>
                  <a:lnTo>
                    <a:pt x="1367" y="696"/>
                  </a:lnTo>
                  <a:lnTo>
                    <a:pt x="1369" y="702"/>
                  </a:lnTo>
                  <a:lnTo>
                    <a:pt x="1369" y="707"/>
                  </a:lnTo>
                  <a:lnTo>
                    <a:pt x="1369" y="717"/>
                  </a:lnTo>
                  <a:lnTo>
                    <a:pt x="1371" y="724"/>
                  </a:lnTo>
                  <a:lnTo>
                    <a:pt x="1380" y="728"/>
                  </a:lnTo>
                  <a:lnTo>
                    <a:pt x="1386" y="733"/>
                  </a:lnTo>
                  <a:lnTo>
                    <a:pt x="1386" y="748"/>
                  </a:lnTo>
                  <a:lnTo>
                    <a:pt x="1384" y="759"/>
                  </a:lnTo>
                  <a:lnTo>
                    <a:pt x="1391" y="774"/>
                  </a:lnTo>
                  <a:lnTo>
                    <a:pt x="1404" y="792"/>
                  </a:lnTo>
                  <a:lnTo>
                    <a:pt x="1419" y="811"/>
                  </a:lnTo>
                  <a:lnTo>
                    <a:pt x="1428" y="822"/>
                  </a:lnTo>
                  <a:lnTo>
                    <a:pt x="1425" y="842"/>
                  </a:lnTo>
                  <a:lnTo>
                    <a:pt x="1425" y="859"/>
                  </a:lnTo>
                  <a:lnTo>
                    <a:pt x="1430" y="864"/>
                  </a:lnTo>
                  <a:lnTo>
                    <a:pt x="1434" y="870"/>
                  </a:lnTo>
                  <a:lnTo>
                    <a:pt x="1436" y="872"/>
                  </a:lnTo>
                  <a:lnTo>
                    <a:pt x="1436" y="874"/>
                  </a:lnTo>
                  <a:lnTo>
                    <a:pt x="1436" y="877"/>
                  </a:lnTo>
                  <a:lnTo>
                    <a:pt x="1434" y="879"/>
                  </a:lnTo>
                  <a:lnTo>
                    <a:pt x="1428" y="883"/>
                  </a:lnTo>
                  <a:lnTo>
                    <a:pt x="1423" y="885"/>
                  </a:lnTo>
                  <a:lnTo>
                    <a:pt x="1419" y="883"/>
                  </a:lnTo>
                  <a:lnTo>
                    <a:pt x="1415" y="879"/>
                  </a:lnTo>
                  <a:lnTo>
                    <a:pt x="1410" y="872"/>
                  </a:lnTo>
                  <a:lnTo>
                    <a:pt x="1406" y="868"/>
                  </a:lnTo>
                  <a:lnTo>
                    <a:pt x="1402" y="874"/>
                  </a:lnTo>
                  <a:lnTo>
                    <a:pt x="1402" y="879"/>
                  </a:lnTo>
                  <a:lnTo>
                    <a:pt x="1393" y="877"/>
                  </a:lnTo>
                  <a:lnTo>
                    <a:pt x="1382" y="877"/>
                  </a:lnTo>
                  <a:lnTo>
                    <a:pt x="1376" y="881"/>
                  </a:lnTo>
                  <a:lnTo>
                    <a:pt x="1375" y="887"/>
                  </a:lnTo>
                  <a:lnTo>
                    <a:pt x="1375" y="890"/>
                  </a:lnTo>
                  <a:lnTo>
                    <a:pt x="1375" y="896"/>
                  </a:lnTo>
                  <a:lnTo>
                    <a:pt x="1376" y="900"/>
                  </a:lnTo>
                  <a:lnTo>
                    <a:pt x="1376" y="905"/>
                  </a:lnTo>
                  <a:lnTo>
                    <a:pt x="1375" y="911"/>
                  </a:lnTo>
                  <a:lnTo>
                    <a:pt x="1371" y="916"/>
                  </a:lnTo>
                  <a:lnTo>
                    <a:pt x="1347" y="916"/>
                  </a:lnTo>
                  <a:lnTo>
                    <a:pt x="1319" y="914"/>
                  </a:lnTo>
                  <a:lnTo>
                    <a:pt x="1304" y="913"/>
                  </a:lnTo>
                  <a:lnTo>
                    <a:pt x="1293" y="913"/>
                  </a:lnTo>
                  <a:lnTo>
                    <a:pt x="1290" y="913"/>
                  </a:lnTo>
                  <a:lnTo>
                    <a:pt x="1286" y="914"/>
                  </a:lnTo>
                  <a:lnTo>
                    <a:pt x="1284" y="916"/>
                  </a:lnTo>
                  <a:lnTo>
                    <a:pt x="1284" y="920"/>
                  </a:lnTo>
                  <a:lnTo>
                    <a:pt x="1286" y="935"/>
                  </a:lnTo>
                  <a:lnTo>
                    <a:pt x="1290" y="955"/>
                  </a:lnTo>
                  <a:lnTo>
                    <a:pt x="1293" y="972"/>
                  </a:lnTo>
                  <a:lnTo>
                    <a:pt x="1293" y="981"/>
                  </a:lnTo>
                  <a:lnTo>
                    <a:pt x="1290" y="1009"/>
                  </a:lnTo>
                  <a:lnTo>
                    <a:pt x="1280" y="1034"/>
                  </a:lnTo>
                  <a:lnTo>
                    <a:pt x="1277" y="1047"/>
                  </a:lnTo>
                  <a:lnTo>
                    <a:pt x="1273" y="1059"/>
                  </a:lnTo>
                  <a:lnTo>
                    <a:pt x="1273" y="1070"/>
                  </a:lnTo>
                  <a:lnTo>
                    <a:pt x="1273" y="1077"/>
                  </a:lnTo>
                  <a:lnTo>
                    <a:pt x="1279" y="1086"/>
                  </a:lnTo>
                  <a:lnTo>
                    <a:pt x="1284" y="1092"/>
                  </a:lnTo>
                  <a:lnTo>
                    <a:pt x="1290" y="1095"/>
                  </a:lnTo>
                  <a:lnTo>
                    <a:pt x="1297" y="1099"/>
                  </a:lnTo>
                  <a:lnTo>
                    <a:pt x="1301" y="1112"/>
                  </a:lnTo>
                  <a:lnTo>
                    <a:pt x="1303" y="1125"/>
                  </a:lnTo>
                  <a:lnTo>
                    <a:pt x="1314" y="1144"/>
                  </a:lnTo>
                  <a:lnTo>
                    <a:pt x="1325" y="1155"/>
                  </a:lnTo>
                  <a:lnTo>
                    <a:pt x="1330" y="1160"/>
                  </a:lnTo>
                  <a:lnTo>
                    <a:pt x="1334" y="1164"/>
                  </a:lnTo>
                  <a:lnTo>
                    <a:pt x="1336" y="1171"/>
                  </a:lnTo>
                  <a:lnTo>
                    <a:pt x="1338" y="1177"/>
                  </a:lnTo>
                  <a:lnTo>
                    <a:pt x="1336" y="1180"/>
                  </a:lnTo>
                  <a:lnTo>
                    <a:pt x="1332" y="1182"/>
                  </a:lnTo>
                  <a:lnTo>
                    <a:pt x="1327" y="1180"/>
                  </a:lnTo>
                  <a:lnTo>
                    <a:pt x="1321" y="1179"/>
                  </a:lnTo>
                  <a:lnTo>
                    <a:pt x="1314" y="1182"/>
                  </a:lnTo>
                  <a:lnTo>
                    <a:pt x="1310" y="1186"/>
                  </a:lnTo>
                  <a:lnTo>
                    <a:pt x="1308" y="1192"/>
                  </a:lnTo>
                  <a:lnTo>
                    <a:pt x="1306" y="1197"/>
                  </a:lnTo>
                  <a:lnTo>
                    <a:pt x="1306" y="1203"/>
                  </a:lnTo>
                  <a:lnTo>
                    <a:pt x="1304" y="1210"/>
                  </a:lnTo>
                  <a:lnTo>
                    <a:pt x="1301" y="1219"/>
                  </a:lnTo>
                  <a:lnTo>
                    <a:pt x="1295" y="1227"/>
                  </a:lnTo>
                  <a:lnTo>
                    <a:pt x="1288" y="1234"/>
                  </a:lnTo>
                  <a:lnTo>
                    <a:pt x="1282" y="1238"/>
                  </a:lnTo>
                  <a:lnTo>
                    <a:pt x="1277" y="1240"/>
                  </a:lnTo>
                  <a:lnTo>
                    <a:pt x="1269" y="1241"/>
                  </a:lnTo>
                  <a:lnTo>
                    <a:pt x="1260" y="1243"/>
                  </a:lnTo>
                  <a:lnTo>
                    <a:pt x="1253" y="1247"/>
                  </a:lnTo>
                  <a:lnTo>
                    <a:pt x="1251" y="1260"/>
                  </a:lnTo>
                  <a:lnTo>
                    <a:pt x="1255" y="1280"/>
                  </a:lnTo>
                  <a:lnTo>
                    <a:pt x="1245" y="1282"/>
                  </a:lnTo>
                  <a:lnTo>
                    <a:pt x="1238" y="1280"/>
                  </a:lnTo>
                  <a:lnTo>
                    <a:pt x="1231" y="1278"/>
                  </a:lnTo>
                  <a:lnTo>
                    <a:pt x="1221" y="1278"/>
                  </a:lnTo>
                  <a:lnTo>
                    <a:pt x="1216" y="1286"/>
                  </a:lnTo>
                  <a:lnTo>
                    <a:pt x="1210" y="1295"/>
                  </a:lnTo>
                  <a:lnTo>
                    <a:pt x="1203" y="1293"/>
                  </a:lnTo>
                  <a:lnTo>
                    <a:pt x="1194" y="1289"/>
                  </a:lnTo>
                  <a:lnTo>
                    <a:pt x="1190" y="1297"/>
                  </a:lnTo>
                  <a:lnTo>
                    <a:pt x="1184" y="1304"/>
                  </a:lnTo>
                  <a:lnTo>
                    <a:pt x="1179" y="1304"/>
                  </a:lnTo>
                  <a:lnTo>
                    <a:pt x="1173" y="1302"/>
                  </a:lnTo>
                  <a:lnTo>
                    <a:pt x="1170" y="1302"/>
                  </a:lnTo>
                  <a:lnTo>
                    <a:pt x="1168" y="1302"/>
                  </a:lnTo>
                  <a:lnTo>
                    <a:pt x="1164" y="1304"/>
                  </a:lnTo>
                  <a:lnTo>
                    <a:pt x="1162" y="1308"/>
                  </a:lnTo>
                  <a:lnTo>
                    <a:pt x="1159" y="1314"/>
                  </a:lnTo>
                  <a:lnTo>
                    <a:pt x="1159" y="1319"/>
                  </a:lnTo>
                  <a:lnTo>
                    <a:pt x="1159" y="1323"/>
                  </a:lnTo>
                  <a:lnTo>
                    <a:pt x="1160" y="1325"/>
                  </a:lnTo>
                  <a:lnTo>
                    <a:pt x="1166" y="1328"/>
                  </a:lnTo>
                  <a:lnTo>
                    <a:pt x="1168" y="1334"/>
                  </a:lnTo>
                  <a:lnTo>
                    <a:pt x="1160" y="1341"/>
                  </a:lnTo>
                  <a:lnTo>
                    <a:pt x="1155" y="1347"/>
                  </a:lnTo>
                  <a:lnTo>
                    <a:pt x="1157" y="1360"/>
                  </a:lnTo>
                  <a:lnTo>
                    <a:pt x="1160" y="1371"/>
                  </a:lnTo>
                  <a:lnTo>
                    <a:pt x="1159" y="1382"/>
                  </a:lnTo>
                  <a:lnTo>
                    <a:pt x="1157" y="1391"/>
                  </a:lnTo>
                  <a:lnTo>
                    <a:pt x="1164" y="1399"/>
                  </a:lnTo>
                  <a:lnTo>
                    <a:pt x="1170" y="1410"/>
                  </a:lnTo>
                  <a:lnTo>
                    <a:pt x="1162" y="1411"/>
                  </a:lnTo>
                  <a:lnTo>
                    <a:pt x="1153" y="1417"/>
                  </a:lnTo>
                  <a:lnTo>
                    <a:pt x="1168" y="1430"/>
                  </a:lnTo>
                  <a:lnTo>
                    <a:pt x="1183" y="1441"/>
                  </a:lnTo>
                  <a:lnTo>
                    <a:pt x="1177" y="1450"/>
                  </a:lnTo>
                  <a:lnTo>
                    <a:pt x="1173" y="1461"/>
                  </a:lnTo>
                  <a:lnTo>
                    <a:pt x="1183" y="1471"/>
                  </a:lnTo>
                  <a:lnTo>
                    <a:pt x="1190" y="1480"/>
                  </a:lnTo>
                  <a:lnTo>
                    <a:pt x="1183" y="1493"/>
                  </a:lnTo>
                  <a:lnTo>
                    <a:pt x="1175" y="1506"/>
                  </a:lnTo>
                  <a:lnTo>
                    <a:pt x="1192" y="1511"/>
                  </a:lnTo>
                  <a:lnTo>
                    <a:pt x="1208" y="1522"/>
                  </a:lnTo>
                  <a:lnTo>
                    <a:pt x="1207" y="1533"/>
                  </a:lnTo>
                  <a:lnTo>
                    <a:pt x="1207" y="1548"/>
                  </a:lnTo>
                  <a:lnTo>
                    <a:pt x="1199" y="1556"/>
                  </a:lnTo>
                  <a:lnTo>
                    <a:pt x="1197" y="1563"/>
                  </a:lnTo>
                  <a:lnTo>
                    <a:pt x="1197" y="1570"/>
                  </a:lnTo>
                  <a:lnTo>
                    <a:pt x="1201" y="1576"/>
                  </a:lnTo>
                  <a:lnTo>
                    <a:pt x="1210" y="1585"/>
                  </a:lnTo>
                  <a:lnTo>
                    <a:pt x="1218" y="1591"/>
                  </a:lnTo>
                  <a:lnTo>
                    <a:pt x="1218" y="1598"/>
                  </a:lnTo>
                  <a:lnTo>
                    <a:pt x="1216" y="1604"/>
                  </a:lnTo>
                  <a:lnTo>
                    <a:pt x="1216" y="1609"/>
                  </a:lnTo>
                  <a:lnTo>
                    <a:pt x="1212" y="1613"/>
                  </a:lnTo>
                  <a:lnTo>
                    <a:pt x="1190" y="1622"/>
                  </a:lnTo>
                  <a:lnTo>
                    <a:pt x="1168" y="1633"/>
                  </a:lnTo>
                  <a:lnTo>
                    <a:pt x="1149" y="1642"/>
                  </a:lnTo>
                  <a:lnTo>
                    <a:pt x="1144" y="1650"/>
                  </a:lnTo>
                  <a:lnTo>
                    <a:pt x="1147" y="1661"/>
                  </a:lnTo>
                  <a:lnTo>
                    <a:pt x="1147" y="1672"/>
                  </a:lnTo>
                  <a:lnTo>
                    <a:pt x="1138" y="1676"/>
                  </a:lnTo>
                  <a:lnTo>
                    <a:pt x="1129" y="1676"/>
                  </a:lnTo>
                  <a:lnTo>
                    <a:pt x="1118" y="1674"/>
                  </a:lnTo>
                  <a:lnTo>
                    <a:pt x="1103" y="1674"/>
                  </a:lnTo>
                  <a:lnTo>
                    <a:pt x="1088" y="1681"/>
                  </a:lnTo>
                  <a:lnTo>
                    <a:pt x="1070" y="1689"/>
                  </a:lnTo>
                  <a:lnTo>
                    <a:pt x="1059" y="1687"/>
                  </a:lnTo>
                  <a:lnTo>
                    <a:pt x="1050" y="1689"/>
                  </a:lnTo>
                  <a:lnTo>
                    <a:pt x="1044" y="1690"/>
                  </a:lnTo>
                  <a:lnTo>
                    <a:pt x="1038" y="1694"/>
                  </a:lnTo>
                  <a:lnTo>
                    <a:pt x="1031" y="1705"/>
                  </a:lnTo>
                  <a:lnTo>
                    <a:pt x="1018" y="1714"/>
                  </a:lnTo>
                  <a:lnTo>
                    <a:pt x="1000" y="1709"/>
                  </a:lnTo>
                  <a:lnTo>
                    <a:pt x="981" y="1703"/>
                  </a:lnTo>
                  <a:lnTo>
                    <a:pt x="957" y="1711"/>
                  </a:lnTo>
                  <a:lnTo>
                    <a:pt x="935" y="1718"/>
                  </a:lnTo>
                  <a:lnTo>
                    <a:pt x="929" y="1716"/>
                  </a:lnTo>
                  <a:lnTo>
                    <a:pt x="924" y="1714"/>
                  </a:lnTo>
                  <a:lnTo>
                    <a:pt x="920" y="1709"/>
                  </a:lnTo>
                  <a:lnTo>
                    <a:pt x="913" y="1705"/>
                  </a:lnTo>
                  <a:lnTo>
                    <a:pt x="907" y="1700"/>
                  </a:lnTo>
                  <a:lnTo>
                    <a:pt x="898" y="1696"/>
                  </a:lnTo>
                  <a:lnTo>
                    <a:pt x="889" y="1692"/>
                  </a:lnTo>
                  <a:lnTo>
                    <a:pt x="874" y="1692"/>
                  </a:lnTo>
                  <a:lnTo>
                    <a:pt x="848" y="1696"/>
                  </a:lnTo>
                  <a:lnTo>
                    <a:pt x="828" y="1698"/>
                  </a:lnTo>
                  <a:lnTo>
                    <a:pt x="815" y="1690"/>
                  </a:lnTo>
                  <a:lnTo>
                    <a:pt x="802" y="1683"/>
                  </a:lnTo>
                  <a:lnTo>
                    <a:pt x="778" y="1679"/>
                  </a:lnTo>
                  <a:lnTo>
                    <a:pt x="767" y="1676"/>
                  </a:lnTo>
                  <a:lnTo>
                    <a:pt x="752" y="1683"/>
                  </a:lnTo>
                  <a:lnTo>
                    <a:pt x="737" y="1687"/>
                  </a:lnTo>
                  <a:lnTo>
                    <a:pt x="723" y="1690"/>
                  </a:lnTo>
                  <a:lnTo>
                    <a:pt x="704" y="1692"/>
                  </a:lnTo>
                  <a:lnTo>
                    <a:pt x="693" y="1690"/>
                  </a:lnTo>
                  <a:lnTo>
                    <a:pt x="686" y="1687"/>
                  </a:lnTo>
                  <a:lnTo>
                    <a:pt x="682" y="1681"/>
                  </a:lnTo>
                  <a:lnTo>
                    <a:pt x="680" y="1674"/>
                  </a:lnTo>
                  <a:lnTo>
                    <a:pt x="680" y="1668"/>
                  </a:lnTo>
                  <a:lnTo>
                    <a:pt x="680" y="1661"/>
                  </a:lnTo>
                  <a:lnTo>
                    <a:pt x="678" y="1655"/>
                  </a:lnTo>
                  <a:lnTo>
                    <a:pt x="676" y="1652"/>
                  </a:lnTo>
                  <a:lnTo>
                    <a:pt x="671" y="1652"/>
                  </a:lnTo>
                  <a:lnTo>
                    <a:pt x="663" y="1654"/>
                  </a:lnTo>
                  <a:lnTo>
                    <a:pt x="660" y="1655"/>
                  </a:lnTo>
                  <a:lnTo>
                    <a:pt x="656" y="1654"/>
                  </a:lnTo>
                  <a:lnTo>
                    <a:pt x="652" y="1652"/>
                  </a:lnTo>
                  <a:lnTo>
                    <a:pt x="649" y="1648"/>
                  </a:lnTo>
                  <a:lnTo>
                    <a:pt x="647" y="1633"/>
                  </a:lnTo>
                  <a:lnTo>
                    <a:pt x="647" y="1618"/>
                  </a:lnTo>
                  <a:lnTo>
                    <a:pt x="638" y="1611"/>
                  </a:lnTo>
                  <a:lnTo>
                    <a:pt x="628" y="1607"/>
                  </a:lnTo>
                  <a:lnTo>
                    <a:pt x="632" y="1598"/>
                  </a:lnTo>
                  <a:lnTo>
                    <a:pt x="632" y="1593"/>
                  </a:lnTo>
                  <a:lnTo>
                    <a:pt x="630" y="1589"/>
                  </a:lnTo>
                  <a:lnTo>
                    <a:pt x="626" y="1585"/>
                  </a:lnTo>
                  <a:lnTo>
                    <a:pt x="619" y="1581"/>
                  </a:lnTo>
                  <a:lnTo>
                    <a:pt x="615" y="1574"/>
                  </a:lnTo>
                  <a:lnTo>
                    <a:pt x="614" y="1561"/>
                  </a:lnTo>
                  <a:lnTo>
                    <a:pt x="612" y="1554"/>
                  </a:lnTo>
                  <a:lnTo>
                    <a:pt x="608" y="1550"/>
                  </a:lnTo>
                  <a:lnTo>
                    <a:pt x="604" y="1548"/>
                  </a:lnTo>
                  <a:lnTo>
                    <a:pt x="602" y="1548"/>
                  </a:lnTo>
                  <a:lnTo>
                    <a:pt x="599" y="1548"/>
                  </a:lnTo>
                  <a:lnTo>
                    <a:pt x="597" y="1546"/>
                  </a:lnTo>
                  <a:lnTo>
                    <a:pt x="593" y="1543"/>
                  </a:lnTo>
                  <a:lnTo>
                    <a:pt x="595" y="1533"/>
                  </a:lnTo>
                  <a:lnTo>
                    <a:pt x="595" y="1528"/>
                  </a:lnTo>
                  <a:lnTo>
                    <a:pt x="595" y="1520"/>
                  </a:lnTo>
                  <a:lnTo>
                    <a:pt x="591" y="1517"/>
                  </a:lnTo>
                  <a:lnTo>
                    <a:pt x="588" y="1513"/>
                  </a:lnTo>
                  <a:lnTo>
                    <a:pt x="584" y="1511"/>
                  </a:lnTo>
                  <a:lnTo>
                    <a:pt x="578" y="1509"/>
                  </a:lnTo>
                  <a:lnTo>
                    <a:pt x="573" y="1509"/>
                  </a:lnTo>
                  <a:lnTo>
                    <a:pt x="571" y="1515"/>
                  </a:lnTo>
                  <a:lnTo>
                    <a:pt x="567" y="1520"/>
                  </a:lnTo>
                  <a:lnTo>
                    <a:pt x="566" y="1522"/>
                  </a:lnTo>
                  <a:lnTo>
                    <a:pt x="564" y="1522"/>
                  </a:lnTo>
                  <a:lnTo>
                    <a:pt x="560" y="1522"/>
                  </a:lnTo>
                  <a:lnTo>
                    <a:pt x="554" y="1519"/>
                  </a:lnTo>
                  <a:lnTo>
                    <a:pt x="549" y="1522"/>
                  </a:lnTo>
                  <a:lnTo>
                    <a:pt x="542" y="1526"/>
                  </a:lnTo>
                  <a:lnTo>
                    <a:pt x="532" y="1528"/>
                  </a:lnTo>
                  <a:lnTo>
                    <a:pt x="523" y="1526"/>
                  </a:lnTo>
                  <a:lnTo>
                    <a:pt x="523" y="1517"/>
                  </a:lnTo>
                  <a:lnTo>
                    <a:pt x="523" y="1508"/>
                  </a:lnTo>
                  <a:lnTo>
                    <a:pt x="521" y="1500"/>
                  </a:lnTo>
                  <a:lnTo>
                    <a:pt x="518" y="1493"/>
                  </a:lnTo>
                  <a:lnTo>
                    <a:pt x="514" y="1487"/>
                  </a:lnTo>
                  <a:lnTo>
                    <a:pt x="508" y="1482"/>
                  </a:lnTo>
                  <a:lnTo>
                    <a:pt x="503" y="1476"/>
                  </a:lnTo>
                  <a:lnTo>
                    <a:pt x="495" y="1472"/>
                  </a:lnTo>
                  <a:lnTo>
                    <a:pt x="482" y="1465"/>
                  </a:lnTo>
                  <a:lnTo>
                    <a:pt x="466" y="1463"/>
                  </a:lnTo>
                  <a:lnTo>
                    <a:pt x="449" y="1461"/>
                  </a:lnTo>
                  <a:lnTo>
                    <a:pt x="433" y="1463"/>
                  </a:lnTo>
                  <a:lnTo>
                    <a:pt x="421" y="1485"/>
                  </a:lnTo>
                  <a:lnTo>
                    <a:pt x="416" y="1500"/>
                  </a:lnTo>
                  <a:lnTo>
                    <a:pt x="414" y="1509"/>
                  </a:lnTo>
                  <a:lnTo>
                    <a:pt x="414" y="1517"/>
                  </a:lnTo>
                  <a:lnTo>
                    <a:pt x="416" y="1520"/>
                  </a:lnTo>
                  <a:lnTo>
                    <a:pt x="418" y="1524"/>
                  </a:lnTo>
                  <a:lnTo>
                    <a:pt x="416" y="1530"/>
                  </a:lnTo>
                  <a:lnTo>
                    <a:pt x="414" y="1537"/>
                  </a:lnTo>
                  <a:lnTo>
                    <a:pt x="399" y="1546"/>
                  </a:lnTo>
                  <a:lnTo>
                    <a:pt x="385" y="1557"/>
                  </a:lnTo>
                  <a:lnTo>
                    <a:pt x="381" y="1574"/>
                  </a:lnTo>
                  <a:lnTo>
                    <a:pt x="375" y="1589"/>
                  </a:lnTo>
                  <a:lnTo>
                    <a:pt x="373" y="1594"/>
                  </a:lnTo>
                  <a:lnTo>
                    <a:pt x="370" y="1600"/>
                  </a:lnTo>
                  <a:lnTo>
                    <a:pt x="366" y="1604"/>
                  </a:lnTo>
                  <a:lnTo>
                    <a:pt x="360" y="1605"/>
                  </a:lnTo>
                  <a:lnTo>
                    <a:pt x="360" y="1615"/>
                  </a:lnTo>
                  <a:lnTo>
                    <a:pt x="357" y="1622"/>
                  </a:lnTo>
                  <a:lnTo>
                    <a:pt x="353" y="1622"/>
                  </a:lnTo>
                  <a:lnTo>
                    <a:pt x="351" y="1618"/>
                  </a:lnTo>
                  <a:lnTo>
                    <a:pt x="351" y="1617"/>
                  </a:lnTo>
                  <a:lnTo>
                    <a:pt x="351" y="1611"/>
                  </a:lnTo>
                  <a:lnTo>
                    <a:pt x="349" y="1604"/>
                  </a:lnTo>
                  <a:lnTo>
                    <a:pt x="348" y="1596"/>
                  </a:lnTo>
                  <a:lnTo>
                    <a:pt x="336" y="1585"/>
                  </a:lnTo>
                  <a:lnTo>
                    <a:pt x="329" y="1578"/>
                  </a:lnTo>
                  <a:lnTo>
                    <a:pt x="322" y="1589"/>
                  </a:lnTo>
                  <a:lnTo>
                    <a:pt x="316" y="1593"/>
                  </a:lnTo>
                  <a:lnTo>
                    <a:pt x="312" y="1594"/>
                  </a:lnTo>
                  <a:lnTo>
                    <a:pt x="307" y="1594"/>
                  </a:lnTo>
                  <a:lnTo>
                    <a:pt x="292" y="1602"/>
                  </a:lnTo>
                  <a:lnTo>
                    <a:pt x="283" y="1604"/>
                  </a:lnTo>
                  <a:lnTo>
                    <a:pt x="277" y="1604"/>
                  </a:lnTo>
                  <a:lnTo>
                    <a:pt x="268" y="1605"/>
                  </a:lnTo>
                  <a:lnTo>
                    <a:pt x="257" y="1618"/>
                  </a:lnTo>
                  <a:lnTo>
                    <a:pt x="246" y="1628"/>
                  </a:lnTo>
                  <a:lnTo>
                    <a:pt x="235" y="1622"/>
                  </a:lnTo>
                  <a:lnTo>
                    <a:pt x="227" y="1617"/>
                  </a:lnTo>
                  <a:lnTo>
                    <a:pt x="224" y="1607"/>
                  </a:lnTo>
                  <a:lnTo>
                    <a:pt x="220" y="1600"/>
                  </a:lnTo>
                  <a:lnTo>
                    <a:pt x="220" y="1591"/>
                  </a:lnTo>
                  <a:lnTo>
                    <a:pt x="220" y="1583"/>
                  </a:lnTo>
                  <a:lnTo>
                    <a:pt x="220" y="1578"/>
                  </a:lnTo>
                  <a:lnTo>
                    <a:pt x="222" y="1574"/>
                  </a:lnTo>
                  <a:lnTo>
                    <a:pt x="220" y="1561"/>
                  </a:lnTo>
                  <a:lnTo>
                    <a:pt x="218" y="1548"/>
                  </a:lnTo>
                  <a:lnTo>
                    <a:pt x="218" y="1537"/>
                  </a:lnTo>
                  <a:lnTo>
                    <a:pt x="220" y="1526"/>
                  </a:lnTo>
                  <a:lnTo>
                    <a:pt x="224" y="1515"/>
                  </a:lnTo>
                  <a:lnTo>
                    <a:pt x="229" y="1504"/>
                  </a:lnTo>
                  <a:lnTo>
                    <a:pt x="235" y="1495"/>
                  </a:lnTo>
                  <a:lnTo>
                    <a:pt x="240" y="1487"/>
                  </a:lnTo>
                  <a:lnTo>
                    <a:pt x="240" y="1471"/>
                  </a:lnTo>
                  <a:lnTo>
                    <a:pt x="242" y="1456"/>
                  </a:lnTo>
                  <a:lnTo>
                    <a:pt x="227" y="1447"/>
                  </a:lnTo>
                  <a:lnTo>
                    <a:pt x="215" y="1437"/>
                  </a:lnTo>
                  <a:lnTo>
                    <a:pt x="203" y="1424"/>
                  </a:lnTo>
                  <a:lnTo>
                    <a:pt x="192" y="1411"/>
                  </a:lnTo>
                  <a:lnTo>
                    <a:pt x="196" y="1391"/>
                  </a:lnTo>
                  <a:lnTo>
                    <a:pt x="200" y="1369"/>
                  </a:lnTo>
                  <a:lnTo>
                    <a:pt x="194" y="1360"/>
                  </a:lnTo>
                  <a:lnTo>
                    <a:pt x="185" y="1352"/>
                  </a:lnTo>
                  <a:lnTo>
                    <a:pt x="181" y="1345"/>
                  </a:lnTo>
                  <a:lnTo>
                    <a:pt x="179" y="1338"/>
                  </a:lnTo>
                  <a:lnTo>
                    <a:pt x="178" y="1325"/>
                  </a:lnTo>
                  <a:lnTo>
                    <a:pt x="179" y="1310"/>
                  </a:lnTo>
                  <a:lnTo>
                    <a:pt x="179" y="1304"/>
                  </a:lnTo>
                  <a:lnTo>
                    <a:pt x="178" y="1297"/>
                  </a:lnTo>
                  <a:lnTo>
                    <a:pt x="174" y="1288"/>
                  </a:lnTo>
                  <a:lnTo>
                    <a:pt x="168" y="1278"/>
                  </a:lnTo>
                  <a:lnTo>
                    <a:pt x="159" y="1264"/>
                  </a:lnTo>
                  <a:lnTo>
                    <a:pt x="152" y="1256"/>
                  </a:lnTo>
                  <a:lnTo>
                    <a:pt x="143" y="1258"/>
                  </a:lnTo>
                  <a:lnTo>
                    <a:pt x="135" y="1260"/>
                  </a:lnTo>
                  <a:lnTo>
                    <a:pt x="130" y="1262"/>
                  </a:lnTo>
                  <a:lnTo>
                    <a:pt x="128" y="1262"/>
                  </a:lnTo>
                  <a:lnTo>
                    <a:pt x="124" y="1260"/>
                  </a:lnTo>
                  <a:lnTo>
                    <a:pt x="124" y="1258"/>
                  </a:lnTo>
                  <a:lnTo>
                    <a:pt x="122" y="1253"/>
                  </a:lnTo>
                  <a:lnTo>
                    <a:pt x="122" y="1247"/>
                  </a:lnTo>
                  <a:lnTo>
                    <a:pt x="122" y="1240"/>
                  </a:lnTo>
                  <a:lnTo>
                    <a:pt x="124" y="1234"/>
                  </a:lnTo>
                  <a:lnTo>
                    <a:pt x="131" y="1236"/>
                  </a:lnTo>
                  <a:lnTo>
                    <a:pt x="137" y="1236"/>
                  </a:lnTo>
                  <a:lnTo>
                    <a:pt x="141" y="1234"/>
                  </a:lnTo>
                  <a:lnTo>
                    <a:pt x="141" y="1232"/>
                  </a:lnTo>
                  <a:lnTo>
                    <a:pt x="143" y="1229"/>
                  </a:lnTo>
                  <a:lnTo>
                    <a:pt x="141" y="1223"/>
                  </a:lnTo>
                  <a:lnTo>
                    <a:pt x="126" y="1199"/>
                  </a:lnTo>
                  <a:lnTo>
                    <a:pt x="111" y="1206"/>
                  </a:lnTo>
                  <a:lnTo>
                    <a:pt x="104" y="1203"/>
                  </a:lnTo>
                  <a:lnTo>
                    <a:pt x="94" y="1201"/>
                  </a:lnTo>
                  <a:lnTo>
                    <a:pt x="83" y="1201"/>
                  </a:lnTo>
                  <a:lnTo>
                    <a:pt x="74" y="1203"/>
                  </a:lnTo>
                  <a:lnTo>
                    <a:pt x="67" y="1197"/>
                  </a:lnTo>
                  <a:lnTo>
                    <a:pt x="61" y="1192"/>
                  </a:lnTo>
                  <a:lnTo>
                    <a:pt x="54" y="1192"/>
                  </a:lnTo>
                  <a:lnTo>
                    <a:pt x="48" y="1195"/>
                  </a:lnTo>
                  <a:lnTo>
                    <a:pt x="45" y="1195"/>
                  </a:lnTo>
                  <a:lnTo>
                    <a:pt x="41" y="1195"/>
                  </a:lnTo>
                  <a:lnTo>
                    <a:pt x="37" y="1193"/>
                  </a:lnTo>
                  <a:lnTo>
                    <a:pt x="30" y="1188"/>
                  </a:lnTo>
                  <a:lnTo>
                    <a:pt x="28" y="1184"/>
                  </a:lnTo>
                  <a:lnTo>
                    <a:pt x="28" y="1180"/>
                  </a:lnTo>
                  <a:lnTo>
                    <a:pt x="28" y="1177"/>
                  </a:lnTo>
                  <a:lnTo>
                    <a:pt x="32" y="1173"/>
                  </a:lnTo>
                  <a:lnTo>
                    <a:pt x="37" y="1166"/>
                  </a:lnTo>
                  <a:lnTo>
                    <a:pt x="45" y="1162"/>
                  </a:lnTo>
                  <a:lnTo>
                    <a:pt x="39" y="1156"/>
                  </a:lnTo>
                  <a:lnTo>
                    <a:pt x="35" y="1151"/>
                  </a:lnTo>
                  <a:lnTo>
                    <a:pt x="50" y="1132"/>
                  </a:lnTo>
                  <a:lnTo>
                    <a:pt x="67" y="1107"/>
                  </a:lnTo>
                  <a:lnTo>
                    <a:pt x="58" y="1099"/>
                  </a:lnTo>
                  <a:lnTo>
                    <a:pt x="54" y="1090"/>
                  </a:lnTo>
                  <a:lnTo>
                    <a:pt x="50" y="1084"/>
                  </a:lnTo>
                  <a:lnTo>
                    <a:pt x="48" y="1077"/>
                  </a:lnTo>
                  <a:lnTo>
                    <a:pt x="35" y="1064"/>
                  </a:lnTo>
                  <a:lnTo>
                    <a:pt x="22" y="1049"/>
                  </a:lnTo>
                  <a:lnTo>
                    <a:pt x="26" y="1031"/>
                  </a:lnTo>
                  <a:lnTo>
                    <a:pt x="30" y="1014"/>
                  </a:lnTo>
                  <a:lnTo>
                    <a:pt x="30" y="1007"/>
                  </a:lnTo>
                  <a:lnTo>
                    <a:pt x="28" y="1001"/>
                  </a:lnTo>
                  <a:lnTo>
                    <a:pt x="22" y="998"/>
                  </a:lnTo>
                  <a:lnTo>
                    <a:pt x="19" y="996"/>
                  </a:lnTo>
                  <a:lnTo>
                    <a:pt x="13" y="992"/>
                  </a:lnTo>
                  <a:lnTo>
                    <a:pt x="10" y="990"/>
                  </a:lnTo>
                  <a:lnTo>
                    <a:pt x="8" y="986"/>
                  </a:lnTo>
                  <a:lnTo>
                    <a:pt x="6" y="983"/>
                  </a:lnTo>
                  <a:lnTo>
                    <a:pt x="26" y="975"/>
                  </a:lnTo>
                  <a:lnTo>
                    <a:pt x="45" y="968"/>
                  </a:lnTo>
                  <a:lnTo>
                    <a:pt x="45" y="955"/>
                  </a:lnTo>
                  <a:lnTo>
                    <a:pt x="43" y="938"/>
                  </a:lnTo>
                  <a:lnTo>
                    <a:pt x="39" y="922"/>
                  </a:lnTo>
                  <a:lnTo>
                    <a:pt x="37" y="901"/>
                  </a:lnTo>
                  <a:lnTo>
                    <a:pt x="35" y="874"/>
                  </a:lnTo>
                  <a:lnTo>
                    <a:pt x="34" y="850"/>
                  </a:lnTo>
                  <a:lnTo>
                    <a:pt x="30" y="829"/>
                  </a:lnTo>
                  <a:lnTo>
                    <a:pt x="24" y="813"/>
                  </a:lnTo>
                  <a:lnTo>
                    <a:pt x="17" y="804"/>
                  </a:lnTo>
                  <a:lnTo>
                    <a:pt x="8" y="796"/>
                  </a:lnTo>
                  <a:lnTo>
                    <a:pt x="4" y="791"/>
                  </a:lnTo>
                  <a:lnTo>
                    <a:pt x="0" y="787"/>
                  </a:lnTo>
                  <a:lnTo>
                    <a:pt x="0" y="779"/>
                  </a:lnTo>
                  <a:lnTo>
                    <a:pt x="0" y="772"/>
                  </a:lnTo>
                  <a:lnTo>
                    <a:pt x="11" y="772"/>
                  </a:lnTo>
                  <a:lnTo>
                    <a:pt x="26" y="772"/>
                  </a:lnTo>
                  <a:lnTo>
                    <a:pt x="46" y="755"/>
                  </a:lnTo>
                  <a:lnTo>
                    <a:pt x="63" y="743"/>
                  </a:lnTo>
                  <a:lnTo>
                    <a:pt x="76" y="744"/>
                  </a:lnTo>
                  <a:lnTo>
                    <a:pt x="91" y="746"/>
                  </a:lnTo>
                  <a:lnTo>
                    <a:pt x="94" y="726"/>
                  </a:lnTo>
                  <a:lnTo>
                    <a:pt x="94" y="706"/>
                  </a:lnTo>
                  <a:lnTo>
                    <a:pt x="98" y="700"/>
                  </a:lnTo>
                  <a:lnTo>
                    <a:pt x="102" y="694"/>
                  </a:lnTo>
                  <a:lnTo>
                    <a:pt x="109" y="691"/>
                  </a:lnTo>
                  <a:lnTo>
                    <a:pt x="120" y="685"/>
                  </a:lnTo>
                  <a:lnTo>
                    <a:pt x="126" y="678"/>
                  </a:lnTo>
                  <a:lnTo>
                    <a:pt x="128" y="667"/>
                  </a:lnTo>
                  <a:lnTo>
                    <a:pt x="150" y="645"/>
                  </a:lnTo>
                  <a:lnTo>
                    <a:pt x="172" y="622"/>
                  </a:lnTo>
                  <a:lnTo>
                    <a:pt x="170" y="617"/>
                  </a:lnTo>
                  <a:lnTo>
                    <a:pt x="168" y="613"/>
                  </a:lnTo>
                  <a:lnTo>
                    <a:pt x="167" y="609"/>
                  </a:lnTo>
                  <a:lnTo>
                    <a:pt x="163" y="606"/>
                  </a:lnTo>
                  <a:lnTo>
                    <a:pt x="155" y="598"/>
                  </a:lnTo>
                  <a:lnTo>
                    <a:pt x="150" y="593"/>
                  </a:lnTo>
                  <a:lnTo>
                    <a:pt x="148" y="576"/>
                  </a:lnTo>
                  <a:lnTo>
                    <a:pt x="146" y="560"/>
                  </a:lnTo>
                  <a:lnTo>
                    <a:pt x="143" y="552"/>
                  </a:lnTo>
                  <a:lnTo>
                    <a:pt x="139" y="547"/>
                  </a:lnTo>
                  <a:lnTo>
                    <a:pt x="135" y="541"/>
                  </a:lnTo>
                  <a:lnTo>
                    <a:pt x="130" y="537"/>
                  </a:lnTo>
                  <a:lnTo>
                    <a:pt x="118" y="530"/>
                  </a:lnTo>
                  <a:lnTo>
                    <a:pt x="109" y="523"/>
                  </a:lnTo>
                  <a:lnTo>
                    <a:pt x="104" y="510"/>
                  </a:lnTo>
                  <a:lnTo>
                    <a:pt x="100" y="495"/>
                  </a:lnTo>
                  <a:lnTo>
                    <a:pt x="94" y="489"/>
                  </a:lnTo>
                  <a:lnTo>
                    <a:pt x="93" y="484"/>
                  </a:lnTo>
                  <a:lnTo>
                    <a:pt x="93" y="478"/>
                  </a:lnTo>
                  <a:lnTo>
                    <a:pt x="94" y="473"/>
                  </a:lnTo>
                  <a:lnTo>
                    <a:pt x="96" y="464"/>
                  </a:lnTo>
                  <a:lnTo>
                    <a:pt x="98" y="456"/>
                  </a:lnTo>
                  <a:lnTo>
                    <a:pt x="91" y="451"/>
                  </a:lnTo>
                  <a:lnTo>
                    <a:pt x="87" y="445"/>
                  </a:lnTo>
                  <a:lnTo>
                    <a:pt x="85" y="439"/>
                  </a:lnTo>
                  <a:lnTo>
                    <a:pt x="85" y="434"/>
                  </a:lnTo>
                  <a:lnTo>
                    <a:pt x="91" y="423"/>
                  </a:lnTo>
                  <a:lnTo>
                    <a:pt x="100" y="408"/>
                  </a:lnTo>
                  <a:lnTo>
                    <a:pt x="111" y="414"/>
                  </a:lnTo>
                  <a:lnTo>
                    <a:pt x="124" y="419"/>
                  </a:lnTo>
                  <a:lnTo>
                    <a:pt x="128" y="419"/>
                  </a:lnTo>
                  <a:lnTo>
                    <a:pt x="131" y="417"/>
                  </a:lnTo>
                  <a:lnTo>
                    <a:pt x="135" y="415"/>
                  </a:lnTo>
                  <a:lnTo>
                    <a:pt x="137" y="412"/>
                  </a:lnTo>
                  <a:lnTo>
                    <a:pt x="135" y="406"/>
                  </a:lnTo>
                  <a:lnTo>
                    <a:pt x="133" y="403"/>
                  </a:lnTo>
                  <a:lnTo>
                    <a:pt x="131" y="397"/>
                  </a:lnTo>
                  <a:lnTo>
                    <a:pt x="133" y="391"/>
                  </a:lnTo>
                  <a:lnTo>
                    <a:pt x="135" y="391"/>
                  </a:lnTo>
                  <a:lnTo>
                    <a:pt x="137" y="391"/>
                  </a:lnTo>
                  <a:lnTo>
                    <a:pt x="139" y="391"/>
                  </a:lnTo>
                  <a:lnTo>
                    <a:pt x="139" y="393"/>
                  </a:lnTo>
                  <a:lnTo>
                    <a:pt x="141" y="399"/>
                  </a:lnTo>
                  <a:lnTo>
                    <a:pt x="143" y="404"/>
                  </a:lnTo>
                  <a:lnTo>
                    <a:pt x="148" y="415"/>
                  </a:lnTo>
                  <a:lnTo>
                    <a:pt x="148" y="421"/>
                  </a:lnTo>
                  <a:lnTo>
                    <a:pt x="146" y="425"/>
                  </a:lnTo>
                  <a:lnTo>
                    <a:pt x="144" y="432"/>
                  </a:lnTo>
                  <a:lnTo>
                    <a:pt x="150" y="439"/>
                  </a:lnTo>
                  <a:lnTo>
                    <a:pt x="157" y="443"/>
                  </a:lnTo>
                  <a:lnTo>
                    <a:pt x="165" y="445"/>
                  </a:lnTo>
                  <a:lnTo>
                    <a:pt x="172" y="445"/>
                  </a:lnTo>
                  <a:lnTo>
                    <a:pt x="163" y="436"/>
                  </a:lnTo>
                  <a:lnTo>
                    <a:pt x="159" y="427"/>
                  </a:lnTo>
                  <a:lnTo>
                    <a:pt x="163" y="423"/>
                  </a:lnTo>
                  <a:lnTo>
                    <a:pt x="176" y="421"/>
                  </a:lnTo>
                  <a:lnTo>
                    <a:pt x="187" y="414"/>
                  </a:lnTo>
                  <a:lnTo>
                    <a:pt x="196" y="403"/>
                  </a:lnTo>
                  <a:lnTo>
                    <a:pt x="203" y="399"/>
                  </a:lnTo>
                  <a:lnTo>
                    <a:pt x="211" y="397"/>
                  </a:lnTo>
                  <a:lnTo>
                    <a:pt x="222" y="397"/>
                  </a:lnTo>
                  <a:lnTo>
                    <a:pt x="237" y="399"/>
                  </a:lnTo>
                  <a:lnTo>
                    <a:pt x="251" y="393"/>
                  </a:lnTo>
                  <a:lnTo>
                    <a:pt x="266" y="391"/>
                  </a:lnTo>
                  <a:lnTo>
                    <a:pt x="274" y="391"/>
                  </a:lnTo>
                  <a:lnTo>
                    <a:pt x="279" y="393"/>
                  </a:lnTo>
                  <a:lnTo>
                    <a:pt x="283" y="397"/>
                  </a:lnTo>
                  <a:lnTo>
                    <a:pt x="285" y="403"/>
                  </a:lnTo>
                  <a:lnTo>
                    <a:pt x="281" y="406"/>
                  </a:lnTo>
                  <a:lnTo>
                    <a:pt x="279" y="408"/>
                  </a:lnTo>
                  <a:lnTo>
                    <a:pt x="277" y="412"/>
                  </a:lnTo>
                  <a:lnTo>
                    <a:pt x="277" y="415"/>
                  </a:lnTo>
                  <a:lnTo>
                    <a:pt x="279" y="417"/>
                  </a:lnTo>
                  <a:lnTo>
                    <a:pt x="283" y="421"/>
                  </a:lnTo>
                  <a:lnTo>
                    <a:pt x="290" y="423"/>
                  </a:lnTo>
                  <a:lnTo>
                    <a:pt x="298" y="425"/>
                  </a:lnTo>
                  <a:lnTo>
                    <a:pt x="312" y="425"/>
                  </a:lnTo>
                  <a:lnTo>
                    <a:pt x="325" y="427"/>
                  </a:lnTo>
                  <a:lnTo>
                    <a:pt x="336" y="428"/>
                  </a:lnTo>
                  <a:lnTo>
                    <a:pt x="342" y="430"/>
                  </a:lnTo>
                  <a:lnTo>
                    <a:pt x="355" y="425"/>
                  </a:lnTo>
                  <a:lnTo>
                    <a:pt x="373" y="415"/>
                  </a:lnTo>
                  <a:lnTo>
                    <a:pt x="396" y="406"/>
                  </a:lnTo>
                  <a:lnTo>
                    <a:pt x="407" y="401"/>
                  </a:lnTo>
                  <a:lnTo>
                    <a:pt x="407" y="391"/>
                  </a:lnTo>
                  <a:lnTo>
                    <a:pt x="403" y="386"/>
                  </a:lnTo>
                  <a:lnTo>
                    <a:pt x="399" y="382"/>
                  </a:lnTo>
                  <a:lnTo>
                    <a:pt x="396" y="379"/>
                  </a:lnTo>
                  <a:lnTo>
                    <a:pt x="394" y="373"/>
                  </a:lnTo>
                  <a:lnTo>
                    <a:pt x="396" y="367"/>
                  </a:lnTo>
                  <a:lnTo>
                    <a:pt x="388" y="360"/>
                  </a:lnTo>
                  <a:lnTo>
                    <a:pt x="386" y="354"/>
                  </a:lnTo>
                  <a:lnTo>
                    <a:pt x="386" y="351"/>
                  </a:lnTo>
                  <a:lnTo>
                    <a:pt x="388" y="349"/>
                  </a:lnTo>
                  <a:lnTo>
                    <a:pt x="392" y="345"/>
                  </a:lnTo>
                  <a:lnTo>
                    <a:pt x="399" y="343"/>
                  </a:lnTo>
                  <a:lnTo>
                    <a:pt x="403" y="338"/>
                  </a:lnTo>
                  <a:lnTo>
                    <a:pt x="407" y="334"/>
                  </a:lnTo>
                  <a:lnTo>
                    <a:pt x="410" y="332"/>
                  </a:lnTo>
                  <a:lnTo>
                    <a:pt x="414" y="332"/>
                  </a:lnTo>
                  <a:lnTo>
                    <a:pt x="423" y="336"/>
                  </a:lnTo>
                  <a:lnTo>
                    <a:pt x="433" y="343"/>
                  </a:lnTo>
                  <a:lnTo>
                    <a:pt x="436" y="342"/>
                  </a:lnTo>
                  <a:lnTo>
                    <a:pt x="440" y="342"/>
                  </a:lnTo>
                  <a:lnTo>
                    <a:pt x="445" y="340"/>
                  </a:lnTo>
                  <a:lnTo>
                    <a:pt x="451" y="343"/>
                  </a:lnTo>
                  <a:lnTo>
                    <a:pt x="455" y="340"/>
                  </a:lnTo>
                  <a:lnTo>
                    <a:pt x="460" y="340"/>
                  </a:lnTo>
                  <a:lnTo>
                    <a:pt x="464" y="340"/>
                  </a:lnTo>
                  <a:lnTo>
                    <a:pt x="469" y="340"/>
                  </a:lnTo>
                  <a:lnTo>
                    <a:pt x="473" y="329"/>
                  </a:lnTo>
                  <a:lnTo>
                    <a:pt x="479" y="318"/>
                  </a:lnTo>
                  <a:lnTo>
                    <a:pt x="482" y="316"/>
                  </a:lnTo>
                  <a:lnTo>
                    <a:pt x="486" y="316"/>
                  </a:lnTo>
                  <a:lnTo>
                    <a:pt x="492" y="318"/>
                  </a:lnTo>
                  <a:lnTo>
                    <a:pt x="495" y="319"/>
                  </a:lnTo>
                  <a:lnTo>
                    <a:pt x="506" y="325"/>
                  </a:lnTo>
                  <a:lnTo>
                    <a:pt x="514" y="332"/>
                  </a:lnTo>
                  <a:lnTo>
                    <a:pt x="527" y="340"/>
                  </a:lnTo>
                  <a:lnTo>
                    <a:pt x="536" y="347"/>
                  </a:lnTo>
                  <a:lnTo>
                    <a:pt x="543" y="358"/>
                  </a:lnTo>
                  <a:lnTo>
                    <a:pt x="551" y="371"/>
                  </a:lnTo>
                  <a:lnTo>
                    <a:pt x="549" y="377"/>
                  </a:lnTo>
                  <a:lnTo>
                    <a:pt x="543" y="379"/>
                  </a:lnTo>
                  <a:lnTo>
                    <a:pt x="542" y="380"/>
                  </a:lnTo>
                  <a:lnTo>
                    <a:pt x="542" y="382"/>
                  </a:lnTo>
                  <a:lnTo>
                    <a:pt x="542" y="384"/>
                  </a:lnTo>
                  <a:lnTo>
                    <a:pt x="543" y="388"/>
                  </a:lnTo>
                  <a:lnTo>
                    <a:pt x="551" y="386"/>
                  </a:lnTo>
                  <a:lnTo>
                    <a:pt x="558" y="388"/>
                  </a:lnTo>
                  <a:lnTo>
                    <a:pt x="564" y="391"/>
                  </a:lnTo>
                  <a:lnTo>
                    <a:pt x="571" y="401"/>
                  </a:lnTo>
                  <a:lnTo>
                    <a:pt x="571" y="406"/>
                  </a:lnTo>
                  <a:lnTo>
                    <a:pt x="569" y="410"/>
                  </a:lnTo>
                  <a:lnTo>
                    <a:pt x="567" y="412"/>
                  </a:lnTo>
                  <a:lnTo>
                    <a:pt x="564" y="414"/>
                  </a:lnTo>
                  <a:lnTo>
                    <a:pt x="556" y="415"/>
                  </a:lnTo>
                  <a:lnTo>
                    <a:pt x="547" y="417"/>
                  </a:lnTo>
                  <a:lnTo>
                    <a:pt x="547" y="423"/>
                  </a:lnTo>
                  <a:lnTo>
                    <a:pt x="549" y="430"/>
                  </a:lnTo>
                  <a:lnTo>
                    <a:pt x="553" y="434"/>
                  </a:lnTo>
                  <a:lnTo>
                    <a:pt x="556" y="438"/>
                  </a:lnTo>
                  <a:lnTo>
                    <a:pt x="560" y="439"/>
                  </a:lnTo>
                  <a:lnTo>
                    <a:pt x="567" y="441"/>
                  </a:lnTo>
                  <a:lnTo>
                    <a:pt x="569" y="438"/>
                  </a:lnTo>
                  <a:lnTo>
                    <a:pt x="569" y="436"/>
                  </a:lnTo>
                  <a:lnTo>
                    <a:pt x="569" y="432"/>
                  </a:lnTo>
                  <a:lnTo>
                    <a:pt x="567" y="430"/>
                  </a:lnTo>
                  <a:lnTo>
                    <a:pt x="564" y="428"/>
                  </a:lnTo>
                  <a:lnTo>
                    <a:pt x="562" y="425"/>
                  </a:lnTo>
                  <a:lnTo>
                    <a:pt x="566" y="423"/>
                  </a:lnTo>
                  <a:lnTo>
                    <a:pt x="573" y="425"/>
                  </a:lnTo>
                  <a:lnTo>
                    <a:pt x="582" y="427"/>
                  </a:lnTo>
                  <a:lnTo>
                    <a:pt x="588" y="432"/>
                  </a:lnTo>
                  <a:lnTo>
                    <a:pt x="586" y="445"/>
                  </a:lnTo>
                  <a:lnTo>
                    <a:pt x="586" y="456"/>
                  </a:lnTo>
                  <a:lnTo>
                    <a:pt x="588" y="462"/>
                  </a:lnTo>
                  <a:lnTo>
                    <a:pt x="593" y="465"/>
                  </a:lnTo>
                  <a:lnTo>
                    <a:pt x="601" y="471"/>
                  </a:lnTo>
                  <a:lnTo>
                    <a:pt x="608" y="475"/>
                  </a:lnTo>
                  <a:lnTo>
                    <a:pt x="628" y="484"/>
                  </a:lnTo>
                  <a:lnTo>
                    <a:pt x="647" y="493"/>
                  </a:lnTo>
                  <a:lnTo>
                    <a:pt x="651" y="489"/>
                  </a:lnTo>
                  <a:lnTo>
                    <a:pt x="651" y="484"/>
                  </a:lnTo>
                  <a:lnTo>
                    <a:pt x="662" y="489"/>
                  </a:lnTo>
                  <a:lnTo>
                    <a:pt x="675" y="497"/>
                  </a:lnTo>
                  <a:lnTo>
                    <a:pt x="671" y="471"/>
                  </a:lnTo>
                  <a:lnTo>
                    <a:pt x="669" y="445"/>
                  </a:lnTo>
                  <a:lnTo>
                    <a:pt x="667" y="432"/>
                  </a:lnTo>
                  <a:lnTo>
                    <a:pt x="660" y="415"/>
                  </a:lnTo>
                  <a:lnTo>
                    <a:pt x="658" y="406"/>
                  </a:lnTo>
                  <a:lnTo>
                    <a:pt x="656" y="397"/>
                  </a:lnTo>
                  <a:lnTo>
                    <a:pt x="656" y="393"/>
                  </a:lnTo>
                  <a:lnTo>
                    <a:pt x="658" y="391"/>
                  </a:lnTo>
                  <a:lnTo>
                    <a:pt x="660" y="388"/>
                  </a:lnTo>
                  <a:lnTo>
                    <a:pt x="662" y="386"/>
                  </a:lnTo>
                  <a:lnTo>
                    <a:pt x="673" y="395"/>
                  </a:lnTo>
                  <a:lnTo>
                    <a:pt x="689" y="408"/>
                  </a:lnTo>
                  <a:lnTo>
                    <a:pt x="699" y="408"/>
                  </a:lnTo>
                  <a:lnTo>
                    <a:pt x="710" y="408"/>
                  </a:lnTo>
                  <a:lnTo>
                    <a:pt x="719" y="406"/>
                  </a:lnTo>
                  <a:lnTo>
                    <a:pt x="728" y="403"/>
                  </a:lnTo>
                  <a:lnTo>
                    <a:pt x="728" y="390"/>
                  </a:lnTo>
                  <a:lnTo>
                    <a:pt x="732" y="375"/>
                  </a:lnTo>
                  <a:lnTo>
                    <a:pt x="737" y="369"/>
                  </a:lnTo>
                  <a:lnTo>
                    <a:pt x="743" y="364"/>
                  </a:lnTo>
                  <a:lnTo>
                    <a:pt x="748" y="362"/>
                  </a:lnTo>
                  <a:lnTo>
                    <a:pt x="754" y="360"/>
                  </a:lnTo>
                  <a:lnTo>
                    <a:pt x="758" y="360"/>
                  </a:lnTo>
                  <a:lnTo>
                    <a:pt x="763" y="362"/>
                  </a:lnTo>
                  <a:lnTo>
                    <a:pt x="767" y="364"/>
                  </a:lnTo>
                  <a:lnTo>
                    <a:pt x="772" y="367"/>
                  </a:lnTo>
                  <a:lnTo>
                    <a:pt x="791" y="369"/>
                  </a:lnTo>
                  <a:lnTo>
                    <a:pt x="809" y="375"/>
                  </a:lnTo>
                  <a:lnTo>
                    <a:pt x="815" y="371"/>
                  </a:lnTo>
                  <a:lnTo>
                    <a:pt x="820" y="367"/>
                  </a:lnTo>
                  <a:lnTo>
                    <a:pt x="822" y="362"/>
                  </a:lnTo>
                  <a:lnTo>
                    <a:pt x="822" y="356"/>
                  </a:lnTo>
                  <a:lnTo>
                    <a:pt x="819" y="356"/>
                  </a:lnTo>
                  <a:lnTo>
                    <a:pt x="815" y="360"/>
                  </a:lnTo>
                  <a:lnTo>
                    <a:pt x="811" y="362"/>
                  </a:lnTo>
                  <a:lnTo>
                    <a:pt x="809" y="362"/>
                  </a:lnTo>
                  <a:lnTo>
                    <a:pt x="808" y="358"/>
                  </a:lnTo>
                  <a:lnTo>
                    <a:pt x="804" y="353"/>
                  </a:lnTo>
                  <a:lnTo>
                    <a:pt x="802" y="336"/>
                  </a:lnTo>
                  <a:lnTo>
                    <a:pt x="804" y="332"/>
                  </a:lnTo>
                  <a:lnTo>
                    <a:pt x="809" y="330"/>
                  </a:lnTo>
                  <a:lnTo>
                    <a:pt x="824" y="327"/>
                  </a:lnTo>
                  <a:lnTo>
                    <a:pt x="828" y="329"/>
                  </a:lnTo>
                  <a:lnTo>
                    <a:pt x="830" y="332"/>
                  </a:lnTo>
                  <a:lnTo>
                    <a:pt x="832" y="332"/>
                  </a:lnTo>
                  <a:lnTo>
                    <a:pt x="833" y="334"/>
                  </a:lnTo>
                  <a:lnTo>
                    <a:pt x="835" y="334"/>
                  </a:lnTo>
                  <a:lnTo>
                    <a:pt x="839" y="332"/>
                  </a:lnTo>
                  <a:lnTo>
                    <a:pt x="841" y="329"/>
                  </a:lnTo>
                  <a:lnTo>
                    <a:pt x="841" y="323"/>
                  </a:lnTo>
                  <a:lnTo>
                    <a:pt x="839" y="318"/>
                  </a:lnTo>
                  <a:lnTo>
                    <a:pt x="835" y="312"/>
                  </a:lnTo>
                  <a:lnTo>
                    <a:pt x="826" y="303"/>
                  </a:lnTo>
                  <a:lnTo>
                    <a:pt x="817" y="295"/>
                  </a:lnTo>
                  <a:lnTo>
                    <a:pt x="819" y="281"/>
                  </a:lnTo>
                  <a:lnTo>
                    <a:pt x="819" y="266"/>
                  </a:lnTo>
                  <a:lnTo>
                    <a:pt x="806" y="273"/>
                  </a:lnTo>
                  <a:lnTo>
                    <a:pt x="795" y="282"/>
                  </a:lnTo>
                  <a:lnTo>
                    <a:pt x="791" y="279"/>
                  </a:lnTo>
                  <a:lnTo>
                    <a:pt x="791" y="273"/>
                  </a:lnTo>
                  <a:lnTo>
                    <a:pt x="793" y="268"/>
                  </a:lnTo>
                  <a:lnTo>
                    <a:pt x="796" y="264"/>
                  </a:lnTo>
                  <a:lnTo>
                    <a:pt x="796" y="257"/>
                  </a:lnTo>
                  <a:lnTo>
                    <a:pt x="795" y="249"/>
                  </a:lnTo>
                  <a:lnTo>
                    <a:pt x="800" y="244"/>
                  </a:lnTo>
                  <a:lnTo>
                    <a:pt x="808" y="240"/>
                  </a:lnTo>
                  <a:lnTo>
                    <a:pt x="813" y="236"/>
                  </a:lnTo>
                  <a:lnTo>
                    <a:pt x="817" y="229"/>
                  </a:lnTo>
                  <a:lnTo>
                    <a:pt x="808" y="216"/>
                  </a:lnTo>
                  <a:lnTo>
                    <a:pt x="796" y="207"/>
                  </a:lnTo>
                  <a:lnTo>
                    <a:pt x="811" y="203"/>
                  </a:lnTo>
                  <a:lnTo>
                    <a:pt x="835" y="201"/>
                  </a:lnTo>
                  <a:lnTo>
                    <a:pt x="863" y="184"/>
                  </a:lnTo>
                  <a:lnTo>
                    <a:pt x="885" y="172"/>
                  </a:lnTo>
                  <a:lnTo>
                    <a:pt x="909" y="164"/>
                  </a:lnTo>
                  <a:lnTo>
                    <a:pt x="926" y="157"/>
                  </a:lnTo>
                  <a:lnTo>
                    <a:pt x="931" y="153"/>
                  </a:lnTo>
                  <a:lnTo>
                    <a:pt x="937" y="153"/>
                  </a:lnTo>
                  <a:lnTo>
                    <a:pt x="941" y="151"/>
                  </a:lnTo>
                  <a:lnTo>
                    <a:pt x="942" y="153"/>
                  </a:lnTo>
                  <a:lnTo>
                    <a:pt x="928" y="166"/>
                  </a:lnTo>
                  <a:lnTo>
                    <a:pt x="907" y="181"/>
                  </a:lnTo>
                  <a:lnTo>
                    <a:pt x="905" y="190"/>
                  </a:lnTo>
                  <a:lnTo>
                    <a:pt x="902" y="197"/>
                  </a:lnTo>
                  <a:lnTo>
                    <a:pt x="907" y="201"/>
                  </a:lnTo>
                  <a:lnTo>
                    <a:pt x="911" y="201"/>
                  </a:lnTo>
                  <a:lnTo>
                    <a:pt x="913" y="201"/>
                  </a:lnTo>
                  <a:lnTo>
                    <a:pt x="917" y="199"/>
                  </a:lnTo>
                  <a:lnTo>
                    <a:pt x="922" y="192"/>
                  </a:lnTo>
                  <a:lnTo>
                    <a:pt x="926" y="183"/>
                  </a:lnTo>
                  <a:lnTo>
                    <a:pt x="929" y="177"/>
                  </a:lnTo>
                  <a:lnTo>
                    <a:pt x="939" y="170"/>
                  </a:lnTo>
                  <a:lnTo>
                    <a:pt x="942" y="166"/>
                  </a:lnTo>
                  <a:lnTo>
                    <a:pt x="946" y="164"/>
                  </a:lnTo>
                  <a:lnTo>
                    <a:pt x="950" y="164"/>
                  </a:lnTo>
                  <a:lnTo>
                    <a:pt x="952" y="164"/>
                  </a:lnTo>
                  <a:lnTo>
                    <a:pt x="953" y="177"/>
                  </a:lnTo>
                  <a:lnTo>
                    <a:pt x="952" y="190"/>
                  </a:lnTo>
                  <a:lnTo>
                    <a:pt x="948" y="188"/>
                  </a:lnTo>
                  <a:lnTo>
                    <a:pt x="946" y="183"/>
                  </a:lnTo>
                  <a:lnTo>
                    <a:pt x="944" y="181"/>
                  </a:lnTo>
                  <a:lnTo>
                    <a:pt x="942" y="181"/>
                  </a:lnTo>
                  <a:lnTo>
                    <a:pt x="941" y="183"/>
                  </a:lnTo>
                  <a:lnTo>
                    <a:pt x="937" y="186"/>
                  </a:lnTo>
                  <a:lnTo>
                    <a:pt x="944" y="192"/>
                  </a:lnTo>
                  <a:lnTo>
                    <a:pt x="944" y="196"/>
                  </a:lnTo>
                  <a:lnTo>
                    <a:pt x="942" y="201"/>
                  </a:lnTo>
                  <a:lnTo>
                    <a:pt x="933" y="210"/>
                  </a:lnTo>
                  <a:lnTo>
                    <a:pt x="939" y="216"/>
                  </a:lnTo>
                  <a:lnTo>
                    <a:pt x="944" y="227"/>
                  </a:lnTo>
                  <a:lnTo>
                    <a:pt x="948" y="227"/>
                  </a:lnTo>
                  <a:lnTo>
                    <a:pt x="952" y="225"/>
                  </a:lnTo>
                  <a:lnTo>
                    <a:pt x="955" y="221"/>
                  </a:lnTo>
                  <a:lnTo>
                    <a:pt x="957" y="216"/>
                  </a:lnTo>
                  <a:lnTo>
                    <a:pt x="959" y="212"/>
                  </a:lnTo>
                  <a:lnTo>
                    <a:pt x="963" y="209"/>
                  </a:lnTo>
                  <a:lnTo>
                    <a:pt x="965" y="201"/>
                  </a:lnTo>
                  <a:lnTo>
                    <a:pt x="965" y="186"/>
                  </a:lnTo>
                  <a:lnTo>
                    <a:pt x="961" y="166"/>
                  </a:lnTo>
                  <a:lnTo>
                    <a:pt x="959" y="149"/>
                  </a:lnTo>
                  <a:lnTo>
                    <a:pt x="959" y="142"/>
                  </a:lnTo>
                  <a:lnTo>
                    <a:pt x="961" y="136"/>
                  </a:lnTo>
                  <a:lnTo>
                    <a:pt x="966" y="133"/>
                  </a:lnTo>
                  <a:lnTo>
                    <a:pt x="974" y="129"/>
                  </a:lnTo>
                  <a:lnTo>
                    <a:pt x="992" y="122"/>
                  </a:lnTo>
                  <a:lnTo>
                    <a:pt x="1011" y="116"/>
                  </a:lnTo>
                  <a:lnTo>
                    <a:pt x="1020" y="114"/>
                  </a:lnTo>
                  <a:lnTo>
                    <a:pt x="1029" y="114"/>
                  </a:lnTo>
                  <a:lnTo>
                    <a:pt x="1037" y="116"/>
                  </a:lnTo>
                  <a:lnTo>
                    <a:pt x="1042" y="124"/>
                  </a:lnTo>
                  <a:lnTo>
                    <a:pt x="1040" y="127"/>
                  </a:lnTo>
                  <a:lnTo>
                    <a:pt x="1040" y="131"/>
                  </a:lnTo>
                  <a:lnTo>
                    <a:pt x="1038" y="133"/>
                  </a:lnTo>
                  <a:lnTo>
                    <a:pt x="1037" y="135"/>
                  </a:lnTo>
                  <a:lnTo>
                    <a:pt x="1031" y="135"/>
                  </a:lnTo>
                  <a:lnTo>
                    <a:pt x="1026" y="138"/>
                  </a:lnTo>
                  <a:lnTo>
                    <a:pt x="1022" y="142"/>
                  </a:lnTo>
                  <a:lnTo>
                    <a:pt x="1020" y="148"/>
                  </a:lnTo>
                  <a:lnTo>
                    <a:pt x="1020" y="149"/>
                  </a:lnTo>
                  <a:lnTo>
                    <a:pt x="1022" y="151"/>
                  </a:lnTo>
                  <a:lnTo>
                    <a:pt x="1024" y="151"/>
                  </a:lnTo>
                  <a:lnTo>
                    <a:pt x="1026" y="151"/>
                  </a:lnTo>
                  <a:lnTo>
                    <a:pt x="1040" y="148"/>
                  </a:lnTo>
                  <a:lnTo>
                    <a:pt x="1059" y="144"/>
                  </a:lnTo>
                  <a:lnTo>
                    <a:pt x="1064" y="140"/>
                  </a:lnTo>
                  <a:lnTo>
                    <a:pt x="1066" y="138"/>
                  </a:lnTo>
                  <a:lnTo>
                    <a:pt x="1070" y="140"/>
                  </a:lnTo>
                  <a:lnTo>
                    <a:pt x="1074" y="146"/>
                  </a:lnTo>
                  <a:lnTo>
                    <a:pt x="1079" y="136"/>
                  </a:lnTo>
                  <a:lnTo>
                    <a:pt x="1085" y="133"/>
                  </a:lnTo>
                  <a:lnTo>
                    <a:pt x="1088" y="131"/>
                  </a:lnTo>
                  <a:lnTo>
                    <a:pt x="1092" y="131"/>
                  </a:lnTo>
                  <a:lnTo>
                    <a:pt x="1096" y="131"/>
                  </a:lnTo>
                  <a:lnTo>
                    <a:pt x="1101" y="135"/>
                  </a:lnTo>
                  <a:lnTo>
                    <a:pt x="1105" y="133"/>
                  </a:lnTo>
                  <a:lnTo>
                    <a:pt x="1110" y="131"/>
                  </a:lnTo>
                  <a:lnTo>
                    <a:pt x="1118" y="135"/>
                  </a:lnTo>
                  <a:lnTo>
                    <a:pt x="1131" y="138"/>
                  </a:lnTo>
                  <a:lnTo>
                    <a:pt x="1129" y="142"/>
                  </a:lnTo>
                  <a:lnTo>
                    <a:pt x="1127" y="146"/>
                  </a:lnTo>
                  <a:lnTo>
                    <a:pt x="1136" y="146"/>
                  </a:lnTo>
                  <a:lnTo>
                    <a:pt x="1142" y="144"/>
                  </a:lnTo>
                  <a:lnTo>
                    <a:pt x="1147" y="138"/>
                  </a:lnTo>
                  <a:lnTo>
                    <a:pt x="1151" y="133"/>
                  </a:lnTo>
                  <a:lnTo>
                    <a:pt x="1155" y="125"/>
                  </a:lnTo>
                  <a:lnTo>
                    <a:pt x="1160" y="120"/>
                  </a:lnTo>
                  <a:lnTo>
                    <a:pt x="1166" y="114"/>
                  </a:lnTo>
                  <a:lnTo>
                    <a:pt x="1171" y="111"/>
                  </a:lnTo>
                  <a:lnTo>
                    <a:pt x="1179" y="87"/>
                  </a:lnTo>
                  <a:lnTo>
                    <a:pt x="1186" y="70"/>
                  </a:lnTo>
                  <a:lnTo>
                    <a:pt x="1194" y="59"/>
                  </a:lnTo>
                  <a:lnTo>
                    <a:pt x="1201" y="51"/>
                  </a:lnTo>
                  <a:lnTo>
                    <a:pt x="1214" y="42"/>
                  </a:lnTo>
                  <a:lnTo>
                    <a:pt x="1221" y="37"/>
                  </a:lnTo>
                  <a:lnTo>
                    <a:pt x="1221" y="29"/>
                  </a:lnTo>
                  <a:lnTo>
                    <a:pt x="1227" y="24"/>
                  </a:lnTo>
                  <a:lnTo>
                    <a:pt x="1232" y="18"/>
                  </a:lnTo>
                  <a:lnTo>
                    <a:pt x="1242" y="16"/>
                  </a:lnTo>
                  <a:lnTo>
                    <a:pt x="1260" y="13"/>
                  </a:lnTo>
                  <a:lnTo>
                    <a:pt x="1277" y="7"/>
                  </a:lnTo>
                  <a:lnTo>
                    <a:pt x="1290" y="7"/>
                  </a:lnTo>
                  <a:lnTo>
                    <a:pt x="1306" y="7"/>
                  </a:lnTo>
                  <a:lnTo>
                    <a:pt x="1314" y="11"/>
                  </a:lnTo>
                  <a:lnTo>
                    <a:pt x="1321" y="14"/>
                  </a:lnTo>
                  <a:lnTo>
                    <a:pt x="1327" y="22"/>
                  </a:lnTo>
                  <a:lnTo>
                    <a:pt x="1330" y="33"/>
                  </a:lnTo>
                  <a:lnTo>
                    <a:pt x="1332" y="37"/>
                  </a:lnTo>
                  <a:lnTo>
                    <a:pt x="1336" y="40"/>
                  </a:lnTo>
                  <a:lnTo>
                    <a:pt x="1340" y="44"/>
                  </a:lnTo>
                  <a:lnTo>
                    <a:pt x="1343" y="46"/>
                  </a:lnTo>
                  <a:lnTo>
                    <a:pt x="1351" y="48"/>
                  </a:lnTo>
                  <a:lnTo>
                    <a:pt x="1358" y="48"/>
                  </a:lnTo>
                  <a:lnTo>
                    <a:pt x="1369" y="40"/>
                  </a:lnTo>
                  <a:lnTo>
                    <a:pt x="1375" y="39"/>
                  </a:lnTo>
                  <a:lnTo>
                    <a:pt x="1384" y="39"/>
                  </a:lnTo>
                  <a:lnTo>
                    <a:pt x="1395" y="40"/>
                  </a:lnTo>
                  <a:lnTo>
                    <a:pt x="1393" y="33"/>
                  </a:lnTo>
                  <a:lnTo>
                    <a:pt x="1395" y="24"/>
                  </a:lnTo>
                  <a:lnTo>
                    <a:pt x="1404" y="27"/>
                  </a:lnTo>
                  <a:lnTo>
                    <a:pt x="1413" y="31"/>
                  </a:lnTo>
                  <a:lnTo>
                    <a:pt x="1406" y="11"/>
                  </a:lnTo>
                  <a:lnTo>
                    <a:pt x="1404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5" name="Freeform 21"/>
            <p:cNvSpPr>
              <a:spLocks/>
            </p:cNvSpPr>
            <p:nvPr/>
          </p:nvSpPr>
          <p:spPr bwMode="auto">
            <a:xfrm>
              <a:off x="6064409" y="2822285"/>
              <a:ext cx="128883" cy="103816"/>
            </a:xfrm>
            <a:custGeom>
              <a:avLst/>
              <a:gdLst>
                <a:gd name="T0" fmla="*/ 7 w 247"/>
                <a:gd name="T1" fmla="*/ 141 h 204"/>
                <a:gd name="T2" fmla="*/ 20 w 247"/>
                <a:gd name="T3" fmla="*/ 157 h 204"/>
                <a:gd name="T4" fmla="*/ 35 w 247"/>
                <a:gd name="T5" fmla="*/ 174 h 204"/>
                <a:gd name="T6" fmla="*/ 37 w 247"/>
                <a:gd name="T7" fmla="*/ 187 h 204"/>
                <a:gd name="T8" fmla="*/ 50 w 247"/>
                <a:gd name="T9" fmla="*/ 192 h 204"/>
                <a:gd name="T10" fmla="*/ 64 w 247"/>
                <a:gd name="T11" fmla="*/ 198 h 204"/>
                <a:gd name="T12" fmla="*/ 87 w 247"/>
                <a:gd name="T13" fmla="*/ 194 h 204"/>
                <a:gd name="T14" fmla="*/ 107 w 247"/>
                <a:gd name="T15" fmla="*/ 178 h 204"/>
                <a:gd name="T16" fmla="*/ 136 w 247"/>
                <a:gd name="T17" fmla="*/ 148 h 204"/>
                <a:gd name="T18" fmla="*/ 153 w 247"/>
                <a:gd name="T19" fmla="*/ 120 h 204"/>
                <a:gd name="T20" fmla="*/ 173 w 247"/>
                <a:gd name="T21" fmla="*/ 102 h 204"/>
                <a:gd name="T22" fmla="*/ 186 w 247"/>
                <a:gd name="T23" fmla="*/ 82 h 204"/>
                <a:gd name="T24" fmla="*/ 207 w 247"/>
                <a:gd name="T25" fmla="*/ 58 h 204"/>
                <a:gd name="T26" fmla="*/ 223 w 247"/>
                <a:gd name="T27" fmla="*/ 39 h 204"/>
                <a:gd name="T28" fmla="*/ 234 w 247"/>
                <a:gd name="T29" fmla="*/ 32 h 204"/>
                <a:gd name="T30" fmla="*/ 245 w 247"/>
                <a:gd name="T31" fmla="*/ 11 h 204"/>
                <a:gd name="T32" fmla="*/ 247 w 247"/>
                <a:gd name="T33" fmla="*/ 2 h 204"/>
                <a:gd name="T34" fmla="*/ 234 w 247"/>
                <a:gd name="T35" fmla="*/ 2 h 204"/>
                <a:gd name="T36" fmla="*/ 218 w 247"/>
                <a:gd name="T37" fmla="*/ 8 h 204"/>
                <a:gd name="T38" fmla="*/ 199 w 247"/>
                <a:gd name="T39" fmla="*/ 21 h 204"/>
                <a:gd name="T40" fmla="*/ 184 w 247"/>
                <a:gd name="T41" fmla="*/ 41 h 204"/>
                <a:gd name="T42" fmla="*/ 171 w 247"/>
                <a:gd name="T43" fmla="*/ 56 h 204"/>
                <a:gd name="T44" fmla="*/ 160 w 247"/>
                <a:gd name="T45" fmla="*/ 58 h 204"/>
                <a:gd name="T46" fmla="*/ 146 w 247"/>
                <a:gd name="T47" fmla="*/ 54 h 204"/>
                <a:gd name="T48" fmla="*/ 123 w 247"/>
                <a:gd name="T49" fmla="*/ 41 h 204"/>
                <a:gd name="T50" fmla="*/ 98 w 247"/>
                <a:gd name="T51" fmla="*/ 39 h 204"/>
                <a:gd name="T52" fmla="*/ 70 w 247"/>
                <a:gd name="T53" fmla="*/ 41 h 204"/>
                <a:gd name="T54" fmla="*/ 53 w 247"/>
                <a:gd name="T55" fmla="*/ 52 h 204"/>
                <a:gd name="T56" fmla="*/ 37 w 247"/>
                <a:gd name="T57" fmla="*/ 65 h 204"/>
                <a:gd name="T58" fmla="*/ 26 w 247"/>
                <a:gd name="T59" fmla="*/ 63 h 204"/>
                <a:gd name="T60" fmla="*/ 16 w 247"/>
                <a:gd name="T61" fmla="*/ 78 h 204"/>
                <a:gd name="T62" fmla="*/ 11 w 247"/>
                <a:gd name="T63" fmla="*/ 107 h 204"/>
                <a:gd name="T64" fmla="*/ 5 w 247"/>
                <a:gd name="T65" fmla="*/ 122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7"/>
                <a:gd name="T100" fmla="*/ 0 h 204"/>
                <a:gd name="T101" fmla="*/ 247 w 247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7" h="204">
                  <a:moveTo>
                    <a:pt x="0" y="130"/>
                  </a:moveTo>
                  <a:lnTo>
                    <a:pt x="7" y="141"/>
                  </a:lnTo>
                  <a:lnTo>
                    <a:pt x="13" y="150"/>
                  </a:lnTo>
                  <a:lnTo>
                    <a:pt x="20" y="157"/>
                  </a:lnTo>
                  <a:lnTo>
                    <a:pt x="33" y="167"/>
                  </a:lnTo>
                  <a:lnTo>
                    <a:pt x="35" y="174"/>
                  </a:lnTo>
                  <a:lnTo>
                    <a:pt x="35" y="180"/>
                  </a:lnTo>
                  <a:lnTo>
                    <a:pt x="37" y="187"/>
                  </a:lnTo>
                  <a:lnTo>
                    <a:pt x="44" y="192"/>
                  </a:lnTo>
                  <a:lnTo>
                    <a:pt x="50" y="192"/>
                  </a:lnTo>
                  <a:lnTo>
                    <a:pt x="57" y="192"/>
                  </a:lnTo>
                  <a:lnTo>
                    <a:pt x="64" y="198"/>
                  </a:lnTo>
                  <a:lnTo>
                    <a:pt x="79" y="204"/>
                  </a:lnTo>
                  <a:lnTo>
                    <a:pt x="87" y="194"/>
                  </a:lnTo>
                  <a:lnTo>
                    <a:pt x="92" y="187"/>
                  </a:lnTo>
                  <a:lnTo>
                    <a:pt x="107" y="178"/>
                  </a:lnTo>
                  <a:lnTo>
                    <a:pt x="133" y="165"/>
                  </a:lnTo>
                  <a:lnTo>
                    <a:pt x="136" y="148"/>
                  </a:lnTo>
                  <a:lnTo>
                    <a:pt x="142" y="130"/>
                  </a:lnTo>
                  <a:lnTo>
                    <a:pt x="153" y="120"/>
                  </a:lnTo>
                  <a:lnTo>
                    <a:pt x="168" y="115"/>
                  </a:lnTo>
                  <a:lnTo>
                    <a:pt x="173" y="102"/>
                  </a:lnTo>
                  <a:lnTo>
                    <a:pt x="179" y="91"/>
                  </a:lnTo>
                  <a:lnTo>
                    <a:pt x="186" y="82"/>
                  </a:lnTo>
                  <a:lnTo>
                    <a:pt x="192" y="72"/>
                  </a:lnTo>
                  <a:lnTo>
                    <a:pt x="207" y="58"/>
                  </a:lnTo>
                  <a:lnTo>
                    <a:pt x="218" y="39"/>
                  </a:lnTo>
                  <a:lnTo>
                    <a:pt x="223" y="39"/>
                  </a:lnTo>
                  <a:lnTo>
                    <a:pt x="229" y="39"/>
                  </a:lnTo>
                  <a:lnTo>
                    <a:pt x="234" y="32"/>
                  </a:lnTo>
                  <a:lnTo>
                    <a:pt x="242" y="19"/>
                  </a:lnTo>
                  <a:lnTo>
                    <a:pt x="245" y="11"/>
                  </a:lnTo>
                  <a:lnTo>
                    <a:pt x="247" y="8"/>
                  </a:lnTo>
                  <a:lnTo>
                    <a:pt x="247" y="2"/>
                  </a:lnTo>
                  <a:lnTo>
                    <a:pt x="244" y="0"/>
                  </a:lnTo>
                  <a:lnTo>
                    <a:pt x="234" y="2"/>
                  </a:lnTo>
                  <a:lnTo>
                    <a:pt x="225" y="6"/>
                  </a:lnTo>
                  <a:lnTo>
                    <a:pt x="218" y="8"/>
                  </a:lnTo>
                  <a:lnTo>
                    <a:pt x="212" y="11"/>
                  </a:lnTo>
                  <a:lnTo>
                    <a:pt x="199" y="21"/>
                  </a:lnTo>
                  <a:lnTo>
                    <a:pt x="192" y="32"/>
                  </a:lnTo>
                  <a:lnTo>
                    <a:pt x="184" y="41"/>
                  </a:lnTo>
                  <a:lnTo>
                    <a:pt x="177" y="48"/>
                  </a:lnTo>
                  <a:lnTo>
                    <a:pt x="171" y="56"/>
                  </a:lnTo>
                  <a:lnTo>
                    <a:pt x="166" y="58"/>
                  </a:lnTo>
                  <a:lnTo>
                    <a:pt x="160" y="58"/>
                  </a:lnTo>
                  <a:lnTo>
                    <a:pt x="153" y="56"/>
                  </a:lnTo>
                  <a:lnTo>
                    <a:pt x="146" y="54"/>
                  </a:lnTo>
                  <a:lnTo>
                    <a:pt x="138" y="48"/>
                  </a:lnTo>
                  <a:lnTo>
                    <a:pt x="123" y="41"/>
                  </a:lnTo>
                  <a:lnTo>
                    <a:pt x="111" y="34"/>
                  </a:lnTo>
                  <a:lnTo>
                    <a:pt x="98" y="39"/>
                  </a:lnTo>
                  <a:lnTo>
                    <a:pt x="85" y="46"/>
                  </a:lnTo>
                  <a:lnTo>
                    <a:pt x="70" y="41"/>
                  </a:lnTo>
                  <a:lnTo>
                    <a:pt x="61" y="39"/>
                  </a:lnTo>
                  <a:lnTo>
                    <a:pt x="53" y="52"/>
                  </a:lnTo>
                  <a:lnTo>
                    <a:pt x="42" y="63"/>
                  </a:lnTo>
                  <a:lnTo>
                    <a:pt x="37" y="65"/>
                  </a:lnTo>
                  <a:lnTo>
                    <a:pt x="31" y="63"/>
                  </a:lnTo>
                  <a:lnTo>
                    <a:pt x="26" y="63"/>
                  </a:lnTo>
                  <a:lnTo>
                    <a:pt x="22" y="59"/>
                  </a:lnTo>
                  <a:lnTo>
                    <a:pt x="16" y="78"/>
                  </a:lnTo>
                  <a:lnTo>
                    <a:pt x="13" y="98"/>
                  </a:lnTo>
                  <a:lnTo>
                    <a:pt x="11" y="107"/>
                  </a:lnTo>
                  <a:lnTo>
                    <a:pt x="9" y="115"/>
                  </a:lnTo>
                  <a:lnTo>
                    <a:pt x="5" y="122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6" name="Freeform 22"/>
            <p:cNvSpPr>
              <a:spLocks/>
            </p:cNvSpPr>
            <p:nvPr/>
          </p:nvSpPr>
          <p:spPr bwMode="auto">
            <a:xfrm>
              <a:off x="6155723" y="2793277"/>
              <a:ext cx="158103" cy="329260"/>
            </a:xfrm>
            <a:custGeom>
              <a:avLst/>
              <a:gdLst>
                <a:gd name="T0" fmla="*/ 93 w 303"/>
                <a:gd name="T1" fmla="*/ 277 h 647"/>
                <a:gd name="T2" fmla="*/ 96 w 303"/>
                <a:gd name="T3" fmla="*/ 292 h 647"/>
                <a:gd name="T4" fmla="*/ 85 w 303"/>
                <a:gd name="T5" fmla="*/ 323 h 647"/>
                <a:gd name="T6" fmla="*/ 93 w 303"/>
                <a:gd name="T7" fmla="*/ 353 h 647"/>
                <a:gd name="T8" fmla="*/ 94 w 303"/>
                <a:gd name="T9" fmla="*/ 370 h 647"/>
                <a:gd name="T10" fmla="*/ 91 w 303"/>
                <a:gd name="T11" fmla="*/ 392 h 647"/>
                <a:gd name="T12" fmla="*/ 57 w 303"/>
                <a:gd name="T13" fmla="*/ 408 h 647"/>
                <a:gd name="T14" fmla="*/ 24 w 303"/>
                <a:gd name="T15" fmla="*/ 425 h 647"/>
                <a:gd name="T16" fmla="*/ 0 w 303"/>
                <a:gd name="T17" fmla="*/ 462 h 647"/>
                <a:gd name="T18" fmla="*/ 32 w 303"/>
                <a:gd name="T19" fmla="*/ 501 h 647"/>
                <a:gd name="T20" fmla="*/ 56 w 303"/>
                <a:gd name="T21" fmla="*/ 560 h 647"/>
                <a:gd name="T22" fmla="*/ 69 w 303"/>
                <a:gd name="T23" fmla="*/ 610 h 647"/>
                <a:gd name="T24" fmla="*/ 33 w 303"/>
                <a:gd name="T25" fmla="*/ 621 h 647"/>
                <a:gd name="T26" fmla="*/ 37 w 303"/>
                <a:gd name="T27" fmla="*/ 630 h 647"/>
                <a:gd name="T28" fmla="*/ 59 w 303"/>
                <a:gd name="T29" fmla="*/ 647 h 647"/>
                <a:gd name="T30" fmla="*/ 89 w 303"/>
                <a:gd name="T31" fmla="*/ 619 h 647"/>
                <a:gd name="T32" fmla="*/ 96 w 303"/>
                <a:gd name="T33" fmla="*/ 588 h 647"/>
                <a:gd name="T34" fmla="*/ 98 w 303"/>
                <a:gd name="T35" fmla="*/ 571 h 647"/>
                <a:gd name="T36" fmla="*/ 113 w 303"/>
                <a:gd name="T37" fmla="*/ 562 h 647"/>
                <a:gd name="T38" fmla="*/ 122 w 303"/>
                <a:gd name="T39" fmla="*/ 556 h 647"/>
                <a:gd name="T40" fmla="*/ 131 w 303"/>
                <a:gd name="T41" fmla="*/ 556 h 647"/>
                <a:gd name="T42" fmla="*/ 135 w 303"/>
                <a:gd name="T43" fmla="*/ 577 h 647"/>
                <a:gd name="T44" fmla="*/ 165 w 303"/>
                <a:gd name="T45" fmla="*/ 571 h 647"/>
                <a:gd name="T46" fmla="*/ 192 w 303"/>
                <a:gd name="T47" fmla="*/ 560 h 647"/>
                <a:gd name="T48" fmla="*/ 220 w 303"/>
                <a:gd name="T49" fmla="*/ 536 h 647"/>
                <a:gd name="T50" fmla="*/ 248 w 303"/>
                <a:gd name="T51" fmla="*/ 493 h 647"/>
                <a:gd name="T52" fmla="*/ 274 w 303"/>
                <a:gd name="T53" fmla="*/ 431 h 647"/>
                <a:gd name="T54" fmla="*/ 270 w 303"/>
                <a:gd name="T55" fmla="*/ 388 h 647"/>
                <a:gd name="T56" fmla="*/ 287 w 303"/>
                <a:gd name="T57" fmla="*/ 353 h 647"/>
                <a:gd name="T58" fmla="*/ 285 w 303"/>
                <a:gd name="T59" fmla="*/ 305 h 647"/>
                <a:gd name="T60" fmla="*/ 301 w 303"/>
                <a:gd name="T61" fmla="*/ 220 h 647"/>
                <a:gd name="T62" fmla="*/ 299 w 303"/>
                <a:gd name="T63" fmla="*/ 128 h 647"/>
                <a:gd name="T64" fmla="*/ 301 w 303"/>
                <a:gd name="T65" fmla="*/ 70 h 647"/>
                <a:gd name="T66" fmla="*/ 283 w 303"/>
                <a:gd name="T67" fmla="*/ 54 h 647"/>
                <a:gd name="T68" fmla="*/ 263 w 303"/>
                <a:gd name="T69" fmla="*/ 63 h 647"/>
                <a:gd name="T70" fmla="*/ 259 w 303"/>
                <a:gd name="T71" fmla="*/ 41 h 647"/>
                <a:gd name="T72" fmla="*/ 244 w 303"/>
                <a:gd name="T73" fmla="*/ 24 h 647"/>
                <a:gd name="T74" fmla="*/ 237 w 303"/>
                <a:gd name="T75" fmla="*/ 9 h 647"/>
                <a:gd name="T76" fmla="*/ 226 w 303"/>
                <a:gd name="T77" fmla="*/ 2 h 647"/>
                <a:gd name="T78" fmla="*/ 202 w 303"/>
                <a:gd name="T79" fmla="*/ 17 h 647"/>
                <a:gd name="T80" fmla="*/ 179 w 303"/>
                <a:gd name="T81" fmla="*/ 41 h 647"/>
                <a:gd name="T82" fmla="*/ 187 w 303"/>
                <a:gd name="T83" fmla="*/ 55 h 647"/>
                <a:gd name="T84" fmla="*/ 194 w 303"/>
                <a:gd name="T85" fmla="*/ 70 h 647"/>
                <a:gd name="T86" fmla="*/ 211 w 303"/>
                <a:gd name="T87" fmla="*/ 68 h 647"/>
                <a:gd name="T88" fmla="*/ 226 w 303"/>
                <a:gd name="T89" fmla="*/ 76 h 647"/>
                <a:gd name="T90" fmla="*/ 220 w 303"/>
                <a:gd name="T91" fmla="*/ 103 h 647"/>
                <a:gd name="T92" fmla="*/ 202 w 303"/>
                <a:gd name="T93" fmla="*/ 113 h 647"/>
                <a:gd name="T94" fmla="*/ 192 w 303"/>
                <a:gd name="T95" fmla="*/ 120 h 647"/>
                <a:gd name="T96" fmla="*/ 207 w 303"/>
                <a:gd name="T97" fmla="*/ 152 h 647"/>
                <a:gd name="T98" fmla="*/ 189 w 303"/>
                <a:gd name="T99" fmla="*/ 172 h 647"/>
                <a:gd name="T100" fmla="*/ 168 w 303"/>
                <a:gd name="T101" fmla="*/ 174 h 647"/>
                <a:gd name="T102" fmla="*/ 152 w 303"/>
                <a:gd name="T103" fmla="*/ 185 h 647"/>
                <a:gd name="T104" fmla="*/ 129 w 303"/>
                <a:gd name="T105" fmla="*/ 194 h 647"/>
                <a:gd name="T106" fmla="*/ 107 w 303"/>
                <a:gd name="T107" fmla="*/ 177 h 647"/>
                <a:gd name="T108" fmla="*/ 104 w 303"/>
                <a:gd name="T109" fmla="*/ 183 h 647"/>
                <a:gd name="T110" fmla="*/ 91 w 303"/>
                <a:gd name="T111" fmla="*/ 205 h 647"/>
                <a:gd name="T112" fmla="*/ 91 w 303"/>
                <a:gd name="T113" fmla="*/ 224 h 647"/>
                <a:gd name="T114" fmla="*/ 89 w 303"/>
                <a:gd name="T115" fmla="*/ 251 h 6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3"/>
                <a:gd name="T175" fmla="*/ 0 h 647"/>
                <a:gd name="T176" fmla="*/ 303 w 303"/>
                <a:gd name="T177" fmla="*/ 647 h 64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3" h="647">
                  <a:moveTo>
                    <a:pt x="80" y="261"/>
                  </a:moveTo>
                  <a:lnTo>
                    <a:pt x="85" y="270"/>
                  </a:lnTo>
                  <a:lnTo>
                    <a:pt x="93" y="277"/>
                  </a:lnTo>
                  <a:lnTo>
                    <a:pt x="94" y="283"/>
                  </a:lnTo>
                  <a:lnTo>
                    <a:pt x="96" y="286"/>
                  </a:lnTo>
                  <a:lnTo>
                    <a:pt x="96" y="292"/>
                  </a:lnTo>
                  <a:lnTo>
                    <a:pt x="96" y="298"/>
                  </a:lnTo>
                  <a:lnTo>
                    <a:pt x="89" y="310"/>
                  </a:lnTo>
                  <a:lnTo>
                    <a:pt x="85" y="323"/>
                  </a:lnTo>
                  <a:lnTo>
                    <a:pt x="85" y="333"/>
                  </a:lnTo>
                  <a:lnTo>
                    <a:pt x="87" y="344"/>
                  </a:lnTo>
                  <a:lnTo>
                    <a:pt x="93" y="353"/>
                  </a:lnTo>
                  <a:lnTo>
                    <a:pt x="98" y="362"/>
                  </a:lnTo>
                  <a:lnTo>
                    <a:pt x="96" y="366"/>
                  </a:lnTo>
                  <a:lnTo>
                    <a:pt x="94" y="370"/>
                  </a:lnTo>
                  <a:lnTo>
                    <a:pt x="93" y="375"/>
                  </a:lnTo>
                  <a:lnTo>
                    <a:pt x="93" y="381"/>
                  </a:lnTo>
                  <a:lnTo>
                    <a:pt x="91" y="392"/>
                  </a:lnTo>
                  <a:lnTo>
                    <a:pt x="89" y="403"/>
                  </a:lnTo>
                  <a:lnTo>
                    <a:pt x="72" y="405"/>
                  </a:lnTo>
                  <a:lnTo>
                    <a:pt x="57" y="408"/>
                  </a:lnTo>
                  <a:lnTo>
                    <a:pt x="43" y="407"/>
                  </a:lnTo>
                  <a:lnTo>
                    <a:pt x="28" y="407"/>
                  </a:lnTo>
                  <a:lnTo>
                    <a:pt x="24" y="425"/>
                  </a:lnTo>
                  <a:lnTo>
                    <a:pt x="21" y="440"/>
                  </a:lnTo>
                  <a:lnTo>
                    <a:pt x="8" y="453"/>
                  </a:lnTo>
                  <a:lnTo>
                    <a:pt x="0" y="462"/>
                  </a:lnTo>
                  <a:lnTo>
                    <a:pt x="9" y="473"/>
                  </a:lnTo>
                  <a:lnTo>
                    <a:pt x="24" y="486"/>
                  </a:lnTo>
                  <a:lnTo>
                    <a:pt x="32" y="501"/>
                  </a:lnTo>
                  <a:lnTo>
                    <a:pt x="41" y="519"/>
                  </a:lnTo>
                  <a:lnTo>
                    <a:pt x="48" y="540"/>
                  </a:lnTo>
                  <a:lnTo>
                    <a:pt x="56" y="560"/>
                  </a:lnTo>
                  <a:lnTo>
                    <a:pt x="63" y="580"/>
                  </a:lnTo>
                  <a:lnTo>
                    <a:pt x="67" y="597"/>
                  </a:lnTo>
                  <a:lnTo>
                    <a:pt x="69" y="610"/>
                  </a:lnTo>
                  <a:lnTo>
                    <a:pt x="69" y="617"/>
                  </a:lnTo>
                  <a:lnTo>
                    <a:pt x="52" y="619"/>
                  </a:lnTo>
                  <a:lnTo>
                    <a:pt x="33" y="621"/>
                  </a:lnTo>
                  <a:lnTo>
                    <a:pt x="33" y="623"/>
                  </a:lnTo>
                  <a:lnTo>
                    <a:pt x="35" y="626"/>
                  </a:lnTo>
                  <a:lnTo>
                    <a:pt x="37" y="630"/>
                  </a:lnTo>
                  <a:lnTo>
                    <a:pt x="43" y="634"/>
                  </a:lnTo>
                  <a:lnTo>
                    <a:pt x="52" y="643"/>
                  </a:lnTo>
                  <a:lnTo>
                    <a:pt x="59" y="647"/>
                  </a:lnTo>
                  <a:lnTo>
                    <a:pt x="78" y="641"/>
                  </a:lnTo>
                  <a:lnTo>
                    <a:pt x="91" y="636"/>
                  </a:lnTo>
                  <a:lnTo>
                    <a:pt x="89" y="619"/>
                  </a:lnTo>
                  <a:lnTo>
                    <a:pt x="89" y="604"/>
                  </a:lnTo>
                  <a:lnTo>
                    <a:pt x="93" y="597"/>
                  </a:lnTo>
                  <a:lnTo>
                    <a:pt x="96" y="588"/>
                  </a:lnTo>
                  <a:lnTo>
                    <a:pt x="98" y="584"/>
                  </a:lnTo>
                  <a:lnTo>
                    <a:pt x="98" y="578"/>
                  </a:lnTo>
                  <a:lnTo>
                    <a:pt x="98" y="571"/>
                  </a:lnTo>
                  <a:lnTo>
                    <a:pt x="96" y="562"/>
                  </a:lnTo>
                  <a:lnTo>
                    <a:pt x="105" y="562"/>
                  </a:lnTo>
                  <a:lnTo>
                    <a:pt x="113" y="562"/>
                  </a:lnTo>
                  <a:lnTo>
                    <a:pt x="117" y="562"/>
                  </a:lnTo>
                  <a:lnTo>
                    <a:pt x="118" y="560"/>
                  </a:lnTo>
                  <a:lnTo>
                    <a:pt x="122" y="556"/>
                  </a:lnTo>
                  <a:lnTo>
                    <a:pt x="124" y="553"/>
                  </a:lnTo>
                  <a:lnTo>
                    <a:pt x="128" y="554"/>
                  </a:lnTo>
                  <a:lnTo>
                    <a:pt x="131" y="556"/>
                  </a:lnTo>
                  <a:lnTo>
                    <a:pt x="131" y="564"/>
                  </a:lnTo>
                  <a:lnTo>
                    <a:pt x="131" y="569"/>
                  </a:lnTo>
                  <a:lnTo>
                    <a:pt x="135" y="577"/>
                  </a:lnTo>
                  <a:lnTo>
                    <a:pt x="141" y="578"/>
                  </a:lnTo>
                  <a:lnTo>
                    <a:pt x="152" y="575"/>
                  </a:lnTo>
                  <a:lnTo>
                    <a:pt x="165" y="571"/>
                  </a:lnTo>
                  <a:lnTo>
                    <a:pt x="176" y="569"/>
                  </a:lnTo>
                  <a:lnTo>
                    <a:pt x="189" y="569"/>
                  </a:lnTo>
                  <a:lnTo>
                    <a:pt x="192" y="560"/>
                  </a:lnTo>
                  <a:lnTo>
                    <a:pt x="198" y="551"/>
                  </a:lnTo>
                  <a:lnTo>
                    <a:pt x="209" y="541"/>
                  </a:lnTo>
                  <a:lnTo>
                    <a:pt x="220" y="536"/>
                  </a:lnTo>
                  <a:lnTo>
                    <a:pt x="231" y="528"/>
                  </a:lnTo>
                  <a:lnTo>
                    <a:pt x="238" y="519"/>
                  </a:lnTo>
                  <a:lnTo>
                    <a:pt x="248" y="493"/>
                  </a:lnTo>
                  <a:lnTo>
                    <a:pt x="259" y="464"/>
                  </a:lnTo>
                  <a:lnTo>
                    <a:pt x="268" y="443"/>
                  </a:lnTo>
                  <a:lnTo>
                    <a:pt x="274" y="431"/>
                  </a:lnTo>
                  <a:lnTo>
                    <a:pt x="274" y="416"/>
                  </a:lnTo>
                  <a:lnTo>
                    <a:pt x="272" y="403"/>
                  </a:lnTo>
                  <a:lnTo>
                    <a:pt x="270" y="388"/>
                  </a:lnTo>
                  <a:lnTo>
                    <a:pt x="268" y="373"/>
                  </a:lnTo>
                  <a:lnTo>
                    <a:pt x="277" y="362"/>
                  </a:lnTo>
                  <a:lnTo>
                    <a:pt x="287" y="353"/>
                  </a:lnTo>
                  <a:lnTo>
                    <a:pt x="283" y="338"/>
                  </a:lnTo>
                  <a:lnTo>
                    <a:pt x="277" y="323"/>
                  </a:lnTo>
                  <a:lnTo>
                    <a:pt x="285" y="305"/>
                  </a:lnTo>
                  <a:lnTo>
                    <a:pt x="292" y="281"/>
                  </a:lnTo>
                  <a:lnTo>
                    <a:pt x="296" y="253"/>
                  </a:lnTo>
                  <a:lnTo>
                    <a:pt x="301" y="220"/>
                  </a:lnTo>
                  <a:lnTo>
                    <a:pt x="303" y="188"/>
                  </a:lnTo>
                  <a:lnTo>
                    <a:pt x="303" y="157"/>
                  </a:lnTo>
                  <a:lnTo>
                    <a:pt x="299" y="128"/>
                  </a:lnTo>
                  <a:lnTo>
                    <a:pt x="292" y="102"/>
                  </a:lnTo>
                  <a:lnTo>
                    <a:pt x="298" y="83"/>
                  </a:lnTo>
                  <a:lnTo>
                    <a:pt x="301" y="70"/>
                  </a:lnTo>
                  <a:lnTo>
                    <a:pt x="301" y="57"/>
                  </a:lnTo>
                  <a:lnTo>
                    <a:pt x="299" y="46"/>
                  </a:lnTo>
                  <a:lnTo>
                    <a:pt x="283" y="54"/>
                  </a:lnTo>
                  <a:lnTo>
                    <a:pt x="272" y="57"/>
                  </a:lnTo>
                  <a:lnTo>
                    <a:pt x="266" y="61"/>
                  </a:lnTo>
                  <a:lnTo>
                    <a:pt x="263" y="63"/>
                  </a:lnTo>
                  <a:lnTo>
                    <a:pt x="259" y="61"/>
                  </a:lnTo>
                  <a:lnTo>
                    <a:pt x="259" y="57"/>
                  </a:lnTo>
                  <a:lnTo>
                    <a:pt x="259" y="41"/>
                  </a:lnTo>
                  <a:lnTo>
                    <a:pt x="255" y="31"/>
                  </a:lnTo>
                  <a:lnTo>
                    <a:pt x="251" y="28"/>
                  </a:lnTo>
                  <a:lnTo>
                    <a:pt x="244" y="24"/>
                  </a:lnTo>
                  <a:lnTo>
                    <a:pt x="240" y="18"/>
                  </a:lnTo>
                  <a:lnTo>
                    <a:pt x="238" y="13"/>
                  </a:lnTo>
                  <a:lnTo>
                    <a:pt x="237" y="9"/>
                  </a:lnTo>
                  <a:lnTo>
                    <a:pt x="235" y="7"/>
                  </a:lnTo>
                  <a:lnTo>
                    <a:pt x="231" y="4"/>
                  </a:lnTo>
                  <a:lnTo>
                    <a:pt x="226" y="2"/>
                  </a:lnTo>
                  <a:lnTo>
                    <a:pt x="218" y="0"/>
                  </a:lnTo>
                  <a:lnTo>
                    <a:pt x="211" y="0"/>
                  </a:lnTo>
                  <a:lnTo>
                    <a:pt x="202" y="17"/>
                  </a:lnTo>
                  <a:lnTo>
                    <a:pt x="192" y="35"/>
                  </a:lnTo>
                  <a:lnTo>
                    <a:pt x="187" y="37"/>
                  </a:lnTo>
                  <a:lnTo>
                    <a:pt x="179" y="41"/>
                  </a:lnTo>
                  <a:lnTo>
                    <a:pt x="179" y="44"/>
                  </a:lnTo>
                  <a:lnTo>
                    <a:pt x="181" y="50"/>
                  </a:lnTo>
                  <a:lnTo>
                    <a:pt x="187" y="55"/>
                  </a:lnTo>
                  <a:lnTo>
                    <a:pt x="190" y="59"/>
                  </a:lnTo>
                  <a:lnTo>
                    <a:pt x="192" y="67"/>
                  </a:lnTo>
                  <a:lnTo>
                    <a:pt x="194" y="70"/>
                  </a:lnTo>
                  <a:lnTo>
                    <a:pt x="198" y="72"/>
                  </a:lnTo>
                  <a:lnTo>
                    <a:pt x="202" y="74"/>
                  </a:lnTo>
                  <a:lnTo>
                    <a:pt x="211" y="68"/>
                  </a:lnTo>
                  <a:lnTo>
                    <a:pt x="218" y="65"/>
                  </a:lnTo>
                  <a:lnTo>
                    <a:pt x="224" y="70"/>
                  </a:lnTo>
                  <a:lnTo>
                    <a:pt x="226" y="76"/>
                  </a:lnTo>
                  <a:lnTo>
                    <a:pt x="227" y="83"/>
                  </a:lnTo>
                  <a:lnTo>
                    <a:pt x="226" y="91"/>
                  </a:lnTo>
                  <a:lnTo>
                    <a:pt x="220" y="103"/>
                  </a:lnTo>
                  <a:lnTo>
                    <a:pt x="214" y="109"/>
                  </a:lnTo>
                  <a:lnTo>
                    <a:pt x="209" y="111"/>
                  </a:lnTo>
                  <a:lnTo>
                    <a:pt x="202" y="113"/>
                  </a:lnTo>
                  <a:lnTo>
                    <a:pt x="198" y="115"/>
                  </a:lnTo>
                  <a:lnTo>
                    <a:pt x="194" y="116"/>
                  </a:lnTo>
                  <a:lnTo>
                    <a:pt x="192" y="120"/>
                  </a:lnTo>
                  <a:lnTo>
                    <a:pt x="190" y="124"/>
                  </a:lnTo>
                  <a:lnTo>
                    <a:pt x="200" y="137"/>
                  </a:lnTo>
                  <a:lnTo>
                    <a:pt x="207" y="152"/>
                  </a:lnTo>
                  <a:lnTo>
                    <a:pt x="200" y="161"/>
                  </a:lnTo>
                  <a:lnTo>
                    <a:pt x="194" y="168"/>
                  </a:lnTo>
                  <a:lnTo>
                    <a:pt x="189" y="172"/>
                  </a:lnTo>
                  <a:lnTo>
                    <a:pt x="185" y="174"/>
                  </a:lnTo>
                  <a:lnTo>
                    <a:pt x="176" y="172"/>
                  </a:lnTo>
                  <a:lnTo>
                    <a:pt x="168" y="174"/>
                  </a:lnTo>
                  <a:lnTo>
                    <a:pt x="165" y="179"/>
                  </a:lnTo>
                  <a:lnTo>
                    <a:pt x="161" y="187"/>
                  </a:lnTo>
                  <a:lnTo>
                    <a:pt x="152" y="185"/>
                  </a:lnTo>
                  <a:lnTo>
                    <a:pt x="144" y="185"/>
                  </a:lnTo>
                  <a:lnTo>
                    <a:pt x="137" y="190"/>
                  </a:lnTo>
                  <a:lnTo>
                    <a:pt x="129" y="194"/>
                  </a:lnTo>
                  <a:lnTo>
                    <a:pt x="122" y="187"/>
                  </a:lnTo>
                  <a:lnTo>
                    <a:pt x="111" y="177"/>
                  </a:lnTo>
                  <a:lnTo>
                    <a:pt x="107" y="177"/>
                  </a:lnTo>
                  <a:lnTo>
                    <a:pt x="105" y="179"/>
                  </a:lnTo>
                  <a:lnTo>
                    <a:pt x="104" y="181"/>
                  </a:lnTo>
                  <a:lnTo>
                    <a:pt x="104" y="183"/>
                  </a:lnTo>
                  <a:lnTo>
                    <a:pt x="102" y="188"/>
                  </a:lnTo>
                  <a:lnTo>
                    <a:pt x="96" y="196"/>
                  </a:lnTo>
                  <a:lnTo>
                    <a:pt x="91" y="205"/>
                  </a:lnTo>
                  <a:lnTo>
                    <a:pt x="89" y="211"/>
                  </a:lnTo>
                  <a:lnTo>
                    <a:pt x="89" y="218"/>
                  </a:lnTo>
                  <a:lnTo>
                    <a:pt x="91" y="224"/>
                  </a:lnTo>
                  <a:lnTo>
                    <a:pt x="96" y="233"/>
                  </a:lnTo>
                  <a:lnTo>
                    <a:pt x="96" y="240"/>
                  </a:lnTo>
                  <a:lnTo>
                    <a:pt x="89" y="251"/>
                  </a:lnTo>
                  <a:lnTo>
                    <a:pt x="80" y="26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7" name="Freeform 23"/>
            <p:cNvSpPr>
              <a:spLocks noEditPoints="1"/>
            </p:cNvSpPr>
            <p:nvPr/>
          </p:nvSpPr>
          <p:spPr bwMode="auto">
            <a:xfrm>
              <a:off x="5911002" y="2220762"/>
              <a:ext cx="400736" cy="705339"/>
            </a:xfrm>
            <a:custGeom>
              <a:avLst/>
              <a:gdLst>
                <a:gd name="T0" fmla="*/ 532 w 768"/>
                <a:gd name="T1" fmla="*/ 1343 h 1386"/>
                <a:gd name="T2" fmla="*/ 558 w 768"/>
                <a:gd name="T3" fmla="*/ 1343 h 1386"/>
                <a:gd name="T4" fmla="*/ 606 w 768"/>
                <a:gd name="T5" fmla="*/ 1315 h 1386"/>
                <a:gd name="T6" fmla="*/ 669 w 768"/>
                <a:gd name="T7" fmla="*/ 1262 h 1386"/>
                <a:gd name="T8" fmla="*/ 693 w 768"/>
                <a:gd name="T9" fmla="*/ 1195 h 1386"/>
                <a:gd name="T10" fmla="*/ 656 w 768"/>
                <a:gd name="T11" fmla="*/ 1162 h 1386"/>
                <a:gd name="T12" fmla="*/ 720 w 768"/>
                <a:gd name="T13" fmla="*/ 1153 h 1386"/>
                <a:gd name="T14" fmla="*/ 763 w 768"/>
                <a:gd name="T15" fmla="*/ 1121 h 1386"/>
                <a:gd name="T16" fmla="*/ 739 w 768"/>
                <a:gd name="T17" fmla="*/ 999 h 1386"/>
                <a:gd name="T18" fmla="*/ 700 w 768"/>
                <a:gd name="T19" fmla="*/ 942 h 1386"/>
                <a:gd name="T20" fmla="*/ 659 w 768"/>
                <a:gd name="T21" fmla="*/ 835 h 1386"/>
                <a:gd name="T22" fmla="*/ 604 w 768"/>
                <a:gd name="T23" fmla="*/ 744 h 1386"/>
                <a:gd name="T24" fmla="*/ 556 w 768"/>
                <a:gd name="T25" fmla="*/ 711 h 1386"/>
                <a:gd name="T26" fmla="*/ 495 w 768"/>
                <a:gd name="T27" fmla="*/ 691 h 1386"/>
                <a:gd name="T28" fmla="*/ 454 w 768"/>
                <a:gd name="T29" fmla="*/ 728 h 1386"/>
                <a:gd name="T30" fmla="*/ 453 w 768"/>
                <a:gd name="T31" fmla="*/ 737 h 1386"/>
                <a:gd name="T32" fmla="*/ 419 w 768"/>
                <a:gd name="T33" fmla="*/ 800 h 1386"/>
                <a:gd name="T34" fmla="*/ 403 w 768"/>
                <a:gd name="T35" fmla="*/ 750 h 1386"/>
                <a:gd name="T36" fmla="*/ 395 w 768"/>
                <a:gd name="T37" fmla="*/ 789 h 1386"/>
                <a:gd name="T38" fmla="*/ 357 w 768"/>
                <a:gd name="T39" fmla="*/ 754 h 1386"/>
                <a:gd name="T40" fmla="*/ 305 w 768"/>
                <a:gd name="T41" fmla="*/ 765 h 1386"/>
                <a:gd name="T42" fmla="*/ 297 w 768"/>
                <a:gd name="T43" fmla="*/ 670 h 1386"/>
                <a:gd name="T44" fmla="*/ 323 w 768"/>
                <a:gd name="T45" fmla="*/ 574 h 1386"/>
                <a:gd name="T46" fmla="*/ 320 w 768"/>
                <a:gd name="T47" fmla="*/ 517 h 1386"/>
                <a:gd name="T48" fmla="*/ 338 w 768"/>
                <a:gd name="T49" fmla="*/ 456 h 1386"/>
                <a:gd name="T50" fmla="*/ 349 w 768"/>
                <a:gd name="T51" fmla="*/ 290 h 1386"/>
                <a:gd name="T52" fmla="*/ 453 w 768"/>
                <a:gd name="T53" fmla="*/ 173 h 1386"/>
                <a:gd name="T54" fmla="*/ 473 w 768"/>
                <a:gd name="T55" fmla="*/ 172 h 1386"/>
                <a:gd name="T56" fmla="*/ 453 w 768"/>
                <a:gd name="T57" fmla="*/ 112 h 1386"/>
                <a:gd name="T58" fmla="*/ 388 w 768"/>
                <a:gd name="T59" fmla="*/ 94 h 1386"/>
                <a:gd name="T60" fmla="*/ 305 w 768"/>
                <a:gd name="T61" fmla="*/ 0 h 1386"/>
                <a:gd name="T62" fmla="*/ 281 w 768"/>
                <a:gd name="T63" fmla="*/ 53 h 1386"/>
                <a:gd name="T64" fmla="*/ 222 w 768"/>
                <a:gd name="T65" fmla="*/ 61 h 1386"/>
                <a:gd name="T66" fmla="*/ 133 w 768"/>
                <a:gd name="T67" fmla="*/ 88 h 1386"/>
                <a:gd name="T68" fmla="*/ 120 w 768"/>
                <a:gd name="T69" fmla="*/ 251 h 1386"/>
                <a:gd name="T70" fmla="*/ 185 w 768"/>
                <a:gd name="T71" fmla="*/ 351 h 1386"/>
                <a:gd name="T72" fmla="*/ 142 w 768"/>
                <a:gd name="T73" fmla="*/ 401 h 1386"/>
                <a:gd name="T74" fmla="*/ 68 w 768"/>
                <a:gd name="T75" fmla="*/ 452 h 1386"/>
                <a:gd name="T76" fmla="*/ 9 w 768"/>
                <a:gd name="T77" fmla="*/ 482 h 1386"/>
                <a:gd name="T78" fmla="*/ 4 w 768"/>
                <a:gd name="T79" fmla="*/ 565 h 1386"/>
                <a:gd name="T80" fmla="*/ 22 w 768"/>
                <a:gd name="T81" fmla="*/ 680 h 1386"/>
                <a:gd name="T82" fmla="*/ 63 w 768"/>
                <a:gd name="T83" fmla="*/ 778 h 1386"/>
                <a:gd name="T84" fmla="*/ 148 w 768"/>
                <a:gd name="T85" fmla="*/ 774 h 1386"/>
                <a:gd name="T86" fmla="*/ 109 w 768"/>
                <a:gd name="T87" fmla="*/ 850 h 1386"/>
                <a:gd name="T88" fmla="*/ 109 w 768"/>
                <a:gd name="T89" fmla="*/ 929 h 1386"/>
                <a:gd name="T90" fmla="*/ 168 w 768"/>
                <a:gd name="T91" fmla="*/ 964 h 1386"/>
                <a:gd name="T92" fmla="*/ 225 w 768"/>
                <a:gd name="T93" fmla="*/ 929 h 1386"/>
                <a:gd name="T94" fmla="*/ 312 w 768"/>
                <a:gd name="T95" fmla="*/ 868 h 1386"/>
                <a:gd name="T96" fmla="*/ 334 w 768"/>
                <a:gd name="T97" fmla="*/ 942 h 1386"/>
                <a:gd name="T98" fmla="*/ 283 w 768"/>
                <a:gd name="T99" fmla="*/ 979 h 1386"/>
                <a:gd name="T100" fmla="*/ 227 w 768"/>
                <a:gd name="T101" fmla="*/ 1077 h 1386"/>
                <a:gd name="T102" fmla="*/ 253 w 768"/>
                <a:gd name="T103" fmla="*/ 1179 h 1386"/>
                <a:gd name="T104" fmla="*/ 321 w 768"/>
                <a:gd name="T105" fmla="*/ 1245 h 1386"/>
                <a:gd name="T106" fmla="*/ 332 w 768"/>
                <a:gd name="T107" fmla="*/ 1247 h 1386"/>
                <a:gd name="T108" fmla="*/ 379 w 768"/>
                <a:gd name="T109" fmla="*/ 1228 h 1386"/>
                <a:gd name="T110" fmla="*/ 486 w 768"/>
                <a:gd name="T111" fmla="*/ 1214 h 1386"/>
                <a:gd name="T112" fmla="*/ 523 w 768"/>
                <a:gd name="T113" fmla="*/ 1221 h 1386"/>
                <a:gd name="T114" fmla="*/ 332 w 768"/>
                <a:gd name="T115" fmla="*/ 709 h 1386"/>
                <a:gd name="T116" fmla="*/ 390 w 768"/>
                <a:gd name="T117" fmla="*/ 685 h 1386"/>
                <a:gd name="T118" fmla="*/ 360 w 768"/>
                <a:gd name="T119" fmla="*/ 711 h 1386"/>
                <a:gd name="T120" fmla="*/ 386 w 768"/>
                <a:gd name="T121" fmla="*/ 735 h 1386"/>
                <a:gd name="T122" fmla="*/ 401 w 768"/>
                <a:gd name="T123" fmla="*/ 728 h 13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8"/>
                <a:gd name="T187" fmla="*/ 0 h 1386"/>
                <a:gd name="T188" fmla="*/ 768 w 768"/>
                <a:gd name="T189" fmla="*/ 1386 h 13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8" h="1386">
                  <a:moveTo>
                    <a:pt x="523" y="1221"/>
                  </a:moveTo>
                  <a:lnTo>
                    <a:pt x="519" y="1232"/>
                  </a:lnTo>
                  <a:lnTo>
                    <a:pt x="519" y="1243"/>
                  </a:lnTo>
                  <a:lnTo>
                    <a:pt x="519" y="1254"/>
                  </a:lnTo>
                  <a:lnTo>
                    <a:pt x="521" y="1265"/>
                  </a:lnTo>
                  <a:lnTo>
                    <a:pt x="536" y="1284"/>
                  </a:lnTo>
                  <a:lnTo>
                    <a:pt x="545" y="1295"/>
                  </a:lnTo>
                  <a:lnTo>
                    <a:pt x="536" y="1310"/>
                  </a:lnTo>
                  <a:lnTo>
                    <a:pt x="526" y="1330"/>
                  </a:lnTo>
                  <a:lnTo>
                    <a:pt x="526" y="1336"/>
                  </a:lnTo>
                  <a:lnTo>
                    <a:pt x="528" y="1339"/>
                  </a:lnTo>
                  <a:lnTo>
                    <a:pt x="532" y="1343"/>
                  </a:lnTo>
                  <a:lnTo>
                    <a:pt x="534" y="1345"/>
                  </a:lnTo>
                  <a:lnTo>
                    <a:pt x="541" y="1349"/>
                  </a:lnTo>
                  <a:lnTo>
                    <a:pt x="545" y="1354"/>
                  </a:lnTo>
                  <a:lnTo>
                    <a:pt x="545" y="1367"/>
                  </a:lnTo>
                  <a:lnTo>
                    <a:pt x="547" y="1382"/>
                  </a:lnTo>
                  <a:lnTo>
                    <a:pt x="549" y="1384"/>
                  </a:lnTo>
                  <a:lnTo>
                    <a:pt x="549" y="1386"/>
                  </a:lnTo>
                  <a:lnTo>
                    <a:pt x="558" y="1376"/>
                  </a:lnTo>
                  <a:lnTo>
                    <a:pt x="565" y="1365"/>
                  </a:lnTo>
                  <a:lnTo>
                    <a:pt x="565" y="1358"/>
                  </a:lnTo>
                  <a:lnTo>
                    <a:pt x="560" y="1349"/>
                  </a:lnTo>
                  <a:lnTo>
                    <a:pt x="558" y="1343"/>
                  </a:lnTo>
                  <a:lnTo>
                    <a:pt x="558" y="1336"/>
                  </a:lnTo>
                  <a:lnTo>
                    <a:pt x="560" y="1330"/>
                  </a:lnTo>
                  <a:lnTo>
                    <a:pt x="565" y="1321"/>
                  </a:lnTo>
                  <a:lnTo>
                    <a:pt x="571" y="1313"/>
                  </a:lnTo>
                  <a:lnTo>
                    <a:pt x="573" y="1308"/>
                  </a:lnTo>
                  <a:lnTo>
                    <a:pt x="573" y="1306"/>
                  </a:lnTo>
                  <a:lnTo>
                    <a:pt x="574" y="1304"/>
                  </a:lnTo>
                  <a:lnTo>
                    <a:pt x="576" y="1302"/>
                  </a:lnTo>
                  <a:lnTo>
                    <a:pt x="580" y="1302"/>
                  </a:lnTo>
                  <a:lnTo>
                    <a:pt x="591" y="1312"/>
                  </a:lnTo>
                  <a:lnTo>
                    <a:pt x="598" y="1319"/>
                  </a:lnTo>
                  <a:lnTo>
                    <a:pt x="606" y="1315"/>
                  </a:lnTo>
                  <a:lnTo>
                    <a:pt x="613" y="1310"/>
                  </a:lnTo>
                  <a:lnTo>
                    <a:pt x="621" y="1310"/>
                  </a:lnTo>
                  <a:lnTo>
                    <a:pt x="630" y="1312"/>
                  </a:lnTo>
                  <a:lnTo>
                    <a:pt x="634" y="1304"/>
                  </a:lnTo>
                  <a:lnTo>
                    <a:pt x="637" y="1299"/>
                  </a:lnTo>
                  <a:lnTo>
                    <a:pt x="645" y="1297"/>
                  </a:lnTo>
                  <a:lnTo>
                    <a:pt x="654" y="1299"/>
                  </a:lnTo>
                  <a:lnTo>
                    <a:pt x="658" y="1297"/>
                  </a:lnTo>
                  <a:lnTo>
                    <a:pt x="663" y="1293"/>
                  </a:lnTo>
                  <a:lnTo>
                    <a:pt x="669" y="1286"/>
                  </a:lnTo>
                  <a:lnTo>
                    <a:pt x="676" y="1277"/>
                  </a:lnTo>
                  <a:lnTo>
                    <a:pt x="669" y="1262"/>
                  </a:lnTo>
                  <a:lnTo>
                    <a:pt x="659" y="1249"/>
                  </a:lnTo>
                  <a:lnTo>
                    <a:pt x="661" y="1245"/>
                  </a:lnTo>
                  <a:lnTo>
                    <a:pt x="663" y="1241"/>
                  </a:lnTo>
                  <a:lnTo>
                    <a:pt x="667" y="1240"/>
                  </a:lnTo>
                  <a:lnTo>
                    <a:pt x="671" y="1238"/>
                  </a:lnTo>
                  <a:lnTo>
                    <a:pt x="678" y="1236"/>
                  </a:lnTo>
                  <a:lnTo>
                    <a:pt x="683" y="1234"/>
                  </a:lnTo>
                  <a:lnTo>
                    <a:pt x="689" y="1228"/>
                  </a:lnTo>
                  <a:lnTo>
                    <a:pt x="695" y="1216"/>
                  </a:lnTo>
                  <a:lnTo>
                    <a:pt x="696" y="1208"/>
                  </a:lnTo>
                  <a:lnTo>
                    <a:pt x="695" y="1201"/>
                  </a:lnTo>
                  <a:lnTo>
                    <a:pt x="693" y="1195"/>
                  </a:lnTo>
                  <a:lnTo>
                    <a:pt x="687" y="1190"/>
                  </a:lnTo>
                  <a:lnTo>
                    <a:pt x="680" y="1193"/>
                  </a:lnTo>
                  <a:lnTo>
                    <a:pt x="671" y="1199"/>
                  </a:lnTo>
                  <a:lnTo>
                    <a:pt x="667" y="1197"/>
                  </a:lnTo>
                  <a:lnTo>
                    <a:pt x="663" y="1195"/>
                  </a:lnTo>
                  <a:lnTo>
                    <a:pt x="661" y="1192"/>
                  </a:lnTo>
                  <a:lnTo>
                    <a:pt x="659" y="1184"/>
                  </a:lnTo>
                  <a:lnTo>
                    <a:pt x="656" y="1180"/>
                  </a:lnTo>
                  <a:lnTo>
                    <a:pt x="650" y="1175"/>
                  </a:lnTo>
                  <a:lnTo>
                    <a:pt x="648" y="1169"/>
                  </a:lnTo>
                  <a:lnTo>
                    <a:pt x="648" y="1166"/>
                  </a:lnTo>
                  <a:lnTo>
                    <a:pt x="656" y="1162"/>
                  </a:lnTo>
                  <a:lnTo>
                    <a:pt x="661" y="1160"/>
                  </a:lnTo>
                  <a:lnTo>
                    <a:pt x="671" y="1142"/>
                  </a:lnTo>
                  <a:lnTo>
                    <a:pt x="680" y="1125"/>
                  </a:lnTo>
                  <a:lnTo>
                    <a:pt x="687" y="1125"/>
                  </a:lnTo>
                  <a:lnTo>
                    <a:pt x="695" y="1127"/>
                  </a:lnTo>
                  <a:lnTo>
                    <a:pt x="700" y="1129"/>
                  </a:lnTo>
                  <a:lnTo>
                    <a:pt x="704" y="1132"/>
                  </a:lnTo>
                  <a:lnTo>
                    <a:pt x="706" y="1134"/>
                  </a:lnTo>
                  <a:lnTo>
                    <a:pt x="707" y="1138"/>
                  </a:lnTo>
                  <a:lnTo>
                    <a:pt x="709" y="1143"/>
                  </a:lnTo>
                  <a:lnTo>
                    <a:pt x="713" y="1149"/>
                  </a:lnTo>
                  <a:lnTo>
                    <a:pt x="720" y="1153"/>
                  </a:lnTo>
                  <a:lnTo>
                    <a:pt x="724" y="1156"/>
                  </a:lnTo>
                  <a:lnTo>
                    <a:pt x="728" y="1166"/>
                  </a:lnTo>
                  <a:lnTo>
                    <a:pt x="728" y="1182"/>
                  </a:lnTo>
                  <a:lnTo>
                    <a:pt x="728" y="1186"/>
                  </a:lnTo>
                  <a:lnTo>
                    <a:pt x="732" y="1188"/>
                  </a:lnTo>
                  <a:lnTo>
                    <a:pt x="735" y="1186"/>
                  </a:lnTo>
                  <a:lnTo>
                    <a:pt x="741" y="1182"/>
                  </a:lnTo>
                  <a:lnTo>
                    <a:pt x="752" y="1179"/>
                  </a:lnTo>
                  <a:lnTo>
                    <a:pt x="768" y="1171"/>
                  </a:lnTo>
                  <a:lnTo>
                    <a:pt x="765" y="1158"/>
                  </a:lnTo>
                  <a:lnTo>
                    <a:pt x="759" y="1143"/>
                  </a:lnTo>
                  <a:lnTo>
                    <a:pt x="763" y="1121"/>
                  </a:lnTo>
                  <a:lnTo>
                    <a:pt x="767" y="1097"/>
                  </a:lnTo>
                  <a:lnTo>
                    <a:pt x="767" y="1086"/>
                  </a:lnTo>
                  <a:lnTo>
                    <a:pt x="767" y="1077"/>
                  </a:lnTo>
                  <a:lnTo>
                    <a:pt x="765" y="1068"/>
                  </a:lnTo>
                  <a:lnTo>
                    <a:pt x="763" y="1060"/>
                  </a:lnTo>
                  <a:lnTo>
                    <a:pt x="761" y="1055"/>
                  </a:lnTo>
                  <a:lnTo>
                    <a:pt x="759" y="1042"/>
                  </a:lnTo>
                  <a:lnTo>
                    <a:pt x="757" y="1034"/>
                  </a:lnTo>
                  <a:lnTo>
                    <a:pt x="752" y="1027"/>
                  </a:lnTo>
                  <a:lnTo>
                    <a:pt x="746" y="1018"/>
                  </a:lnTo>
                  <a:lnTo>
                    <a:pt x="739" y="1007"/>
                  </a:lnTo>
                  <a:lnTo>
                    <a:pt x="739" y="999"/>
                  </a:lnTo>
                  <a:lnTo>
                    <a:pt x="737" y="990"/>
                  </a:lnTo>
                  <a:lnTo>
                    <a:pt x="732" y="985"/>
                  </a:lnTo>
                  <a:lnTo>
                    <a:pt x="726" y="979"/>
                  </a:lnTo>
                  <a:lnTo>
                    <a:pt x="722" y="975"/>
                  </a:lnTo>
                  <a:lnTo>
                    <a:pt x="719" y="973"/>
                  </a:lnTo>
                  <a:lnTo>
                    <a:pt x="717" y="970"/>
                  </a:lnTo>
                  <a:lnTo>
                    <a:pt x="717" y="966"/>
                  </a:lnTo>
                  <a:lnTo>
                    <a:pt x="717" y="961"/>
                  </a:lnTo>
                  <a:lnTo>
                    <a:pt x="717" y="953"/>
                  </a:lnTo>
                  <a:lnTo>
                    <a:pt x="713" y="949"/>
                  </a:lnTo>
                  <a:lnTo>
                    <a:pt x="704" y="946"/>
                  </a:lnTo>
                  <a:lnTo>
                    <a:pt x="700" y="942"/>
                  </a:lnTo>
                  <a:lnTo>
                    <a:pt x="695" y="937"/>
                  </a:lnTo>
                  <a:lnTo>
                    <a:pt x="689" y="929"/>
                  </a:lnTo>
                  <a:lnTo>
                    <a:pt x="683" y="918"/>
                  </a:lnTo>
                  <a:lnTo>
                    <a:pt x="674" y="900"/>
                  </a:lnTo>
                  <a:lnTo>
                    <a:pt x="667" y="887"/>
                  </a:lnTo>
                  <a:lnTo>
                    <a:pt x="663" y="876"/>
                  </a:lnTo>
                  <a:lnTo>
                    <a:pt x="663" y="866"/>
                  </a:lnTo>
                  <a:lnTo>
                    <a:pt x="665" y="861"/>
                  </a:lnTo>
                  <a:lnTo>
                    <a:pt x="669" y="855"/>
                  </a:lnTo>
                  <a:lnTo>
                    <a:pt x="661" y="850"/>
                  </a:lnTo>
                  <a:lnTo>
                    <a:pt x="658" y="844"/>
                  </a:lnTo>
                  <a:lnTo>
                    <a:pt x="659" y="835"/>
                  </a:lnTo>
                  <a:lnTo>
                    <a:pt x="663" y="828"/>
                  </a:lnTo>
                  <a:lnTo>
                    <a:pt x="661" y="820"/>
                  </a:lnTo>
                  <a:lnTo>
                    <a:pt x="661" y="815"/>
                  </a:lnTo>
                  <a:lnTo>
                    <a:pt x="661" y="809"/>
                  </a:lnTo>
                  <a:lnTo>
                    <a:pt x="663" y="800"/>
                  </a:lnTo>
                  <a:lnTo>
                    <a:pt x="656" y="791"/>
                  </a:lnTo>
                  <a:lnTo>
                    <a:pt x="647" y="778"/>
                  </a:lnTo>
                  <a:lnTo>
                    <a:pt x="634" y="776"/>
                  </a:lnTo>
                  <a:lnTo>
                    <a:pt x="628" y="772"/>
                  </a:lnTo>
                  <a:lnTo>
                    <a:pt x="623" y="765"/>
                  </a:lnTo>
                  <a:lnTo>
                    <a:pt x="617" y="746"/>
                  </a:lnTo>
                  <a:lnTo>
                    <a:pt x="604" y="744"/>
                  </a:lnTo>
                  <a:lnTo>
                    <a:pt x="597" y="743"/>
                  </a:lnTo>
                  <a:lnTo>
                    <a:pt x="600" y="737"/>
                  </a:lnTo>
                  <a:lnTo>
                    <a:pt x="602" y="731"/>
                  </a:lnTo>
                  <a:lnTo>
                    <a:pt x="602" y="726"/>
                  </a:lnTo>
                  <a:lnTo>
                    <a:pt x="600" y="720"/>
                  </a:lnTo>
                  <a:lnTo>
                    <a:pt x="597" y="717"/>
                  </a:lnTo>
                  <a:lnTo>
                    <a:pt x="591" y="713"/>
                  </a:lnTo>
                  <a:lnTo>
                    <a:pt x="584" y="713"/>
                  </a:lnTo>
                  <a:lnTo>
                    <a:pt x="576" y="713"/>
                  </a:lnTo>
                  <a:lnTo>
                    <a:pt x="569" y="711"/>
                  </a:lnTo>
                  <a:lnTo>
                    <a:pt x="562" y="711"/>
                  </a:lnTo>
                  <a:lnTo>
                    <a:pt x="556" y="711"/>
                  </a:lnTo>
                  <a:lnTo>
                    <a:pt x="549" y="711"/>
                  </a:lnTo>
                  <a:lnTo>
                    <a:pt x="545" y="707"/>
                  </a:lnTo>
                  <a:lnTo>
                    <a:pt x="541" y="704"/>
                  </a:lnTo>
                  <a:lnTo>
                    <a:pt x="538" y="702"/>
                  </a:lnTo>
                  <a:lnTo>
                    <a:pt x="536" y="700"/>
                  </a:lnTo>
                  <a:lnTo>
                    <a:pt x="530" y="698"/>
                  </a:lnTo>
                  <a:lnTo>
                    <a:pt x="525" y="698"/>
                  </a:lnTo>
                  <a:lnTo>
                    <a:pt x="517" y="693"/>
                  </a:lnTo>
                  <a:lnTo>
                    <a:pt x="512" y="691"/>
                  </a:lnTo>
                  <a:lnTo>
                    <a:pt x="508" y="693"/>
                  </a:lnTo>
                  <a:lnTo>
                    <a:pt x="502" y="694"/>
                  </a:lnTo>
                  <a:lnTo>
                    <a:pt x="495" y="691"/>
                  </a:lnTo>
                  <a:lnTo>
                    <a:pt x="488" y="691"/>
                  </a:lnTo>
                  <a:lnTo>
                    <a:pt x="484" y="693"/>
                  </a:lnTo>
                  <a:lnTo>
                    <a:pt x="480" y="694"/>
                  </a:lnTo>
                  <a:lnTo>
                    <a:pt x="473" y="700"/>
                  </a:lnTo>
                  <a:lnTo>
                    <a:pt x="464" y="709"/>
                  </a:lnTo>
                  <a:lnTo>
                    <a:pt x="458" y="709"/>
                  </a:lnTo>
                  <a:lnTo>
                    <a:pt x="451" y="709"/>
                  </a:lnTo>
                  <a:lnTo>
                    <a:pt x="449" y="709"/>
                  </a:lnTo>
                  <a:lnTo>
                    <a:pt x="447" y="711"/>
                  </a:lnTo>
                  <a:lnTo>
                    <a:pt x="445" y="711"/>
                  </a:lnTo>
                  <a:lnTo>
                    <a:pt x="443" y="713"/>
                  </a:lnTo>
                  <a:lnTo>
                    <a:pt x="454" y="728"/>
                  </a:lnTo>
                  <a:lnTo>
                    <a:pt x="469" y="750"/>
                  </a:lnTo>
                  <a:lnTo>
                    <a:pt x="469" y="755"/>
                  </a:lnTo>
                  <a:lnTo>
                    <a:pt x="469" y="761"/>
                  </a:lnTo>
                  <a:lnTo>
                    <a:pt x="467" y="763"/>
                  </a:lnTo>
                  <a:lnTo>
                    <a:pt x="465" y="767"/>
                  </a:lnTo>
                  <a:lnTo>
                    <a:pt x="462" y="767"/>
                  </a:lnTo>
                  <a:lnTo>
                    <a:pt x="460" y="767"/>
                  </a:lnTo>
                  <a:lnTo>
                    <a:pt x="458" y="763"/>
                  </a:lnTo>
                  <a:lnTo>
                    <a:pt x="458" y="759"/>
                  </a:lnTo>
                  <a:lnTo>
                    <a:pt x="458" y="748"/>
                  </a:lnTo>
                  <a:lnTo>
                    <a:pt x="456" y="737"/>
                  </a:lnTo>
                  <a:lnTo>
                    <a:pt x="453" y="737"/>
                  </a:lnTo>
                  <a:lnTo>
                    <a:pt x="451" y="737"/>
                  </a:lnTo>
                  <a:lnTo>
                    <a:pt x="451" y="739"/>
                  </a:lnTo>
                  <a:lnTo>
                    <a:pt x="449" y="743"/>
                  </a:lnTo>
                  <a:lnTo>
                    <a:pt x="449" y="750"/>
                  </a:lnTo>
                  <a:lnTo>
                    <a:pt x="449" y="763"/>
                  </a:lnTo>
                  <a:lnTo>
                    <a:pt x="445" y="768"/>
                  </a:lnTo>
                  <a:lnTo>
                    <a:pt x="443" y="774"/>
                  </a:lnTo>
                  <a:lnTo>
                    <a:pt x="443" y="779"/>
                  </a:lnTo>
                  <a:lnTo>
                    <a:pt x="445" y="785"/>
                  </a:lnTo>
                  <a:lnTo>
                    <a:pt x="436" y="792"/>
                  </a:lnTo>
                  <a:lnTo>
                    <a:pt x="429" y="798"/>
                  </a:lnTo>
                  <a:lnTo>
                    <a:pt x="419" y="800"/>
                  </a:lnTo>
                  <a:lnTo>
                    <a:pt x="416" y="800"/>
                  </a:lnTo>
                  <a:lnTo>
                    <a:pt x="417" y="791"/>
                  </a:lnTo>
                  <a:lnTo>
                    <a:pt x="421" y="783"/>
                  </a:lnTo>
                  <a:lnTo>
                    <a:pt x="419" y="778"/>
                  </a:lnTo>
                  <a:lnTo>
                    <a:pt x="417" y="774"/>
                  </a:lnTo>
                  <a:lnTo>
                    <a:pt x="419" y="768"/>
                  </a:lnTo>
                  <a:lnTo>
                    <a:pt x="421" y="763"/>
                  </a:lnTo>
                  <a:lnTo>
                    <a:pt x="412" y="763"/>
                  </a:lnTo>
                  <a:lnTo>
                    <a:pt x="397" y="767"/>
                  </a:lnTo>
                  <a:lnTo>
                    <a:pt x="395" y="761"/>
                  </a:lnTo>
                  <a:lnTo>
                    <a:pt x="397" y="757"/>
                  </a:lnTo>
                  <a:lnTo>
                    <a:pt x="403" y="750"/>
                  </a:lnTo>
                  <a:lnTo>
                    <a:pt x="406" y="741"/>
                  </a:lnTo>
                  <a:lnTo>
                    <a:pt x="403" y="741"/>
                  </a:lnTo>
                  <a:lnTo>
                    <a:pt x="399" y="741"/>
                  </a:lnTo>
                  <a:lnTo>
                    <a:pt x="395" y="743"/>
                  </a:lnTo>
                  <a:lnTo>
                    <a:pt x="390" y="744"/>
                  </a:lnTo>
                  <a:lnTo>
                    <a:pt x="386" y="748"/>
                  </a:lnTo>
                  <a:lnTo>
                    <a:pt x="384" y="752"/>
                  </a:lnTo>
                  <a:lnTo>
                    <a:pt x="382" y="755"/>
                  </a:lnTo>
                  <a:lnTo>
                    <a:pt x="382" y="759"/>
                  </a:lnTo>
                  <a:lnTo>
                    <a:pt x="390" y="772"/>
                  </a:lnTo>
                  <a:lnTo>
                    <a:pt x="395" y="785"/>
                  </a:lnTo>
                  <a:lnTo>
                    <a:pt x="395" y="789"/>
                  </a:lnTo>
                  <a:lnTo>
                    <a:pt x="393" y="791"/>
                  </a:lnTo>
                  <a:lnTo>
                    <a:pt x="390" y="792"/>
                  </a:lnTo>
                  <a:lnTo>
                    <a:pt x="388" y="792"/>
                  </a:lnTo>
                  <a:lnTo>
                    <a:pt x="381" y="794"/>
                  </a:lnTo>
                  <a:lnTo>
                    <a:pt x="377" y="792"/>
                  </a:lnTo>
                  <a:lnTo>
                    <a:pt x="375" y="783"/>
                  </a:lnTo>
                  <a:lnTo>
                    <a:pt x="375" y="774"/>
                  </a:lnTo>
                  <a:lnTo>
                    <a:pt x="369" y="770"/>
                  </a:lnTo>
                  <a:lnTo>
                    <a:pt x="364" y="767"/>
                  </a:lnTo>
                  <a:lnTo>
                    <a:pt x="360" y="763"/>
                  </a:lnTo>
                  <a:lnTo>
                    <a:pt x="358" y="759"/>
                  </a:lnTo>
                  <a:lnTo>
                    <a:pt x="357" y="754"/>
                  </a:lnTo>
                  <a:lnTo>
                    <a:pt x="357" y="744"/>
                  </a:lnTo>
                  <a:lnTo>
                    <a:pt x="353" y="743"/>
                  </a:lnTo>
                  <a:lnTo>
                    <a:pt x="351" y="743"/>
                  </a:lnTo>
                  <a:lnTo>
                    <a:pt x="347" y="743"/>
                  </a:lnTo>
                  <a:lnTo>
                    <a:pt x="345" y="744"/>
                  </a:lnTo>
                  <a:lnTo>
                    <a:pt x="342" y="748"/>
                  </a:lnTo>
                  <a:lnTo>
                    <a:pt x="340" y="752"/>
                  </a:lnTo>
                  <a:lnTo>
                    <a:pt x="327" y="755"/>
                  </a:lnTo>
                  <a:lnTo>
                    <a:pt x="318" y="763"/>
                  </a:lnTo>
                  <a:lnTo>
                    <a:pt x="314" y="765"/>
                  </a:lnTo>
                  <a:lnTo>
                    <a:pt x="310" y="767"/>
                  </a:lnTo>
                  <a:lnTo>
                    <a:pt x="305" y="765"/>
                  </a:lnTo>
                  <a:lnTo>
                    <a:pt x="297" y="763"/>
                  </a:lnTo>
                  <a:lnTo>
                    <a:pt x="286" y="767"/>
                  </a:lnTo>
                  <a:lnTo>
                    <a:pt x="275" y="768"/>
                  </a:lnTo>
                  <a:lnTo>
                    <a:pt x="273" y="755"/>
                  </a:lnTo>
                  <a:lnTo>
                    <a:pt x="273" y="744"/>
                  </a:lnTo>
                  <a:lnTo>
                    <a:pt x="273" y="737"/>
                  </a:lnTo>
                  <a:lnTo>
                    <a:pt x="277" y="731"/>
                  </a:lnTo>
                  <a:lnTo>
                    <a:pt x="286" y="720"/>
                  </a:lnTo>
                  <a:lnTo>
                    <a:pt x="297" y="707"/>
                  </a:lnTo>
                  <a:lnTo>
                    <a:pt x="297" y="691"/>
                  </a:lnTo>
                  <a:lnTo>
                    <a:pt x="294" y="676"/>
                  </a:lnTo>
                  <a:lnTo>
                    <a:pt x="297" y="670"/>
                  </a:lnTo>
                  <a:lnTo>
                    <a:pt x="303" y="661"/>
                  </a:lnTo>
                  <a:lnTo>
                    <a:pt x="305" y="652"/>
                  </a:lnTo>
                  <a:lnTo>
                    <a:pt x="307" y="643"/>
                  </a:lnTo>
                  <a:lnTo>
                    <a:pt x="310" y="633"/>
                  </a:lnTo>
                  <a:lnTo>
                    <a:pt x="316" y="626"/>
                  </a:lnTo>
                  <a:lnTo>
                    <a:pt x="320" y="611"/>
                  </a:lnTo>
                  <a:lnTo>
                    <a:pt x="321" y="591"/>
                  </a:lnTo>
                  <a:lnTo>
                    <a:pt x="327" y="585"/>
                  </a:lnTo>
                  <a:lnTo>
                    <a:pt x="329" y="580"/>
                  </a:lnTo>
                  <a:lnTo>
                    <a:pt x="327" y="578"/>
                  </a:lnTo>
                  <a:lnTo>
                    <a:pt x="327" y="576"/>
                  </a:lnTo>
                  <a:lnTo>
                    <a:pt x="323" y="574"/>
                  </a:lnTo>
                  <a:lnTo>
                    <a:pt x="320" y="573"/>
                  </a:lnTo>
                  <a:lnTo>
                    <a:pt x="318" y="567"/>
                  </a:lnTo>
                  <a:lnTo>
                    <a:pt x="316" y="558"/>
                  </a:lnTo>
                  <a:lnTo>
                    <a:pt x="316" y="554"/>
                  </a:lnTo>
                  <a:lnTo>
                    <a:pt x="318" y="548"/>
                  </a:lnTo>
                  <a:lnTo>
                    <a:pt x="320" y="543"/>
                  </a:lnTo>
                  <a:lnTo>
                    <a:pt x="323" y="539"/>
                  </a:lnTo>
                  <a:lnTo>
                    <a:pt x="323" y="534"/>
                  </a:lnTo>
                  <a:lnTo>
                    <a:pt x="320" y="530"/>
                  </a:lnTo>
                  <a:lnTo>
                    <a:pt x="320" y="526"/>
                  </a:lnTo>
                  <a:lnTo>
                    <a:pt x="320" y="523"/>
                  </a:lnTo>
                  <a:lnTo>
                    <a:pt x="320" y="517"/>
                  </a:lnTo>
                  <a:lnTo>
                    <a:pt x="323" y="512"/>
                  </a:lnTo>
                  <a:lnTo>
                    <a:pt x="323" y="508"/>
                  </a:lnTo>
                  <a:lnTo>
                    <a:pt x="323" y="500"/>
                  </a:lnTo>
                  <a:lnTo>
                    <a:pt x="323" y="497"/>
                  </a:lnTo>
                  <a:lnTo>
                    <a:pt x="323" y="493"/>
                  </a:lnTo>
                  <a:lnTo>
                    <a:pt x="325" y="489"/>
                  </a:lnTo>
                  <a:lnTo>
                    <a:pt x="327" y="488"/>
                  </a:lnTo>
                  <a:lnTo>
                    <a:pt x="329" y="480"/>
                  </a:lnTo>
                  <a:lnTo>
                    <a:pt x="329" y="476"/>
                  </a:lnTo>
                  <a:lnTo>
                    <a:pt x="331" y="471"/>
                  </a:lnTo>
                  <a:lnTo>
                    <a:pt x="338" y="462"/>
                  </a:lnTo>
                  <a:lnTo>
                    <a:pt x="338" y="456"/>
                  </a:lnTo>
                  <a:lnTo>
                    <a:pt x="338" y="447"/>
                  </a:lnTo>
                  <a:lnTo>
                    <a:pt x="338" y="438"/>
                  </a:lnTo>
                  <a:lnTo>
                    <a:pt x="344" y="428"/>
                  </a:lnTo>
                  <a:lnTo>
                    <a:pt x="345" y="419"/>
                  </a:lnTo>
                  <a:lnTo>
                    <a:pt x="344" y="406"/>
                  </a:lnTo>
                  <a:lnTo>
                    <a:pt x="340" y="393"/>
                  </a:lnTo>
                  <a:lnTo>
                    <a:pt x="338" y="380"/>
                  </a:lnTo>
                  <a:lnTo>
                    <a:pt x="344" y="366"/>
                  </a:lnTo>
                  <a:lnTo>
                    <a:pt x="355" y="351"/>
                  </a:lnTo>
                  <a:lnTo>
                    <a:pt x="351" y="327"/>
                  </a:lnTo>
                  <a:lnTo>
                    <a:pt x="347" y="301"/>
                  </a:lnTo>
                  <a:lnTo>
                    <a:pt x="349" y="290"/>
                  </a:lnTo>
                  <a:lnTo>
                    <a:pt x="353" y="279"/>
                  </a:lnTo>
                  <a:lnTo>
                    <a:pt x="358" y="268"/>
                  </a:lnTo>
                  <a:lnTo>
                    <a:pt x="364" y="257"/>
                  </a:lnTo>
                  <a:lnTo>
                    <a:pt x="369" y="253"/>
                  </a:lnTo>
                  <a:lnTo>
                    <a:pt x="377" y="247"/>
                  </a:lnTo>
                  <a:lnTo>
                    <a:pt x="381" y="240"/>
                  </a:lnTo>
                  <a:lnTo>
                    <a:pt x="382" y="233"/>
                  </a:lnTo>
                  <a:lnTo>
                    <a:pt x="390" y="225"/>
                  </a:lnTo>
                  <a:lnTo>
                    <a:pt x="397" y="218"/>
                  </a:lnTo>
                  <a:lnTo>
                    <a:pt x="434" y="186"/>
                  </a:lnTo>
                  <a:lnTo>
                    <a:pt x="449" y="172"/>
                  </a:lnTo>
                  <a:lnTo>
                    <a:pt x="453" y="173"/>
                  </a:lnTo>
                  <a:lnTo>
                    <a:pt x="456" y="177"/>
                  </a:lnTo>
                  <a:lnTo>
                    <a:pt x="458" y="181"/>
                  </a:lnTo>
                  <a:lnTo>
                    <a:pt x="460" y="184"/>
                  </a:lnTo>
                  <a:lnTo>
                    <a:pt x="464" y="190"/>
                  </a:lnTo>
                  <a:lnTo>
                    <a:pt x="465" y="192"/>
                  </a:lnTo>
                  <a:lnTo>
                    <a:pt x="469" y="194"/>
                  </a:lnTo>
                  <a:lnTo>
                    <a:pt x="475" y="192"/>
                  </a:lnTo>
                  <a:lnTo>
                    <a:pt x="478" y="190"/>
                  </a:lnTo>
                  <a:lnTo>
                    <a:pt x="478" y="186"/>
                  </a:lnTo>
                  <a:lnTo>
                    <a:pt x="478" y="183"/>
                  </a:lnTo>
                  <a:lnTo>
                    <a:pt x="477" y="179"/>
                  </a:lnTo>
                  <a:lnTo>
                    <a:pt x="473" y="172"/>
                  </a:lnTo>
                  <a:lnTo>
                    <a:pt x="471" y="164"/>
                  </a:lnTo>
                  <a:lnTo>
                    <a:pt x="473" y="159"/>
                  </a:lnTo>
                  <a:lnTo>
                    <a:pt x="477" y="155"/>
                  </a:lnTo>
                  <a:lnTo>
                    <a:pt x="482" y="151"/>
                  </a:lnTo>
                  <a:lnTo>
                    <a:pt x="490" y="146"/>
                  </a:lnTo>
                  <a:lnTo>
                    <a:pt x="486" y="135"/>
                  </a:lnTo>
                  <a:lnTo>
                    <a:pt x="480" y="127"/>
                  </a:lnTo>
                  <a:lnTo>
                    <a:pt x="477" y="122"/>
                  </a:lnTo>
                  <a:lnTo>
                    <a:pt x="471" y="118"/>
                  </a:lnTo>
                  <a:lnTo>
                    <a:pt x="462" y="114"/>
                  </a:lnTo>
                  <a:lnTo>
                    <a:pt x="453" y="112"/>
                  </a:lnTo>
                  <a:lnTo>
                    <a:pt x="438" y="111"/>
                  </a:lnTo>
                  <a:lnTo>
                    <a:pt x="427" y="112"/>
                  </a:lnTo>
                  <a:lnTo>
                    <a:pt x="417" y="114"/>
                  </a:lnTo>
                  <a:lnTo>
                    <a:pt x="412" y="118"/>
                  </a:lnTo>
                  <a:lnTo>
                    <a:pt x="406" y="120"/>
                  </a:lnTo>
                  <a:lnTo>
                    <a:pt x="403" y="122"/>
                  </a:lnTo>
                  <a:lnTo>
                    <a:pt x="399" y="123"/>
                  </a:lnTo>
                  <a:lnTo>
                    <a:pt x="395" y="122"/>
                  </a:lnTo>
                  <a:lnTo>
                    <a:pt x="388" y="116"/>
                  </a:lnTo>
                  <a:lnTo>
                    <a:pt x="386" y="109"/>
                  </a:lnTo>
                  <a:lnTo>
                    <a:pt x="386" y="101"/>
                  </a:lnTo>
                  <a:lnTo>
                    <a:pt x="388" y="94"/>
                  </a:lnTo>
                  <a:lnTo>
                    <a:pt x="392" y="77"/>
                  </a:lnTo>
                  <a:lnTo>
                    <a:pt x="393" y="55"/>
                  </a:lnTo>
                  <a:lnTo>
                    <a:pt x="393" y="50"/>
                  </a:lnTo>
                  <a:lnTo>
                    <a:pt x="392" y="44"/>
                  </a:lnTo>
                  <a:lnTo>
                    <a:pt x="388" y="37"/>
                  </a:lnTo>
                  <a:lnTo>
                    <a:pt x="384" y="31"/>
                  </a:lnTo>
                  <a:lnTo>
                    <a:pt x="371" y="20"/>
                  </a:lnTo>
                  <a:lnTo>
                    <a:pt x="357" y="13"/>
                  </a:lnTo>
                  <a:lnTo>
                    <a:pt x="342" y="5"/>
                  </a:lnTo>
                  <a:lnTo>
                    <a:pt x="327" y="0"/>
                  </a:lnTo>
                  <a:lnTo>
                    <a:pt x="314" y="0"/>
                  </a:lnTo>
                  <a:lnTo>
                    <a:pt x="305" y="0"/>
                  </a:lnTo>
                  <a:lnTo>
                    <a:pt x="297" y="11"/>
                  </a:lnTo>
                  <a:lnTo>
                    <a:pt x="288" y="22"/>
                  </a:lnTo>
                  <a:lnTo>
                    <a:pt x="284" y="27"/>
                  </a:lnTo>
                  <a:lnTo>
                    <a:pt x="279" y="31"/>
                  </a:lnTo>
                  <a:lnTo>
                    <a:pt x="275" y="33"/>
                  </a:lnTo>
                  <a:lnTo>
                    <a:pt x="272" y="33"/>
                  </a:lnTo>
                  <a:lnTo>
                    <a:pt x="277" y="38"/>
                  </a:lnTo>
                  <a:lnTo>
                    <a:pt x="281" y="44"/>
                  </a:lnTo>
                  <a:lnTo>
                    <a:pt x="283" y="46"/>
                  </a:lnTo>
                  <a:lnTo>
                    <a:pt x="283" y="48"/>
                  </a:lnTo>
                  <a:lnTo>
                    <a:pt x="283" y="51"/>
                  </a:lnTo>
                  <a:lnTo>
                    <a:pt x="281" y="53"/>
                  </a:lnTo>
                  <a:lnTo>
                    <a:pt x="275" y="57"/>
                  </a:lnTo>
                  <a:lnTo>
                    <a:pt x="270" y="59"/>
                  </a:lnTo>
                  <a:lnTo>
                    <a:pt x="266" y="57"/>
                  </a:lnTo>
                  <a:lnTo>
                    <a:pt x="262" y="53"/>
                  </a:lnTo>
                  <a:lnTo>
                    <a:pt x="257" y="46"/>
                  </a:lnTo>
                  <a:lnTo>
                    <a:pt x="253" y="42"/>
                  </a:lnTo>
                  <a:lnTo>
                    <a:pt x="249" y="48"/>
                  </a:lnTo>
                  <a:lnTo>
                    <a:pt x="249" y="53"/>
                  </a:lnTo>
                  <a:lnTo>
                    <a:pt x="240" y="51"/>
                  </a:lnTo>
                  <a:lnTo>
                    <a:pt x="229" y="51"/>
                  </a:lnTo>
                  <a:lnTo>
                    <a:pt x="223" y="55"/>
                  </a:lnTo>
                  <a:lnTo>
                    <a:pt x="222" y="61"/>
                  </a:lnTo>
                  <a:lnTo>
                    <a:pt x="222" y="64"/>
                  </a:lnTo>
                  <a:lnTo>
                    <a:pt x="222" y="70"/>
                  </a:lnTo>
                  <a:lnTo>
                    <a:pt x="223" y="74"/>
                  </a:lnTo>
                  <a:lnTo>
                    <a:pt x="223" y="79"/>
                  </a:lnTo>
                  <a:lnTo>
                    <a:pt x="222" y="85"/>
                  </a:lnTo>
                  <a:lnTo>
                    <a:pt x="218" y="90"/>
                  </a:lnTo>
                  <a:lnTo>
                    <a:pt x="194" y="90"/>
                  </a:lnTo>
                  <a:lnTo>
                    <a:pt x="166" y="88"/>
                  </a:lnTo>
                  <a:lnTo>
                    <a:pt x="151" y="87"/>
                  </a:lnTo>
                  <a:lnTo>
                    <a:pt x="140" y="87"/>
                  </a:lnTo>
                  <a:lnTo>
                    <a:pt x="137" y="87"/>
                  </a:lnTo>
                  <a:lnTo>
                    <a:pt x="133" y="88"/>
                  </a:lnTo>
                  <a:lnTo>
                    <a:pt x="131" y="90"/>
                  </a:lnTo>
                  <a:lnTo>
                    <a:pt x="131" y="94"/>
                  </a:lnTo>
                  <a:lnTo>
                    <a:pt x="133" y="109"/>
                  </a:lnTo>
                  <a:lnTo>
                    <a:pt x="137" y="129"/>
                  </a:lnTo>
                  <a:lnTo>
                    <a:pt x="140" y="146"/>
                  </a:lnTo>
                  <a:lnTo>
                    <a:pt x="140" y="155"/>
                  </a:lnTo>
                  <a:lnTo>
                    <a:pt x="137" y="183"/>
                  </a:lnTo>
                  <a:lnTo>
                    <a:pt x="127" y="208"/>
                  </a:lnTo>
                  <a:lnTo>
                    <a:pt x="124" y="221"/>
                  </a:lnTo>
                  <a:lnTo>
                    <a:pt x="120" y="233"/>
                  </a:lnTo>
                  <a:lnTo>
                    <a:pt x="120" y="244"/>
                  </a:lnTo>
                  <a:lnTo>
                    <a:pt x="120" y="251"/>
                  </a:lnTo>
                  <a:lnTo>
                    <a:pt x="126" y="260"/>
                  </a:lnTo>
                  <a:lnTo>
                    <a:pt x="131" y="266"/>
                  </a:lnTo>
                  <a:lnTo>
                    <a:pt x="137" y="269"/>
                  </a:lnTo>
                  <a:lnTo>
                    <a:pt x="144" y="273"/>
                  </a:lnTo>
                  <a:lnTo>
                    <a:pt x="148" y="286"/>
                  </a:lnTo>
                  <a:lnTo>
                    <a:pt x="150" y="299"/>
                  </a:lnTo>
                  <a:lnTo>
                    <a:pt x="161" y="318"/>
                  </a:lnTo>
                  <a:lnTo>
                    <a:pt x="172" y="329"/>
                  </a:lnTo>
                  <a:lnTo>
                    <a:pt x="177" y="334"/>
                  </a:lnTo>
                  <a:lnTo>
                    <a:pt x="181" y="338"/>
                  </a:lnTo>
                  <a:lnTo>
                    <a:pt x="183" y="345"/>
                  </a:lnTo>
                  <a:lnTo>
                    <a:pt x="185" y="351"/>
                  </a:lnTo>
                  <a:lnTo>
                    <a:pt x="183" y="354"/>
                  </a:lnTo>
                  <a:lnTo>
                    <a:pt x="179" y="356"/>
                  </a:lnTo>
                  <a:lnTo>
                    <a:pt x="174" y="354"/>
                  </a:lnTo>
                  <a:lnTo>
                    <a:pt x="168" y="353"/>
                  </a:lnTo>
                  <a:lnTo>
                    <a:pt x="161" y="356"/>
                  </a:lnTo>
                  <a:lnTo>
                    <a:pt x="157" y="360"/>
                  </a:lnTo>
                  <a:lnTo>
                    <a:pt x="155" y="366"/>
                  </a:lnTo>
                  <a:lnTo>
                    <a:pt x="153" y="371"/>
                  </a:lnTo>
                  <a:lnTo>
                    <a:pt x="153" y="377"/>
                  </a:lnTo>
                  <a:lnTo>
                    <a:pt x="151" y="384"/>
                  </a:lnTo>
                  <a:lnTo>
                    <a:pt x="148" y="393"/>
                  </a:lnTo>
                  <a:lnTo>
                    <a:pt x="142" y="401"/>
                  </a:lnTo>
                  <a:lnTo>
                    <a:pt x="135" y="408"/>
                  </a:lnTo>
                  <a:lnTo>
                    <a:pt x="129" y="412"/>
                  </a:lnTo>
                  <a:lnTo>
                    <a:pt x="124" y="414"/>
                  </a:lnTo>
                  <a:lnTo>
                    <a:pt x="116" y="415"/>
                  </a:lnTo>
                  <a:lnTo>
                    <a:pt x="107" y="417"/>
                  </a:lnTo>
                  <a:lnTo>
                    <a:pt x="100" y="421"/>
                  </a:lnTo>
                  <a:lnTo>
                    <a:pt x="98" y="434"/>
                  </a:lnTo>
                  <a:lnTo>
                    <a:pt x="102" y="454"/>
                  </a:lnTo>
                  <a:lnTo>
                    <a:pt x="92" y="456"/>
                  </a:lnTo>
                  <a:lnTo>
                    <a:pt x="85" y="454"/>
                  </a:lnTo>
                  <a:lnTo>
                    <a:pt x="78" y="452"/>
                  </a:lnTo>
                  <a:lnTo>
                    <a:pt x="68" y="452"/>
                  </a:lnTo>
                  <a:lnTo>
                    <a:pt x="63" y="460"/>
                  </a:lnTo>
                  <a:lnTo>
                    <a:pt x="57" y="469"/>
                  </a:lnTo>
                  <a:lnTo>
                    <a:pt x="50" y="467"/>
                  </a:lnTo>
                  <a:lnTo>
                    <a:pt x="41" y="463"/>
                  </a:lnTo>
                  <a:lnTo>
                    <a:pt x="37" y="471"/>
                  </a:lnTo>
                  <a:lnTo>
                    <a:pt x="31" y="478"/>
                  </a:lnTo>
                  <a:lnTo>
                    <a:pt x="26" y="478"/>
                  </a:lnTo>
                  <a:lnTo>
                    <a:pt x="20" y="476"/>
                  </a:lnTo>
                  <a:lnTo>
                    <a:pt x="17" y="476"/>
                  </a:lnTo>
                  <a:lnTo>
                    <a:pt x="15" y="476"/>
                  </a:lnTo>
                  <a:lnTo>
                    <a:pt x="11" y="478"/>
                  </a:lnTo>
                  <a:lnTo>
                    <a:pt x="9" y="482"/>
                  </a:lnTo>
                  <a:lnTo>
                    <a:pt x="6" y="488"/>
                  </a:lnTo>
                  <a:lnTo>
                    <a:pt x="6" y="493"/>
                  </a:lnTo>
                  <a:lnTo>
                    <a:pt x="6" y="497"/>
                  </a:lnTo>
                  <a:lnTo>
                    <a:pt x="7" y="499"/>
                  </a:lnTo>
                  <a:lnTo>
                    <a:pt x="13" y="502"/>
                  </a:lnTo>
                  <a:lnTo>
                    <a:pt x="15" y="508"/>
                  </a:lnTo>
                  <a:lnTo>
                    <a:pt x="7" y="515"/>
                  </a:lnTo>
                  <a:lnTo>
                    <a:pt x="2" y="521"/>
                  </a:lnTo>
                  <a:lnTo>
                    <a:pt x="4" y="534"/>
                  </a:lnTo>
                  <a:lnTo>
                    <a:pt x="7" y="545"/>
                  </a:lnTo>
                  <a:lnTo>
                    <a:pt x="6" y="556"/>
                  </a:lnTo>
                  <a:lnTo>
                    <a:pt x="4" y="565"/>
                  </a:lnTo>
                  <a:lnTo>
                    <a:pt x="11" y="573"/>
                  </a:lnTo>
                  <a:lnTo>
                    <a:pt x="17" y="584"/>
                  </a:lnTo>
                  <a:lnTo>
                    <a:pt x="9" y="585"/>
                  </a:lnTo>
                  <a:lnTo>
                    <a:pt x="0" y="591"/>
                  </a:lnTo>
                  <a:lnTo>
                    <a:pt x="15" y="604"/>
                  </a:lnTo>
                  <a:lnTo>
                    <a:pt x="30" y="615"/>
                  </a:lnTo>
                  <a:lnTo>
                    <a:pt x="24" y="624"/>
                  </a:lnTo>
                  <a:lnTo>
                    <a:pt x="20" y="635"/>
                  </a:lnTo>
                  <a:lnTo>
                    <a:pt x="30" y="645"/>
                  </a:lnTo>
                  <a:lnTo>
                    <a:pt x="37" y="654"/>
                  </a:lnTo>
                  <a:lnTo>
                    <a:pt x="30" y="667"/>
                  </a:lnTo>
                  <a:lnTo>
                    <a:pt x="22" y="680"/>
                  </a:lnTo>
                  <a:lnTo>
                    <a:pt x="39" y="685"/>
                  </a:lnTo>
                  <a:lnTo>
                    <a:pt x="55" y="696"/>
                  </a:lnTo>
                  <a:lnTo>
                    <a:pt x="54" y="707"/>
                  </a:lnTo>
                  <a:lnTo>
                    <a:pt x="54" y="722"/>
                  </a:lnTo>
                  <a:lnTo>
                    <a:pt x="46" y="730"/>
                  </a:lnTo>
                  <a:lnTo>
                    <a:pt x="44" y="737"/>
                  </a:lnTo>
                  <a:lnTo>
                    <a:pt x="44" y="744"/>
                  </a:lnTo>
                  <a:lnTo>
                    <a:pt x="48" y="750"/>
                  </a:lnTo>
                  <a:lnTo>
                    <a:pt x="57" y="759"/>
                  </a:lnTo>
                  <a:lnTo>
                    <a:pt x="65" y="765"/>
                  </a:lnTo>
                  <a:lnTo>
                    <a:pt x="65" y="772"/>
                  </a:lnTo>
                  <a:lnTo>
                    <a:pt x="63" y="778"/>
                  </a:lnTo>
                  <a:lnTo>
                    <a:pt x="63" y="783"/>
                  </a:lnTo>
                  <a:lnTo>
                    <a:pt x="59" y="787"/>
                  </a:lnTo>
                  <a:lnTo>
                    <a:pt x="68" y="783"/>
                  </a:lnTo>
                  <a:lnTo>
                    <a:pt x="96" y="772"/>
                  </a:lnTo>
                  <a:lnTo>
                    <a:pt x="111" y="768"/>
                  </a:lnTo>
                  <a:lnTo>
                    <a:pt x="124" y="765"/>
                  </a:lnTo>
                  <a:lnTo>
                    <a:pt x="137" y="765"/>
                  </a:lnTo>
                  <a:lnTo>
                    <a:pt x="144" y="767"/>
                  </a:lnTo>
                  <a:lnTo>
                    <a:pt x="146" y="768"/>
                  </a:lnTo>
                  <a:lnTo>
                    <a:pt x="148" y="770"/>
                  </a:lnTo>
                  <a:lnTo>
                    <a:pt x="148" y="772"/>
                  </a:lnTo>
                  <a:lnTo>
                    <a:pt x="148" y="774"/>
                  </a:lnTo>
                  <a:lnTo>
                    <a:pt x="146" y="778"/>
                  </a:lnTo>
                  <a:lnTo>
                    <a:pt x="144" y="783"/>
                  </a:lnTo>
                  <a:lnTo>
                    <a:pt x="146" y="789"/>
                  </a:lnTo>
                  <a:lnTo>
                    <a:pt x="148" y="794"/>
                  </a:lnTo>
                  <a:lnTo>
                    <a:pt x="144" y="798"/>
                  </a:lnTo>
                  <a:lnTo>
                    <a:pt x="139" y="800"/>
                  </a:lnTo>
                  <a:lnTo>
                    <a:pt x="137" y="803"/>
                  </a:lnTo>
                  <a:lnTo>
                    <a:pt x="133" y="807"/>
                  </a:lnTo>
                  <a:lnTo>
                    <a:pt x="131" y="815"/>
                  </a:lnTo>
                  <a:lnTo>
                    <a:pt x="129" y="826"/>
                  </a:lnTo>
                  <a:lnTo>
                    <a:pt x="116" y="839"/>
                  </a:lnTo>
                  <a:lnTo>
                    <a:pt x="109" y="850"/>
                  </a:lnTo>
                  <a:lnTo>
                    <a:pt x="109" y="866"/>
                  </a:lnTo>
                  <a:lnTo>
                    <a:pt x="109" y="885"/>
                  </a:lnTo>
                  <a:lnTo>
                    <a:pt x="103" y="894"/>
                  </a:lnTo>
                  <a:lnTo>
                    <a:pt x="98" y="903"/>
                  </a:lnTo>
                  <a:lnTo>
                    <a:pt x="96" y="907"/>
                  </a:lnTo>
                  <a:lnTo>
                    <a:pt x="94" y="911"/>
                  </a:lnTo>
                  <a:lnTo>
                    <a:pt x="94" y="916"/>
                  </a:lnTo>
                  <a:lnTo>
                    <a:pt x="96" y="922"/>
                  </a:lnTo>
                  <a:lnTo>
                    <a:pt x="100" y="925"/>
                  </a:lnTo>
                  <a:lnTo>
                    <a:pt x="102" y="927"/>
                  </a:lnTo>
                  <a:lnTo>
                    <a:pt x="105" y="929"/>
                  </a:lnTo>
                  <a:lnTo>
                    <a:pt x="109" y="929"/>
                  </a:lnTo>
                  <a:lnTo>
                    <a:pt x="116" y="929"/>
                  </a:lnTo>
                  <a:lnTo>
                    <a:pt x="126" y="925"/>
                  </a:lnTo>
                  <a:lnTo>
                    <a:pt x="133" y="924"/>
                  </a:lnTo>
                  <a:lnTo>
                    <a:pt x="142" y="924"/>
                  </a:lnTo>
                  <a:lnTo>
                    <a:pt x="151" y="924"/>
                  </a:lnTo>
                  <a:lnTo>
                    <a:pt x="161" y="929"/>
                  </a:lnTo>
                  <a:lnTo>
                    <a:pt x="163" y="935"/>
                  </a:lnTo>
                  <a:lnTo>
                    <a:pt x="164" y="942"/>
                  </a:lnTo>
                  <a:lnTo>
                    <a:pt x="164" y="949"/>
                  </a:lnTo>
                  <a:lnTo>
                    <a:pt x="164" y="955"/>
                  </a:lnTo>
                  <a:lnTo>
                    <a:pt x="166" y="961"/>
                  </a:lnTo>
                  <a:lnTo>
                    <a:pt x="168" y="964"/>
                  </a:lnTo>
                  <a:lnTo>
                    <a:pt x="174" y="966"/>
                  </a:lnTo>
                  <a:lnTo>
                    <a:pt x="181" y="966"/>
                  </a:lnTo>
                  <a:lnTo>
                    <a:pt x="188" y="966"/>
                  </a:lnTo>
                  <a:lnTo>
                    <a:pt x="192" y="962"/>
                  </a:lnTo>
                  <a:lnTo>
                    <a:pt x="194" y="959"/>
                  </a:lnTo>
                  <a:lnTo>
                    <a:pt x="196" y="953"/>
                  </a:lnTo>
                  <a:lnTo>
                    <a:pt x="196" y="949"/>
                  </a:lnTo>
                  <a:lnTo>
                    <a:pt x="196" y="944"/>
                  </a:lnTo>
                  <a:lnTo>
                    <a:pt x="198" y="940"/>
                  </a:lnTo>
                  <a:lnTo>
                    <a:pt x="201" y="937"/>
                  </a:lnTo>
                  <a:lnTo>
                    <a:pt x="212" y="935"/>
                  </a:lnTo>
                  <a:lnTo>
                    <a:pt x="225" y="929"/>
                  </a:lnTo>
                  <a:lnTo>
                    <a:pt x="233" y="909"/>
                  </a:lnTo>
                  <a:lnTo>
                    <a:pt x="244" y="888"/>
                  </a:lnTo>
                  <a:lnTo>
                    <a:pt x="259" y="887"/>
                  </a:lnTo>
                  <a:lnTo>
                    <a:pt x="270" y="887"/>
                  </a:lnTo>
                  <a:lnTo>
                    <a:pt x="275" y="879"/>
                  </a:lnTo>
                  <a:lnTo>
                    <a:pt x="283" y="870"/>
                  </a:lnTo>
                  <a:lnTo>
                    <a:pt x="286" y="866"/>
                  </a:lnTo>
                  <a:lnTo>
                    <a:pt x="290" y="864"/>
                  </a:lnTo>
                  <a:lnTo>
                    <a:pt x="296" y="863"/>
                  </a:lnTo>
                  <a:lnTo>
                    <a:pt x="303" y="863"/>
                  </a:lnTo>
                  <a:lnTo>
                    <a:pt x="308" y="864"/>
                  </a:lnTo>
                  <a:lnTo>
                    <a:pt x="312" y="868"/>
                  </a:lnTo>
                  <a:lnTo>
                    <a:pt x="314" y="874"/>
                  </a:lnTo>
                  <a:lnTo>
                    <a:pt x="316" y="879"/>
                  </a:lnTo>
                  <a:lnTo>
                    <a:pt x="318" y="892"/>
                  </a:lnTo>
                  <a:lnTo>
                    <a:pt x="318" y="905"/>
                  </a:lnTo>
                  <a:lnTo>
                    <a:pt x="323" y="911"/>
                  </a:lnTo>
                  <a:lnTo>
                    <a:pt x="331" y="914"/>
                  </a:lnTo>
                  <a:lnTo>
                    <a:pt x="334" y="918"/>
                  </a:lnTo>
                  <a:lnTo>
                    <a:pt x="336" y="922"/>
                  </a:lnTo>
                  <a:lnTo>
                    <a:pt x="338" y="927"/>
                  </a:lnTo>
                  <a:lnTo>
                    <a:pt x="338" y="935"/>
                  </a:lnTo>
                  <a:lnTo>
                    <a:pt x="338" y="938"/>
                  </a:lnTo>
                  <a:lnTo>
                    <a:pt x="334" y="942"/>
                  </a:lnTo>
                  <a:lnTo>
                    <a:pt x="331" y="944"/>
                  </a:lnTo>
                  <a:lnTo>
                    <a:pt x="327" y="946"/>
                  </a:lnTo>
                  <a:lnTo>
                    <a:pt x="316" y="949"/>
                  </a:lnTo>
                  <a:lnTo>
                    <a:pt x="303" y="953"/>
                  </a:lnTo>
                  <a:lnTo>
                    <a:pt x="292" y="955"/>
                  </a:lnTo>
                  <a:lnTo>
                    <a:pt x="281" y="957"/>
                  </a:lnTo>
                  <a:lnTo>
                    <a:pt x="273" y="959"/>
                  </a:lnTo>
                  <a:lnTo>
                    <a:pt x="270" y="961"/>
                  </a:lnTo>
                  <a:lnTo>
                    <a:pt x="270" y="966"/>
                  </a:lnTo>
                  <a:lnTo>
                    <a:pt x="273" y="972"/>
                  </a:lnTo>
                  <a:lnTo>
                    <a:pt x="277" y="975"/>
                  </a:lnTo>
                  <a:lnTo>
                    <a:pt x="283" y="979"/>
                  </a:lnTo>
                  <a:lnTo>
                    <a:pt x="288" y="983"/>
                  </a:lnTo>
                  <a:lnTo>
                    <a:pt x="292" y="986"/>
                  </a:lnTo>
                  <a:lnTo>
                    <a:pt x="296" y="990"/>
                  </a:lnTo>
                  <a:lnTo>
                    <a:pt x="297" y="994"/>
                  </a:lnTo>
                  <a:lnTo>
                    <a:pt x="288" y="1003"/>
                  </a:lnTo>
                  <a:lnTo>
                    <a:pt x="270" y="1023"/>
                  </a:lnTo>
                  <a:lnTo>
                    <a:pt x="264" y="1034"/>
                  </a:lnTo>
                  <a:lnTo>
                    <a:pt x="262" y="1044"/>
                  </a:lnTo>
                  <a:lnTo>
                    <a:pt x="260" y="1051"/>
                  </a:lnTo>
                  <a:lnTo>
                    <a:pt x="259" y="1060"/>
                  </a:lnTo>
                  <a:lnTo>
                    <a:pt x="242" y="1068"/>
                  </a:lnTo>
                  <a:lnTo>
                    <a:pt x="227" y="1077"/>
                  </a:lnTo>
                  <a:lnTo>
                    <a:pt x="233" y="1090"/>
                  </a:lnTo>
                  <a:lnTo>
                    <a:pt x="240" y="1103"/>
                  </a:lnTo>
                  <a:lnTo>
                    <a:pt x="233" y="1116"/>
                  </a:lnTo>
                  <a:lnTo>
                    <a:pt x="225" y="1127"/>
                  </a:lnTo>
                  <a:lnTo>
                    <a:pt x="222" y="1132"/>
                  </a:lnTo>
                  <a:lnTo>
                    <a:pt x="220" y="1140"/>
                  </a:lnTo>
                  <a:lnTo>
                    <a:pt x="218" y="1149"/>
                  </a:lnTo>
                  <a:lnTo>
                    <a:pt x="220" y="1158"/>
                  </a:lnTo>
                  <a:lnTo>
                    <a:pt x="229" y="1166"/>
                  </a:lnTo>
                  <a:lnTo>
                    <a:pt x="236" y="1171"/>
                  </a:lnTo>
                  <a:lnTo>
                    <a:pt x="244" y="1175"/>
                  </a:lnTo>
                  <a:lnTo>
                    <a:pt x="253" y="1179"/>
                  </a:lnTo>
                  <a:lnTo>
                    <a:pt x="272" y="1182"/>
                  </a:lnTo>
                  <a:lnTo>
                    <a:pt x="296" y="1186"/>
                  </a:lnTo>
                  <a:lnTo>
                    <a:pt x="297" y="1195"/>
                  </a:lnTo>
                  <a:lnTo>
                    <a:pt x="299" y="1212"/>
                  </a:lnTo>
                  <a:lnTo>
                    <a:pt x="303" y="1223"/>
                  </a:lnTo>
                  <a:lnTo>
                    <a:pt x="305" y="1230"/>
                  </a:lnTo>
                  <a:lnTo>
                    <a:pt x="310" y="1240"/>
                  </a:lnTo>
                  <a:lnTo>
                    <a:pt x="320" y="1243"/>
                  </a:lnTo>
                  <a:lnTo>
                    <a:pt x="320" y="1245"/>
                  </a:lnTo>
                  <a:lnTo>
                    <a:pt x="321" y="1245"/>
                  </a:lnTo>
                  <a:lnTo>
                    <a:pt x="325" y="1245"/>
                  </a:lnTo>
                  <a:lnTo>
                    <a:pt x="329" y="1247"/>
                  </a:lnTo>
                  <a:lnTo>
                    <a:pt x="331" y="1247"/>
                  </a:lnTo>
                  <a:lnTo>
                    <a:pt x="332" y="1247"/>
                  </a:lnTo>
                  <a:lnTo>
                    <a:pt x="334" y="1247"/>
                  </a:lnTo>
                  <a:lnTo>
                    <a:pt x="334" y="1245"/>
                  </a:lnTo>
                  <a:lnTo>
                    <a:pt x="336" y="1245"/>
                  </a:lnTo>
                  <a:lnTo>
                    <a:pt x="347" y="1234"/>
                  </a:lnTo>
                  <a:lnTo>
                    <a:pt x="355" y="1221"/>
                  </a:lnTo>
                  <a:lnTo>
                    <a:pt x="364" y="1223"/>
                  </a:lnTo>
                  <a:lnTo>
                    <a:pt x="379" y="1228"/>
                  </a:lnTo>
                  <a:lnTo>
                    <a:pt x="392" y="1221"/>
                  </a:lnTo>
                  <a:lnTo>
                    <a:pt x="405" y="1216"/>
                  </a:lnTo>
                  <a:lnTo>
                    <a:pt x="417" y="1223"/>
                  </a:lnTo>
                  <a:lnTo>
                    <a:pt x="432" y="1230"/>
                  </a:lnTo>
                  <a:lnTo>
                    <a:pt x="440" y="1236"/>
                  </a:lnTo>
                  <a:lnTo>
                    <a:pt x="447" y="1238"/>
                  </a:lnTo>
                  <a:lnTo>
                    <a:pt x="454" y="1240"/>
                  </a:lnTo>
                  <a:lnTo>
                    <a:pt x="460" y="1240"/>
                  </a:lnTo>
                  <a:lnTo>
                    <a:pt x="465" y="1238"/>
                  </a:lnTo>
                  <a:lnTo>
                    <a:pt x="471" y="1230"/>
                  </a:lnTo>
                  <a:lnTo>
                    <a:pt x="478" y="1223"/>
                  </a:lnTo>
                  <a:lnTo>
                    <a:pt x="486" y="1214"/>
                  </a:lnTo>
                  <a:lnTo>
                    <a:pt x="493" y="1203"/>
                  </a:lnTo>
                  <a:lnTo>
                    <a:pt x="506" y="1193"/>
                  </a:lnTo>
                  <a:lnTo>
                    <a:pt x="512" y="1190"/>
                  </a:lnTo>
                  <a:lnTo>
                    <a:pt x="519" y="1188"/>
                  </a:lnTo>
                  <a:lnTo>
                    <a:pt x="528" y="1184"/>
                  </a:lnTo>
                  <a:lnTo>
                    <a:pt x="538" y="1182"/>
                  </a:lnTo>
                  <a:lnTo>
                    <a:pt x="541" y="1184"/>
                  </a:lnTo>
                  <a:lnTo>
                    <a:pt x="541" y="1190"/>
                  </a:lnTo>
                  <a:lnTo>
                    <a:pt x="539" y="1193"/>
                  </a:lnTo>
                  <a:lnTo>
                    <a:pt x="536" y="1201"/>
                  </a:lnTo>
                  <a:lnTo>
                    <a:pt x="528" y="1214"/>
                  </a:lnTo>
                  <a:lnTo>
                    <a:pt x="523" y="1221"/>
                  </a:lnTo>
                  <a:close/>
                  <a:moveTo>
                    <a:pt x="331" y="726"/>
                  </a:moveTo>
                  <a:lnTo>
                    <a:pt x="336" y="720"/>
                  </a:lnTo>
                  <a:lnTo>
                    <a:pt x="340" y="713"/>
                  </a:lnTo>
                  <a:lnTo>
                    <a:pt x="344" y="713"/>
                  </a:lnTo>
                  <a:lnTo>
                    <a:pt x="349" y="713"/>
                  </a:lnTo>
                  <a:lnTo>
                    <a:pt x="349" y="707"/>
                  </a:lnTo>
                  <a:lnTo>
                    <a:pt x="349" y="702"/>
                  </a:lnTo>
                  <a:lnTo>
                    <a:pt x="344" y="700"/>
                  </a:lnTo>
                  <a:lnTo>
                    <a:pt x="342" y="700"/>
                  </a:lnTo>
                  <a:lnTo>
                    <a:pt x="338" y="700"/>
                  </a:lnTo>
                  <a:lnTo>
                    <a:pt x="336" y="702"/>
                  </a:lnTo>
                  <a:lnTo>
                    <a:pt x="332" y="709"/>
                  </a:lnTo>
                  <a:lnTo>
                    <a:pt x="332" y="718"/>
                  </a:lnTo>
                  <a:lnTo>
                    <a:pt x="331" y="718"/>
                  </a:lnTo>
                  <a:lnTo>
                    <a:pt x="329" y="720"/>
                  </a:lnTo>
                  <a:lnTo>
                    <a:pt x="329" y="722"/>
                  </a:lnTo>
                  <a:lnTo>
                    <a:pt x="331" y="726"/>
                  </a:lnTo>
                  <a:close/>
                  <a:moveTo>
                    <a:pt x="362" y="682"/>
                  </a:moveTo>
                  <a:lnTo>
                    <a:pt x="369" y="683"/>
                  </a:lnTo>
                  <a:lnTo>
                    <a:pt x="375" y="685"/>
                  </a:lnTo>
                  <a:lnTo>
                    <a:pt x="382" y="682"/>
                  </a:lnTo>
                  <a:lnTo>
                    <a:pt x="390" y="678"/>
                  </a:lnTo>
                  <a:lnTo>
                    <a:pt x="390" y="682"/>
                  </a:lnTo>
                  <a:lnTo>
                    <a:pt x="390" y="685"/>
                  </a:lnTo>
                  <a:lnTo>
                    <a:pt x="388" y="689"/>
                  </a:lnTo>
                  <a:lnTo>
                    <a:pt x="384" y="694"/>
                  </a:lnTo>
                  <a:lnTo>
                    <a:pt x="386" y="700"/>
                  </a:lnTo>
                  <a:lnTo>
                    <a:pt x="388" y="707"/>
                  </a:lnTo>
                  <a:lnTo>
                    <a:pt x="388" y="711"/>
                  </a:lnTo>
                  <a:lnTo>
                    <a:pt x="388" y="715"/>
                  </a:lnTo>
                  <a:lnTo>
                    <a:pt x="388" y="717"/>
                  </a:lnTo>
                  <a:lnTo>
                    <a:pt x="386" y="717"/>
                  </a:lnTo>
                  <a:lnTo>
                    <a:pt x="377" y="713"/>
                  </a:lnTo>
                  <a:lnTo>
                    <a:pt x="369" y="709"/>
                  </a:lnTo>
                  <a:lnTo>
                    <a:pt x="366" y="709"/>
                  </a:lnTo>
                  <a:lnTo>
                    <a:pt x="360" y="711"/>
                  </a:lnTo>
                  <a:lnTo>
                    <a:pt x="358" y="709"/>
                  </a:lnTo>
                  <a:lnTo>
                    <a:pt x="358" y="706"/>
                  </a:lnTo>
                  <a:lnTo>
                    <a:pt x="360" y="704"/>
                  </a:lnTo>
                  <a:lnTo>
                    <a:pt x="360" y="691"/>
                  </a:lnTo>
                  <a:lnTo>
                    <a:pt x="362" y="682"/>
                  </a:lnTo>
                  <a:close/>
                  <a:moveTo>
                    <a:pt x="388" y="728"/>
                  </a:moveTo>
                  <a:lnTo>
                    <a:pt x="388" y="730"/>
                  </a:lnTo>
                  <a:lnTo>
                    <a:pt x="390" y="731"/>
                  </a:lnTo>
                  <a:lnTo>
                    <a:pt x="388" y="735"/>
                  </a:lnTo>
                  <a:lnTo>
                    <a:pt x="386" y="735"/>
                  </a:lnTo>
                  <a:lnTo>
                    <a:pt x="386" y="731"/>
                  </a:lnTo>
                  <a:lnTo>
                    <a:pt x="386" y="730"/>
                  </a:lnTo>
                  <a:lnTo>
                    <a:pt x="388" y="728"/>
                  </a:lnTo>
                  <a:close/>
                  <a:moveTo>
                    <a:pt x="401" y="728"/>
                  </a:moveTo>
                  <a:lnTo>
                    <a:pt x="403" y="728"/>
                  </a:lnTo>
                  <a:lnTo>
                    <a:pt x="405" y="730"/>
                  </a:lnTo>
                  <a:lnTo>
                    <a:pt x="403" y="730"/>
                  </a:lnTo>
                  <a:lnTo>
                    <a:pt x="401" y="731"/>
                  </a:lnTo>
                  <a:lnTo>
                    <a:pt x="397" y="730"/>
                  </a:lnTo>
                  <a:lnTo>
                    <a:pt x="397" y="728"/>
                  </a:lnTo>
                  <a:lnTo>
                    <a:pt x="401" y="728"/>
                  </a:lnTo>
                  <a:close/>
                  <a:moveTo>
                    <a:pt x="395" y="667"/>
                  </a:moveTo>
                  <a:lnTo>
                    <a:pt x="395" y="667"/>
                  </a:lnTo>
                  <a:lnTo>
                    <a:pt x="395" y="669"/>
                  </a:lnTo>
                  <a:lnTo>
                    <a:pt x="395" y="670"/>
                  </a:lnTo>
                  <a:lnTo>
                    <a:pt x="393" y="669"/>
                  </a:lnTo>
                  <a:lnTo>
                    <a:pt x="393" y="667"/>
                  </a:lnTo>
                  <a:lnTo>
                    <a:pt x="395" y="66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8" name="Freeform 24"/>
            <p:cNvSpPr>
              <a:spLocks/>
            </p:cNvSpPr>
            <p:nvPr/>
          </p:nvSpPr>
          <p:spPr bwMode="auto">
            <a:xfrm>
              <a:off x="5675674" y="2610072"/>
              <a:ext cx="411694" cy="278370"/>
            </a:xfrm>
            <a:custGeom>
              <a:avLst/>
              <a:gdLst>
                <a:gd name="T0" fmla="*/ 229 w 789"/>
                <a:gd name="T1" fmla="*/ 354 h 547"/>
                <a:gd name="T2" fmla="*/ 312 w 789"/>
                <a:gd name="T3" fmla="*/ 342 h 547"/>
                <a:gd name="T4" fmla="*/ 331 w 789"/>
                <a:gd name="T5" fmla="*/ 332 h 547"/>
                <a:gd name="T6" fmla="*/ 420 w 789"/>
                <a:gd name="T7" fmla="*/ 375 h 547"/>
                <a:gd name="T8" fmla="*/ 453 w 789"/>
                <a:gd name="T9" fmla="*/ 412 h 547"/>
                <a:gd name="T10" fmla="*/ 484 w 789"/>
                <a:gd name="T11" fmla="*/ 443 h 547"/>
                <a:gd name="T12" fmla="*/ 519 w 789"/>
                <a:gd name="T13" fmla="*/ 480 h 547"/>
                <a:gd name="T14" fmla="*/ 567 w 789"/>
                <a:gd name="T15" fmla="*/ 537 h 547"/>
                <a:gd name="T16" fmla="*/ 628 w 789"/>
                <a:gd name="T17" fmla="*/ 534 h 547"/>
                <a:gd name="T18" fmla="*/ 689 w 789"/>
                <a:gd name="T19" fmla="*/ 537 h 547"/>
                <a:gd name="T20" fmla="*/ 745 w 789"/>
                <a:gd name="T21" fmla="*/ 547 h 547"/>
                <a:gd name="T22" fmla="*/ 761 w 789"/>
                <a:gd name="T23" fmla="*/ 495 h 547"/>
                <a:gd name="T24" fmla="*/ 767 w 789"/>
                <a:gd name="T25" fmla="*/ 476 h 547"/>
                <a:gd name="T26" fmla="*/ 748 w 789"/>
                <a:gd name="T27" fmla="*/ 430 h 547"/>
                <a:gd name="T28" fmla="*/ 687 w 789"/>
                <a:gd name="T29" fmla="*/ 406 h 547"/>
                <a:gd name="T30" fmla="*/ 673 w 789"/>
                <a:gd name="T31" fmla="*/ 367 h 547"/>
                <a:gd name="T32" fmla="*/ 678 w 789"/>
                <a:gd name="T33" fmla="*/ 312 h 547"/>
                <a:gd name="T34" fmla="*/ 715 w 789"/>
                <a:gd name="T35" fmla="*/ 269 h 547"/>
                <a:gd name="T36" fmla="*/ 743 w 789"/>
                <a:gd name="T37" fmla="*/ 221 h 547"/>
                <a:gd name="T38" fmla="*/ 721 w 789"/>
                <a:gd name="T39" fmla="*/ 201 h 547"/>
                <a:gd name="T40" fmla="*/ 754 w 789"/>
                <a:gd name="T41" fmla="*/ 188 h 547"/>
                <a:gd name="T42" fmla="*/ 789 w 789"/>
                <a:gd name="T43" fmla="*/ 173 h 547"/>
                <a:gd name="T44" fmla="*/ 782 w 789"/>
                <a:gd name="T45" fmla="*/ 149 h 547"/>
                <a:gd name="T46" fmla="*/ 765 w 789"/>
                <a:gd name="T47" fmla="*/ 109 h 547"/>
                <a:gd name="T48" fmla="*/ 741 w 789"/>
                <a:gd name="T49" fmla="*/ 99 h 547"/>
                <a:gd name="T50" fmla="*/ 710 w 789"/>
                <a:gd name="T51" fmla="*/ 122 h 547"/>
                <a:gd name="T52" fmla="*/ 652 w 789"/>
                <a:gd name="T53" fmla="*/ 172 h 547"/>
                <a:gd name="T54" fmla="*/ 645 w 789"/>
                <a:gd name="T55" fmla="*/ 194 h 547"/>
                <a:gd name="T56" fmla="*/ 619 w 789"/>
                <a:gd name="T57" fmla="*/ 199 h 547"/>
                <a:gd name="T58" fmla="*/ 614 w 789"/>
                <a:gd name="T59" fmla="*/ 170 h 547"/>
                <a:gd name="T60" fmla="*/ 577 w 789"/>
                <a:gd name="T61" fmla="*/ 160 h 547"/>
                <a:gd name="T62" fmla="*/ 551 w 789"/>
                <a:gd name="T63" fmla="*/ 160 h 547"/>
                <a:gd name="T64" fmla="*/ 549 w 789"/>
                <a:gd name="T65" fmla="*/ 138 h 547"/>
                <a:gd name="T66" fmla="*/ 567 w 789"/>
                <a:gd name="T67" fmla="*/ 74 h 547"/>
                <a:gd name="T68" fmla="*/ 590 w 789"/>
                <a:gd name="T69" fmla="*/ 35 h 547"/>
                <a:gd name="T70" fmla="*/ 597 w 789"/>
                <a:gd name="T71" fmla="*/ 13 h 547"/>
                <a:gd name="T72" fmla="*/ 595 w 789"/>
                <a:gd name="T73" fmla="*/ 2 h 547"/>
                <a:gd name="T74" fmla="*/ 523 w 789"/>
                <a:gd name="T75" fmla="*/ 16 h 547"/>
                <a:gd name="T76" fmla="*/ 466 w 789"/>
                <a:gd name="T77" fmla="*/ 42 h 547"/>
                <a:gd name="T78" fmla="*/ 436 w 789"/>
                <a:gd name="T79" fmla="*/ 85 h 547"/>
                <a:gd name="T80" fmla="*/ 368 w 789"/>
                <a:gd name="T81" fmla="*/ 98 h 547"/>
                <a:gd name="T82" fmla="*/ 329 w 789"/>
                <a:gd name="T83" fmla="*/ 114 h 547"/>
                <a:gd name="T84" fmla="*/ 233 w 789"/>
                <a:gd name="T85" fmla="*/ 127 h 547"/>
                <a:gd name="T86" fmla="*/ 205 w 789"/>
                <a:gd name="T87" fmla="*/ 109 h 547"/>
                <a:gd name="T88" fmla="*/ 126 w 789"/>
                <a:gd name="T89" fmla="*/ 107 h 547"/>
                <a:gd name="T90" fmla="*/ 50 w 789"/>
                <a:gd name="T91" fmla="*/ 92 h 547"/>
                <a:gd name="T92" fmla="*/ 2 w 789"/>
                <a:gd name="T93" fmla="*/ 118 h 547"/>
                <a:gd name="T94" fmla="*/ 39 w 789"/>
                <a:gd name="T95" fmla="*/ 153 h 547"/>
                <a:gd name="T96" fmla="*/ 35 w 789"/>
                <a:gd name="T97" fmla="*/ 175 h 547"/>
                <a:gd name="T98" fmla="*/ 63 w 789"/>
                <a:gd name="T99" fmla="*/ 162 h 547"/>
                <a:gd name="T100" fmla="*/ 89 w 789"/>
                <a:gd name="T101" fmla="*/ 168 h 547"/>
                <a:gd name="T102" fmla="*/ 96 w 789"/>
                <a:gd name="T103" fmla="*/ 199 h 547"/>
                <a:gd name="T104" fmla="*/ 128 w 789"/>
                <a:gd name="T105" fmla="*/ 190 h 547"/>
                <a:gd name="T106" fmla="*/ 128 w 789"/>
                <a:gd name="T107" fmla="*/ 242 h 547"/>
                <a:gd name="T108" fmla="*/ 152 w 789"/>
                <a:gd name="T109" fmla="*/ 258 h 547"/>
                <a:gd name="T110" fmla="*/ 148 w 789"/>
                <a:gd name="T111" fmla="*/ 297 h 547"/>
                <a:gd name="T112" fmla="*/ 178 w 789"/>
                <a:gd name="T113" fmla="*/ 327 h 54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9"/>
                <a:gd name="T172" fmla="*/ 0 h 547"/>
                <a:gd name="T173" fmla="*/ 789 w 789"/>
                <a:gd name="T174" fmla="*/ 547 h 54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9" h="547">
                  <a:moveTo>
                    <a:pt x="192" y="360"/>
                  </a:moveTo>
                  <a:lnTo>
                    <a:pt x="194" y="358"/>
                  </a:lnTo>
                  <a:lnTo>
                    <a:pt x="196" y="358"/>
                  </a:lnTo>
                  <a:lnTo>
                    <a:pt x="211" y="356"/>
                  </a:lnTo>
                  <a:lnTo>
                    <a:pt x="229" y="354"/>
                  </a:lnTo>
                  <a:lnTo>
                    <a:pt x="244" y="342"/>
                  </a:lnTo>
                  <a:lnTo>
                    <a:pt x="259" y="332"/>
                  </a:lnTo>
                  <a:lnTo>
                    <a:pt x="279" y="334"/>
                  </a:lnTo>
                  <a:lnTo>
                    <a:pt x="299" y="340"/>
                  </a:lnTo>
                  <a:lnTo>
                    <a:pt x="312" y="342"/>
                  </a:lnTo>
                  <a:lnTo>
                    <a:pt x="322" y="343"/>
                  </a:lnTo>
                  <a:lnTo>
                    <a:pt x="324" y="342"/>
                  </a:lnTo>
                  <a:lnTo>
                    <a:pt x="327" y="340"/>
                  </a:lnTo>
                  <a:lnTo>
                    <a:pt x="329" y="338"/>
                  </a:lnTo>
                  <a:lnTo>
                    <a:pt x="331" y="332"/>
                  </a:lnTo>
                  <a:lnTo>
                    <a:pt x="355" y="336"/>
                  </a:lnTo>
                  <a:lnTo>
                    <a:pt x="375" y="336"/>
                  </a:lnTo>
                  <a:lnTo>
                    <a:pt x="392" y="351"/>
                  </a:lnTo>
                  <a:lnTo>
                    <a:pt x="414" y="366"/>
                  </a:lnTo>
                  <a:lnTo>
                    <a:pt x="420" y="375"/>
                  </a:lnTo>
                  <a:lnTo>
                    <a:pt x="425" y="384"/>
                  </a:lnTo>
                  <a:lnTo>
                    <a:pt x="434" y="386"/>
                  </a:lnTo>
                  <a:lnTo>
                    <a:pt x="442" y="390"/>
                  </a:lnTo>
                  <a:lnTo>
                    <a:pt x="447" y="401"/>
                  </a:lnTo>
                  <a:lnTo>
                    <a:pt x="453" y="412"/>
                  </a:lnTo>
                  <a:lnTo>
                    <a:pt x="458" y="415"/>
                  </a:lnTo>
                  <a:lnTo>
                    <a:pt x="464" y="423"/>
                  </a:lnTo>
                  <a:lnTo>
                    <a:pt x="469" y="430"/>
                  </a:lnTo>
                  <a:lnTo>
                    <a:pt x="471" y="439"/>
                  </a:lnTo>
                  <a:lnTo>
                    <a:pt x="484" y="443"/>
                  </a:lnTo>
                  <a:lnTo>
                    <a:pt x="492" y="445"/>
                  </a:lnTo>
                  <a:lnTo>
                    <a:pt x="495" y="452"/>
                  </a:lnTo>
                  <a:lnTo>
                    <a:pt x="501" y="467"/>
                  </a:lnTo>
                  <a:lnTo>
                    <a:pt x="514" y="476"/>
                  </a:lnTo>
                  <a:lnTo>
                    <a:pt x="519" y="480"/>
                  </a:lnTo>
                  <a:lnTo>
                    <a:pt x="521" y="488"/>
                  </a:lnTo>
                  <a:lnTo>
                    <a:pt x="521" y="500"/>
                  </a:lnTo>
                  <a:lnTo>
                    <a:pt x="536" y="515"/>
                  </a:lnTo>
                  <a:lnTo>
                    <a:pt x="553" y="526"/>
                  </a:lnTo>
                  <a:lnTo>
                    <a:pt x="567" y="537"/>
                  </a:lnTo>
                  <a:lnTo>
                    <a:pt x="580" y="543"/>
                  </a:lnTo>
                  <a:lnTo>
                    <a:pt x="595" y="545"/>
                  </a:lnTo>
                  <a:lnTo>
                    <a:pt x="608" y="545"/>
                  </a:lnTo>
                  <a:lnTo>
                    <a:pt x="617" y="541"/>
                  </a:lnTo>
                  <a:lnTo>
                    <a:pt x="628" y="534"/>
                  </a:lnTo>
                  <a:lnTo>
                    <a:pt x="641" y="536"/>
                  </a:lnTo>
                  <a:lnTo>
                    <a:pt x="654" y="537"/>
                  </a:lnTo>
                  <a:lnTo>
                    <a:pt x="665" y="532"/>
                  </a:lnTo>
                  <a:lnTo>
                    <a:pt x="678" y="530"/>
                  </a:lnTo>
                  <a:lnTo>
                    <a:pt x="689" y="537"/>
                  </a:lnTo>
                  <a:lnTo>
                    <a:pt x="700" y="543"/>
                  </a:lnTo>
                  <a:lnTo>
                    <a:pt x="726" y="543"/>
                  </a:lnTo>
                  <a:lnTo>
                    <a:pt x="745" y="545"/>
                  </a:lnTo>
                  <a:lnTo>
                    <a:pt x="745" y="547"/>
                  </a:lnTo>
                  <a:lnTo>
                    <a:pt x="750" y="539"/>
                  </a:lnTo>
                  <a:lnTo>
                    <a:pt x="754" y="532"/>
                  </a:lnTo>
                  <a:lnTo>
                    <a:pt x="756" y="524"/>
                  </a:lnTo>
                  <a:lnTo>
                    <a:pt x="758" y="515"/>
                  </a:lnTo>
                  <a:lnTo>
                    <a:pt x="761" y="495"/>
                  </a:lnTo>
                  <a:lnTo>
                    <a:pt x="767" y="476"/>
                  </a:lnTo>
                  <a:lnTo>
                    <a:pt x="759" y="471"/>
                  </a:lnTo>
                  <a:lnTo>
                    <a:pt x="756" y="463"/>
                  </a:lnTo>
                  <a:lnTo>
                    <a:pt x="752" y="454"/>
                  </a:lnTo>
                  <a:lnTo>
                    <a:pt x="750" y="445"/>
                  </a:lnTo>
                  <a:lnTo>
                    <a:pt x="748" y="430"/>
                  </a:lnTo>
                  <a:lnTo>
                    <a:pt x="747" y="421"/>
                  </a:lnTo>
                  <a:lnTo>
                    <a:pt x="723" y="417"/>
                  </a:lnTo>
                  <a:lnTo>
                    <a:pt x="704" y="414"/>
                  </a:lnTo>
                  <a:lnTo>
                    <a:pt x="695" y="410"/>
                  </a:lnTo>
                  <a:lnTo>
                    <a:pt x="687" y="406"/>
                  </a:lnTo>
                  <a:lnTo>
                    <a:pt x="680" y="401"/>
                  </a:lnTo>
                  <a:lnTo>
                    <a:pt x="671" y="393"/>
                  </a:lnTo>
                  <a:lnTo>
                    <a:pt x="669" y="384"/>
                  </a:lnTo>
                  <a:lnTo>
                    <a:pt x="671" y="375"/>
                  </a:lnTo>
                  <a:lnTo>
                    <a:pt x="673" y="367"/>
                  </a:lnTo>
                  <a:lnTo>
                    <a:pt x="676" y="362"/>
                  </a:lnTo>
                  <a:lnTo>
                    <a:pt x="684" y="351"/>
                  </a:lnTo>
                  <a:lnTo>
                    <a:pt x="691" y="338"/>
                  </a:lnTo>
                  <a:lnTo>
                    <a:pt x="684" y="325"/>
                  </a:lnTo>
                  <a:lnTo>
                    <a:pt x="678" y="312"/>
                  </a:lnTo>
                  <a:lnTo>
                    <a:pt x="693" y="303"/>
                  </a:lnTo>
                  <a:lnTo>
                    <a:pt x="710" y="295"/>
                  </a:lnTo>
                  <a:lnTo>
                    <a:pt x="711" y="286"/>
                  </a:lnTo>
                  <a:lnTo>
                    <a:pt x="713" y="279"/>
                  </a:lnTo>
                  <a:lnTo>
                    <a:pt x="715" y="269"/>
                  </a:lnTo>
                  <a:lnTo>
                    <a:pt x="721" y="258"/>
                  </a:lnTo>
                  <a:lnTo>
                    <a:pt x="739" y="238"/>
                  </a:lnTo>
                  <a:lnTo>
                    <a:pt x="748" y="229"/>
                  </a:lnTo>
                  <a:lnTo>
                    <a:pt x="747" y="225"/>
                  </a:lnTo>
                  <a:lnTo>
                    <a:pt x="743" y="221"/>
                  </a:lnTo>
                  <a:lnTo>
                    <a:pt x="739" y="218"/>
                  </a:lnTo>
                  <a:lnTo>
                    <a:pt x="734" y="214"/>
                  </a:lnTo>
                  <a:lnTo>
                    <a:pt x="728" y="210"/>
                  </a:lnTo>
                  <a:lnTo>
                    <a:pt x="724" y="207"/>
                  </a:lnTo>
                  <a:lnTo>
                    <a:pt x="721" y="201"/>
                  </a:lnTo>
                  <a:lnTo>
                    <a:pt x="721" y="196"/>
                  </a:lnTo>
                  <a:lnTo>
                    <a:pt x="724" y="194"/>
                  </a:lnTo>
                  <a:lnTo>
                    <a:pt x="732" y="192"/>
                  </a:lnTo>
                  <a:lnTo>
                    <a:pt x="743" y="190"/>
                  </a:lnTo>
                  <a:lnTo>
                    <a:pt x="754" y="188"/>
                  </a:lnTo>
                  <a:lnTo>
                    <a:pt x="767" y="184"/>
                  </a:lnTo>
                  <a:lnTo>
                    <a:pt x="778" y="181"/>
                  </a:lnTo>
                  <a:lnTo>
                    <a:pt x="782" y="179"/>
                  </a:lnTo>
                  <a:lnTo>
                    <a:pt x="785" y="177"/>
                  </a:lnTo>
                  <a:lnTo>
                    <a:pt x="789" y="173"/>
                  </a:lnTo>
                  <a:lnTo>
                    <a:pt x="789" y="170"/>
                  </a:lnTo>
                  <a:lnTo>
                    <a:pt x="789" y="162"/>
                  </a:lnTo>
                  <a:lnTo>
                    <a:pt x="787" y="157"/>
                  </a:lnTo>
                  <a:lnTo>
                    <a:pt x="785" y="153"/>
                  </a:lnTo>
                  <a:lnTo>
                    <a:pt x="782" y="149"/>
                  </a:lnTo>
                  <a:lnTo>
                    <a:pt x="774" y="146"/>
                  </a:lnTo>
                  <a:lnTo>
                    <a:pt x="769" y="140"/>
                  </a:lnTo>
                  <a:lnTo>
                    <a:pt x="769" y="127"/>
                  </a:lnTo>
                  <a:lnTo>
                    <a:pt x="767" y="114"/>
                  </a:lnTo>
                  <a:lnTo>
                    <a:pt x="765" y="109"/>
                  </a:lnTo>
                  <a:lnTo>
                    <a:pt x="763" y="103"/>
                  </a:lnTo>
                  <a:lnTo>
                    <a:pt x="759" y="99"/>
                  </a:lnTo>
                  <a:lnTo>
                    <a:pt x="754" y="98"/>
                  </a:lnTo>
                  <a:lnTo>
                    <a:pt x="747" y="98"/>
                  </a:lnTo>
                  <a:lnTo>
                    <a:pt x="741" y="99"/>
                  </a:lnTo>
                  <a:lnTo>
                    <a:pt x="737" y="101"/>
                  </a:lnTo>
                  <a:lnTo>
                    <a:pt x="734" y="105"/>
                  </a:lnTo>
                  <a:lnTo>
                    <a:pt x="726" y="114"/>
                  </a:lnTo>
                  <a:lnTo>
                    <a:pt x="721" y="122"/>
                  </a:lnTo>
                  <a:lnTo>
                    <a:pt x="710" y="122"/>
                  </a:lnTo>
                  <a:lnTo>
                    <a:pt x="695" y="123"/>
                  </a:lnTo>
                  <a:lnTo>
                    <a:pt x="684" y="144"/>
                  </a:lnTo>
                  <a:lnTo>
                    <a:pt x="676" y="164"/>
                  </a:lnTo>
                  <a:lnTo>
                    <a:pt x="663" y="170"/>
                  </a:lnTo>
                  <a:lnTo>
                    <a:pt x="652" y="172"/>
                  </a:lnTo>
                  <a:lnTo>
                    <a:pt x="649" y="175"/>
                  </a:lnTo>
                  <a:lnTo>
                    <a:pt x="647" y="179"/>
                  </a:lnTo>
                  <a:lnTo>
                    <a:pt x="647" y="184"/>
                  </a:lnTo>
                  <a:lnTo>
                    <a:pt x="647" y="188"/>
                  </a:lnTo>
                  <a:lnTo>
                    <a:pt x="645" y="194"/>
                  </a:lnTo>
                  <a:lnTo>
                    <a:pt x="643" y="197"/>
                  </a:lnTo>
                  <a:lnTo>
                    <a:pt x="639" y="201"/>
                  </a:lnTo>
                  <a:lnTo>
                    <a:pt x="632" y="201"/>
                  </a:lnTo>
                  <a:lnTo>
                    <a:pt x="625" y="201"/>
                  </a:lnTo>
                  <a:lnTo>
                    <a:pt x="619" y="199"/>
                  </a:lnTo>
                  <a:lnTo>
                    <a:pt x="617" y="196"/>
                  </a:lnTo>
                  <a:lnTo>
                    <a:pt x="615" y="190"/>
                  </a:lnTo>
                  <a:lnTo>
                    <a:pt x="615" y="184"/>
                  </a:lnTo>
                  <a:lnTo>
                    <a:pt x="615" y="177"/>
                  </a:lnTo>
                  <a:lnTo>
                    <a:pt x="614" y="170"/>
                  </a:lnTo>
                  <a:lnTo>
                    <a:pt x="612" y="164"/>
                  </a:lnTo>
                  <a:lnTo>
                    <a:pt x="602" y="159"/>
                  </a:lnTo>
                  <a:lnTo>
                    <a:pt x="593" y="159"/>
                  </a:lnTo>
                  <a:lnTo>
                    <a:pt x="584" y="159"/>
                  </a:lnTo>
                  <a:lnTo>
                    <a:pt x="577" y="160"/>
                  </a:lnTo>
                  <a:lnTo>
                    <a:pt x="567" y="164"/>
                  </a:lnTo>
                  <a:lnTo>
                    <a:pt x="560" y="164"/>
                  </a:lnTo>
                  <a:lnTo>
                    <a:pt x="556" y="164"/>
                  </a:lnTo>
                  <a:lnTo>
                    <a:pt x="553" y="162"/>
                  </a:lnTo>
                  <a:lnTo>
                    <a:pt x="551" y="160"/>
                  </a:lnTo>
                  <a:lnTo>
                    <a:pt x="547" y="157"/>
                  </a:lnTo>
                  <a:lnTo>
                    <a:pt x="545" y="151"/>
                  </a:lnTo>
                  <a:lnTo>
                    <a:pt x="545" y="146"/>
                  </a:lnTo>
                  <a:lnTo>
                    <a:pt x="547" y="142"/>
                  </a:lnTo>
                  <a:lnTo>
                    <a:pt x="549" y="138"/>
                  </a:lnTo>
                  <a:lnTo>
                    <a:pt x="554" y="129"/>
                  </a:lnTo>
                  <a:lnTo>
                    <a:pt x="560" y="120"/>
                  </a:lnTo>
                  <a:lnTo>
                    <a:pt x="560" y="101"/>
                  </a:lnTo>
                  <a:lnTo>
                    <a:pt x="560" y="85"/>
                  </a:lnTo>
                  <a:lnTo>
                    <a:pt x="567" y="74"/>
                  </a:lnTo>
                  <a:lnTo>
                    <a:pt x="580" y="61"/>
                  </a:lnTo>
                  <a:lnTo>
                    <a:pt x="582" y="50"/>
                  </a:lnTo>
                  <a:lnTo>
                    <a:pt x="584" y="42"/>
                  </a:lnTo>
                  <a:lnTo>
                    <a:pt x="588" y="38"/>
                  </a:lnTo>
                  <a:lnTo>
                    <a:pt x="590" y="35"/>
                  </a:lnTo>
                  <a:lnTo>
                    <a:pt x="595" y="33"/>
                  </a:lnTo>
                  <a:lnTo>
                    <a:pt x="599" y="29"/>
                  </a:lnTo>
                  <a:lnTo>
                    <a:pt x="597" y="24"/>
                  </a:lnTo>
                  <a:lnTo>
                    <a:pt x="595" y="18"/>
                  </a:lnTo>
                  <a:lnTo>
                    <a:pt x="597" y="13"/>
                  </a:lnTo>
                  <a:lnTo>
                    <a:pt x="599" y="9"/>
                  </a:lnTo>
                  <a:lnTo>
                    <a:pt x="599" y="7"/>
                  </a:lnTo>
                  <a:lnTo>
                    <a:pt x="599" y="5"/>
                  </a:lnTo>
                  <a:lnTo>
                    <a:pt x="597" y="3"/>
                  </a:lnTo>
                  <a:lnTo>
                    <a:pt x="595" y="2"/>
                  </a:lnTo>
                  <a:lnTo>
                    <a:pt x="588" y="0"/>
                  </a:lnTo>
                  <a:lnTo>
                    <a:pt x="577" y="0"/>
                  </a:lnTo>
                  <a:lnTo>
                    <a:pt x="562" y="3"/>
                  </a:lnTo>
                  <a:lnTo>
                    <a:pt x="549" y="7"/>
                  </a:lnTo>
                  <a:lnTo>
                    <a:pt x="523" y="16"/>
                  </a:lnTo>
                  <a:lnTo>
                    <a:pt x="510" y="22"/>
                  </a:lnTo>
                  <a:lnTo>
                    <a:pt x="488" y="31"/>
                  </a:lnTo>
                  <a:lnTo>
                    <a:pt x="466" y="42"/>
                  </a:lnTo>
                  <a:lnTo>
                    <a:pt x="447" y="51"/>
                  </a:lnTo>
                  <a:lnTo>
                    <a:pt x="442" y="59"/>
                  </a:lnTo>
                  <a:lnTo>
                    <a:pt x="445" y="70"/>
                  </a:lnTo>
                  <a:lnTo>
                    <a:pt x="445" y="81"/>
                  </a:lnTo>
                  <a:lnTo>
                    <a:pt x="436" y="85"/>
                  </a:lnTo>
                  <a:lnTo>
                    <a:pt x="427" y="85"/>
                  </a:lnTo>
                  <a:lnTo>
                    <a:pt x="416" y="83"/>
                  </a:lnTo>
                  <a:lnTo>
                    <a:pt x="401" y="83"/>
                  </a:lnTo>
                  <a:lnTo>
                    <a:pt x="386" y="90"/>
                  </a:lnTo>
                  <a:lnTo>
                    <a:pt x="368" y="98"/>
                  </a:lnTo>
                  <a:lnTo>
                    <a:pt x="357" y="96"/>
                  </a:lnTo>
                  <a:lnTo>
                    <a:pt x="348" y="98"/>
                  </a:lnTo>
                  <a:lnTo>
                    <a:pt x="342" y="99"/>
                  </a:lnTo>
                  <a:lnTo>
                    <a:pt x="336" y="103"/>
                  </a:lnTo>
                  <a:lnTo>
                    <a:pt x="329" y="114"/>
                  </a:lnTo>
                  <a:lnTo>
                    <a:pt x="316" y="123"/>
                  </a:lnTo>
                  <a:lnTo>
                    <a:pt x="298" y="118"/>
                  </a:lnTo>
                  <a:lnTo>
                    <a:pt x="279" y="112"/>
                  </a:lnTo>
                  <a:lnTo>
                    <a:pt x="255" y="120"/>
                  </a:lnTo>
                  <a:lnTo>
                    <a:pt x="233" y="127"/>
                  </a:lnTo>
                  <a:lnTo>
                    <a:pt x="227" y="125"/>
                  </a:lnTo>
                  <a:lnTo>
                    <a:pt x="222" y="123"/>
                  </a:lnTo>
                  <a:lnTo>
                    <a:pt x="218" y="118"/>
                  </a:lnTo>
                  <a:lnTo>
                    <a:pt x="211" y="114"/>
                  </a:lnTo>
                  <a:lnTo>
                    <a:pt x="205" y="109"/>
                  </a:lnTo>
                  <a:lnTo>
                    <a:pt x="196" y="105"/>
                  </a:lnTo>
                  <a:lnTo>
                    <a:pt x="187" y="101"/>
                  </a:lnTo>
                  <a:lnTo>
                    <a:pt x="172" y="101"/>
                  </a:lnTo>
                  <a:lnTo>
                    <a:pt x="146" y="105"/>
                  </a:lnTo>
                  <a:lnTo>
                    <a:pt x="126" y="107"/>
                  </a:lnTo>
                  <a:lnTo>
                    <a:pt x="113" y="99"/>
                  </a:lnTo>
                  <a:lnTo>
                    <a:pt x="100" y="92"/>
                  </a:lnTo>
                  <a:lnTo>
                    <a:pt x="76" y="88"/>
                  </a:lnTo>
                  <a:lnTo>
                    <a:pt x="65" y="85"/>
                  </a:lnTo>
                  <a:lnTo>
                    <a:pt x="50" y="92"/>
                  </a:lnTo>
                  <a:lnTo>
                    <a:pt x="39" y="96"/>
                  </a:lnTo>
                  <a:lnTo>
                    <a:pt x="26" y="98"/>
                  </a:lnTo>
                  <a:lnTo>
                    <a:pt x="9" y="99"/>
                  </a:lnTo>
                  <a:lnTo>
                    <a:pt x="6" y="109"/>
                  </a:lnTo>
                  <a:lnTo>
                    <a:pt x="2" y="118"/>
                  </a:lnTo>
                  <a:lnTo>
                    <a:pt x="0" y="123"/>
                  </a:lnTo>
                  <a:lnTo>
                    <a:pt x="2" y="129"/>
                  </a:lnTo>
                  <a:lnTo>
                    <a:pt x="19" y="136"/>
                  </a:lnTo>
                  <a:lnTo>
                    <a:pt x="39" y="146"/>
                  </a:lnTo>
                  <a:lnTo>
                    <a:pt x="39" y="153"/>
                  </a:lnTo>
                  <a:lnTo>
                    <a:pt x="35" y="160"/>
                  </a:lnTo>
                  <a:lnTo>
                    <a:pt x="33" y="164"/>
                  </a:lnTo>
                  <a:lnTo>
                    <a:pt x="32" y="168"/>
                  </a:lnTo>
                  <a:lnTo>
                    <a:pt x="33" y="172"/>
                  </a:lnTo>
                  <a:lnTo>
                    <a:pt x="35" y="175"/>
                  </a:lnTo>
                  <a:lnTo>
                    <a:pt x="43" y="177"/>
                  </a:lnTo>
                  <a:lnTo>
                    <a:pt x="48" y="177"/>
                  </a:lnTo>
                  <a:lnTo>
                    <a:pt x="54" y="173"/>
                  </a:lnTo>
                  <a:lnTo>
                    <a:pt x="59" y="168"/>
                  </a:lnTo>
                  <a:lnTo>
                    <a:pt x="63" y="162"/>
                  </a:lnTo>
                  <a:lnTo>
                    <a:pt x="70" y="159"/>
                  </a:lnTo>
                  <a:lnTo>
                    <a:pt x="76" y="157"/>
                  </a:lnTo>
                  <a:lnTo>
                    <a:pt x="82" y="159"/>
                  </a:lnTo>
                  <a:lnTo>
                    <a:pt x="87" y="162"/>
                  </a:lnTo>
                  <a:lnTo>
                    <a:pt x="89" y="168"/>
                  </a:lnTo>
                  <a:lnTo>
                    <a:pt x="89" y="175"/>
                  </a:lnTo>
                  <a:lnTo>
                    <a:pt x="91" y="183"/>
                  </a:lnTo>
                  <a:lnTo>
                    <a:pt x="91" y="190"/>
                  </a:lnTo>
                  <a:lnTo>
                    <a:pt x="93" y="196"/>
                  </a:lnTo>
                  <a:lnTo>
                    <a:pt x="96" y="199"/>
                  </a:lnTo>
                  <a:lnTo>
                    <a:pt x="102" y="201"/>
                  </a:lnTo>
                  <a:lnTo>
                    <a:pt x="111" y="194"/>
                  </a:lnTo>
                  <a:lnTo>
                    <a:pt x="118" y="184"/>
                  </a:lnTo>
                  <a:lnTo>
                    <a:pt x="124" y="186"/>
                  </a:lnTo>
                  <a:lnTo>
                    <a:pt x="128" y="190"/>
                  </a:lnTo>
                  <a:lnTo>
                    <a:pt x="130" y="194"/>
                  </a:lnTo>
                  <a:lnTo>
                    <a:pt x="133" y="197"/>
                  </a:lnTo>
                  <a:lnTo>
                    <a:pt x="135" y="208"/>
                  </a:lnTo>
                  <a:lnTo>
                    <a:pt x="135" y="221"/>
                  </a:lnTo>
                  <a:lnTo>
                    <a:pt x="128" y="242"/>
                  </a:lnTo>
                  <a:lnTo>
                    <a:pt x="124" y="258"/>
                  </a:lnTo>
                  <a:lnTo>
                    <a:pt x="131" y="258"/>
                  </a:lnTo>
                  <a:lnTo>
                    <a:pt x="141" y="257"/>
                  </a:lnTo>
                  <a:lnTo>
                    <a:pt x="146" y="257"/>
                  </a:lnTo>
                  <a:lnTo>
                    <a:pt x="152" y="258"/>
                  </a:lnTo>
                  <a:lnTo>
                    <a:pt x="157" y="262"/>
                  </a:lnTo>
                  <a:lnTo>
                    <a:pt x="161" y="271"/>
                  </a:lnTo>
                  <a:lnTo>
                    <a:pt x="157" y="281"/>
                  </a:lnTo>
                  <a:lnTo>
                    <a:pt x="152" y="292"/>
                  </a:lnTo>
                  <a:lnTo>
                    <a:pt x="148" y="297"/>
                  </a:lnTo>
                  <a:lnTo>
                    <a:pt x="146" y="303"/>
                  </a:lnTo>
                  <a:lnTo>
                    <a:pt x="146" y="308"/>
                  </a:lnTo>
                  <a:lnTo>
                    <a:pt x="148" y="316"/>
                  </a:lnTo>
                  <a:lnTo>
                    <a:pt x="161" y="323"/>
                  </a:lnTo>
                  <a:lnTo>
                    <a:pt x="178" y="327"/>
                  </a:lnTo>
                  <a:lnTo>
                    <a:pt x="192" y="36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49" name="Freeform 25"/>
            <p:cNvSpPr>
              <a:spLocks/>
            </p:cNvSpPr>
            <p:nvPr/>
          </p:nvSpPr>
          <p:spPr bwMode="auto">
            <a:xfrm>
              <a:off x="5429910" y="2616688"/>
              <a:ext cx="345948" cy="423916"/>
            </a:xfrm>
            <a:custGeom>
              <a:avLst/>
              <a:gdLst>
                <a:gd name="T0" fmla="*/ 52 w 663"/>
                <a:gd name="T1" fmla="*/ 827 h 833"/>
                <a:gd name="T2" fmla="*/ 113 w 663"/>
                <a:gd name="T3" fmla="*/ 831 h 833"/>
                <a:gd name="T4" fmla="*/ 176 w 663"/>
                <a:gd name="T5" fmla="*/ 831 h 833"/>
                <a:gd name="T6" fmla="*/ 292 w 663"/>
                <a:gd name="T7" fmla="*/ 761 h 833"/>
                <a:gd name="T8" fmla="*/ 346 w 663"/>
                <a:gd name="T9" fmla="*/ 707 h 833"/>
                <a:gd name="T10" fmla="*/ 381 w 663"/>
                <a:gd name="T11" fmla="*/ 705 h 833"/>
                <a:gd name="T12" fmla="*/ 455 w 663"/>
                <a:gd name="T13" fmla="*/ 702 h 833"/>
                <a:gd name="T14" fmla="*/ 512 w 663"/>
                <a:gd name="T15" fmla="*/ 722 h 833"/>
                <a:gd name="T16" fmla="*/ 569 w 663"/>
                <a:gd name="T17" fmla="*/ 693 h 833"/>
                <a:gd name="T18" fmla="*/ 612 w 663"/>
                <a:gd name="T19" fmla="*/ 669 h 833"/>
                <a:gd name="T20" fmla="*/ 610 w 663"/>
                <a:gd name="T21" fmla="*/ 643 h 833"/>
                <a:gd name="T22" fmla="*/ 604 w 663"/>
                <a:gd name="T23" fmla="*/ 572 h 833"/>
                <a:gd name="T24" fmla="*/ 625 w 663"/>
                <a:gd name="T25" fmla="*/ 502 h 833"/>
                <a:gd name="T26" fmla="*/ 619 w 663"/>
                <a:gd name="T27" fmla="*/ 449 h 833"/>
                <a:gd name="T28" fmla="*/ 584 w 663"/>
                <a:gd name="T29" fmla="*/ 421 h 833"/>
                <a:gd name="T30" fmla="*/ 628 w 663"/>
                <a:gd name="T31" fmla="*/ 377 h 833"/>
                <a:gd name="T32" fmla="*/ 649 w 663"/>
                <a:gd name="T33" fmla="*/ 314 h 833"/>
                <a:gd name="T34" fmla="*/ 619 w 663"/>
                <a:gd name="T35" fmla="*/ 284 h 833"/>
                <a:gd name="T36" fmla="*/ 623 w 663"/>
                <a:gd name="T37" fmla="*/ 245 h 833"/>
                <a:gd name="T38" fmla="*/ 599 w 663"/>
                <a:gd name="T39" fmla="*/ 229 h 833"/>
                <a:gd name="T40" fmla="*/ 599 w 663"/>
                <a:gd name="T41" fmla="*/ 177 h 833"/>
                <a:gd name="T42" fmla="*/ 567 w 663"/>
                <a:gd name="T43" fmla="*/ 186 h 833"/>
                <a:gd name="T44" fmla="*/ 560 w 663"/>
                <a:gd name="T45" fmla="*/ 155 h 833"/>
                <a:gd name="T46" fmla="*/ 534 w 663"/>
                <a:gd name="T47" fmla="*/ 149 h 833"/>
                <a:gd name="T48" fmla="*/ 506 w 663"/>
                <a:gd name="T49" fmla="*/ 162 h 833"/>
                <a:gd name="T50" fmla="*/ 510 w 663"/>
                <a:gd name="T51" fmla="*/ 140 h 833"/>
                <a:gd name="T52" fmla="*/ 473 w 663"/>
                <a:gd name="T53" fmla="*/ 105 h 833"/>
                <a:gd name="T54" fmla="*/ 473 w 663"/>
                <a:gd name="T55" fmla="*/ 88 h 833"/>
                <a:gd name="T56" fmla="*/ 449 w 663"/>
                <a:gd name="T57" fmla="*/ 64 h 833"/>
                <a:gd name="T58" fmla="*/ 432 w 663"/>
                <a:gd name="T59" fmla="*/ 50 h 833"/>
                <a:gd name="T60" fmla="*/ 416 w 663"/>
                <a:gd name="T61" fmla="*/ 29 h 833"/>
                <a:gd name="T62" fmla="*/ 397 w 663"/>
                <a:gd name="T63" fmla="*/ 3 h 833"/>
                <a:gd name="T64" fmla="*/ 379 w 663"/>
                <a:gd name="T65" fmla="*/ 11 h 833"/>
                <a:gd name="T66" fmla="*/ 346 w 663"/>
                <a:gd name="T67" fmla="*/ 5 h 833"/>
                <a:gd name="T68" fmla="*/ 342 w 663"/>
                <a:gd name="T69" fmla="*/ 27 h 833"/>
                <a:gd name="T70" fmla="*/ 344 w 663"/>
                <a:gd name="T71" fmla="*/ 77 h 833"/>
                <a:gd name="T72" fmla="*/ 360 w 663"/>
                <a:gd name="T73" fmla="*/ 101 h 833"/>
                <a:gd name="T74" fmla="*/ 335 w 663"/>
                <a:gd name="T75" fmla="*/ 138 h 833"/>
                <a:gd name="T76" fmla="*/ 288 w 663"/>
                <a:gd name="T77" fmla="*/ 177 h 833"/>
                <a:gd name="T78" fmla="*/ 323 w 663"/>
                <a:gd name="T79" fmla="*/ 255 h 833"/>
                <a:gd name="T80" fmla="*/ 366 w 663"/>
                <a:gd name="T81" fmla="*/ 280 h 833"/>
                <a:gd name="T82" fmla="*/ 384 w 663"/>
                <a:gd name="T83" fmla="*/ 314 h 833"/>
                <a:gd name="T84" fmla="*/ 320 w 663"/>
                <a:gd name="T85" fmla="*/ 380 h 833"/>
                <a:gd name="T86" fmla="*/ 270 w 663"/>
                <a:gd name="T87" fmla="*/ 428 h 833"/>
                <a:gd name="T88" fmla="*/ 292 w 663"/>
                <a:gd name="T89" fmla="*/ 462 h 833"/>
                <a:gd name="T90" fmla="*/ 294 w 663"/>
                <a:gd name="T91" fmla="*/ 502 h 833"/>
                <a:gd name="T92" fmla="*/ 250 w 663"/>
                <a:gd name="T93" fmla="*/ 539 h 833"/>
                <a:gd name="T94" fmla="*/ 222 w 663"/>
                <a:gd name="T95" fmla="*/ 545 h 833"/>
                <a:gd name="T96" fmla="*/ 176 w 663"/>
                <a:gd name="T97" fmla="*/ 580 h 833"/>
                <a:gd name="T98" fmla="*/ 133 w 663"/>
                <a:gd name="T99" fmla="*/ 622 h 833"/>
                <a:gd name="T100" fmla="*/ 59 w 663"/>
                <a:gd name="T101" fmla="*/ 646 h 833"/>
                <a:gd name="T102" fmla="*/ 26 w 663"/>
                <a:gd name="T103" fmla="*/ 656 h 833"/>
                <a:gd name="T104" fmla="*/ 28 w 663"/>
                <a:gd name="T105" fmla="*/ 672 h 833"/>
                <a:gd name="T106" fmla="*/ 20 w 663"/>
                <a:gd name="T107" fmla="*/ 700 h 833"/>
                <a:gd name="T108" fmla="*/ 43 w 663"/>
                <a:gd name="T109" fmla="*/ 735 h 833"/>
                <a:gd name="T110" fmla="*/ 9 w 663"/>
                <a:gd name="T111" fmla="*/ 752 h 83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63"/>
                <a:gd name="T169" fmla="*/ 0 h 833"/>
                <a:gd name="T170" fmla="*/ 663 w 663"/>
                <a:gd name="T171" fmla="*/ 833 h 83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63" h="833">
                  <a:moveTo>
                    <a:pt x="4" y="792"/>
                  </a:moveTo>
                  <a:lnTo>
                    <a:pt x="19" y="805"/>
                  </a:lnTo>
                  <a:lnTo>
                    <a:pt x="33" y="818"/>
                  </a:lnTo>
                  <a:lnTo>
                    <a:pt x="41" y="824"/>
                  </a:lnTo>
                  <a:lnTo>
                    <a:pt x="52" y="827"/>
                  </a:lnTo>
                  <a:lnTo>
                    <a:pt x="65" y="829"/>
                  </a:lnTo>
                  <a:lnTo>
                    <a:pt x="81" y="827"/>
                  </a:lnTo>
                  <a:lnTo>
                    <a:pt x="94" y="826"/>
                  </a:lnTo>
                  <a:lnTo>
                    <a:pt x="104" y="827"/>
                  </a:lnTo>
                  <a:lnTo>
                    <a:pt x="113" y="831"/>
                  </a:lnTo>
                  <a:lnTo>
                    <a:pt x="124" y="833"/>
                  </a:lnTo>
                  <a:lnTo>
                    <a:pt x="135" y="829"/>
                  </a:lnTo>
                  <a:lnTo>
                    <a:pt x="148" y="822"/>
                  </a:lnTo>
                  <a:lnTo>
                    <a:pt x="161" y="827"/>
                  </a:lnTo>
                  <a:lnTo>
                    <a:pt x="176" y="831"/>
                  </a:lnTo>
                  <a:lnTo>
                    <a:pt x="200" y="815"/>
                  </a:lnTo>
                  <a:lnTo>
                    <a:pt x="224" y="798"/>
                  </a:lnTo>
                  <a:lnTo>
                    <a:pt x="251" y="792"/>
                  </a:lnTo>
                  <a:lnTo>
                    <a:pt x="279" y="785"/>
                  </a:lnTo>
                  <a:lnTo>
                    <a:pt x="292" y="761"/>
                  </a:lnTo>
                  <a:lnTo>
                    <a:pt x="301" y="739"/>
                  </a:lnTo>
                  <a:lnTo>
                    <a:pt x="318" y="728"/>
                  </a:lnTo>
                  <a:lnTo>
                    <a:pt x="333" y="720"/>
                  </a:lnTo>
                  <a:lnTo>
                    <a:pt x="340" y="715"/>
                  </a:lnTo>
                  <a:lnTo>
                    <a:pt x="346" y="707"/>
                  </a:lnTo>
                  <a:lnTo>
                    <a:pt x="351" y="704"/>
                  </a:lnTo>
                  <a:lnTo>
                    <a:pt x="359" y="700"/>
                  </a:lnTo>
                  <a:lnTo>
                    <a:pt x="366" y="700"/>
                  </a:lnTo>
                  <a:lnTo>
                    <a:pt x="373" y="704"/>
                  </a:lnTo>
                  <a:lnTo>
                    <a:pt x="381" y="705"/>
                  </a:lnTo>
                  <a:lnTo>
                    <a:pt x="388" y="711"/>
                  </a:lnTo>
                  <a:lnTo>
                    <a:pt x="401" y="718"/>
                  </a:lnTo>
                  <a:lnTo>
                    <a:pt x="414" y="722"/>
                  </a:lnTo>
                  <a:lnTo>
                    <a:pt x="436" y="713"/>
                  </a:lnTo>
                  <a:lnTo>
                    <a:pt x="455" y="702"/>
                  </a:lnTo>
                  <a:lnTo>
                    <a:pt x="468" y="704"/>
                  </a:lnTo>
                  <a:lnTo>
                    <a:pt x="480" y="707"/>
                  </a:lnTo>
                  <a:lnTo>
                    <a:pt x="492" y="713"/>
                  </a:lnTo>
                  <a:lnTo>
                    <a:pt x="501" y="718"/>
                  </a:lnTo>
                  <a:lnTo>
                    <a:pt x="512" y="722"/>
                  </a:lnTo>
                  <a:lnTo>
                    <a:pt x="525" y="726"/>
                  </a:lnTo>
                  <a:lnTo>
                    <a:pt x="538" y="726"/>
                  </a:lnTo>
                  <a:lnTo>
                    <a:pt x="553" y="724"/>
                  </a:lnTo>
                  <a:lnTo>
                    <a:pt x="560" y="709"/>
                  </a:lnTo>
                  <a:lnTo>
                    <a:pt x="569" y="693"/>
                  </a:lnTo>
                  <a:lnTo>
                    <a:pt x="580" y="687"/>
                  </a:lnTo>
                  <a:lnTo>
                    <a:pt x="595" y="681"/>
                  </a:lnTo>
                  <a:lnTo>
                    <a:pt x="602" y="678"/>
                  </a:lnTo>
                  <a:lnTo>
                    <a:pt x="608" y="674"/>
                  </a:lnTo>
                  <a:lnTo>
                    <a:pt x="612" y="669"/>
                  </a:lnTo>
                  <a:lnTo>
                    <a:pt x="615" y="661"/>
                  </a:lnTo>
                  <a:lnTo>
                    <a:pt x="615" y="656"/>
                  </a:lnTo>
                  <a:lnTo>
                    <a:pt x="613" y="650"/>
                  </a:lnTo>
                  <a:lnTo>
                    <a:pt x="612" y="646"/>
                  </a:lnTo>
                  <a:lnTo>
                    <a:pt x="610" y="643"/>
                  </a:lnTo>
                  <a:lnTo>
                    <a:pt x="604" y="637"/>
                  </a:lnTo>
                  <a:lnTo>
                    <a:pt x="599" y="630"/>
                  </a:lnTo>
                  <a:lnTo>
                    <a:pt x="599" y="613"/>
                  </a:lnTo>
                  <a:lnTo>
                    <a:pt x="601" y="593"/>
                  </a:lnTo>
                  <a:lnTo>
                    <a:pt x="604" y="572"/>
                  </a:lnTo>
                  <a:lnTo>
                    <a:pt x="608" y="556"/>
                  </a:lnTo>
                  <a:lnTo>
                    <a:pt x="610" y="543"/>
                  </a:lnTo>
                  <a:lnTo>
                    <a:pt x="613" y="530"/>
                  </a:lnTo>
                  <a:lnTo>
                    <a:pt x="619" y="517"/>
                  </a:lnTo>
                  <a:lnTo>
                    <a:pt x="625" y="502"/>
                  </a:lnTo>
                  <a:lnTo>
                    <a:pt x="626" y="491"/>
                  </a:lnTo>
                  <a:lnTo>
                    <a:pt x="626" y="480"/>
                  </a:lnTo>
                  <a:lnTo>
                    <a:pt x="626" y="471"/>
                  </a:lnTo>
                  <a:lnTo>
                    <a:pt x="625" y="462"/>
                  </a:lnTo>
                  <a:lnTo>
                    <a:pt x="619" y="449"/>
                  </a:lnTo>
                  <a:lnTo>
                    <a:pt x="613" y="438"/>
                  </a:lnTo>
                  <a:lnTo>
                    <a:pt x="604" y="434"/>
                  </a:lnTo>
                  <a:lnTo>
                    <a:pt x="595" y="430"/>
                  </a:lnTo>
                  <a:lnTo>
                    <a:pt x="588" y="426"/>
                  </a:lnTo>
                  <a:lnTo>
                    <a:pt x="584" y="421"/>
                  </a:lnTo>
                  <a:lnTo>
                    <a:pt x="586" y="414"/>
                  </a:lnTo>
                  <a:lnTo>
                    <a:pt x="589" y="406"/>
                  </a:lnTo>
                  <a:lnTo>
                    <a:pt x="599" y="399"/>
                  </a:lnTo>
                  <a:lnTo>
                    <a:pt x="608" y="391"/>
                  </a:lnTo>
                  <a:lnTo>
                    <a:pt x="628" y="377"/>
                  </a:lnTo>
                  <a:lnTo>
                    <a:pt x="643" y="365"/>
                  </a:lnTo>
                  <a:lnTo>
                    <a:pt x="654" y="354"/>
                  </a:lnTo>
                  <a:lnTo>
                    <a:pt x="663" y="347"/>
                  </a:lnTo>
                  <a:lnTo>
                    <a:pt x="649" y="314"/>
                  </a:lnTo>
                  <a:lnTo>
                    <a:pt x="632" y="310"/>
                  </a:lnTo>
                  <a:lnTo>
                    <a:pt x="619" y="303"/>
                  </a:lnTo>
                  <a:lnTo>
                    <a:pt x="617" y="295"/>
                  </a:lnTo>
                  <a:lnTo>
                    <a:pt x="617" y="290"/>
                  </a:lnTo>
                  <a:lnTo>
                    <a:pt x="619" y="284"/>
                  </a:lnTo>
                  <a:lnTo>
                    <a:pt x="623" y="279"/>
                  </a:lnTo>
                  <a:lnTo>
                    <a:pt x="628" y="268"/>
                  </a:lnTo>
                  <a:lnTo>
                    <a:pt x="632" y="258"/>
                  </a:lnTo>
                  <a:lnTo>
                    <a:pt x="628" y="249"/>
                  </a:lnTo>
                  <a:lnTo>
                    <a:pt x="623" y="245"/>
                  </a:lnTo>
                  <a:lnTo>
                    <a:pt x="617" y="244"/>
                  </a:lnTo>
                  <a:lnTo>
                    <a:pt x="612" y="244"/>
                  </a:lnTo>
                  <a:lnTo>
                    <a:pt x="602" y="245"/>
                  </a:lnTo>
                  <a:lnTo>
                    <a:pt x="595" y="245"/>
                  </a:lnTo>
                  <a:lnTo>
                    <a:pt x="599" y="229"/>
                  </a:lnTo>
                  <a:lnTo>
                    <a:pt x="606" y="208"/>
                  </a:lnTo>
                  <a:lnTo>
                    <a:pt x="606" y="195"/>
                  </a:lnTo>
                  <a:lnTo>
                    <a:pt x="604" y="184"/>
                  </a:lnTo>
                  <a:lnTo>
                    <a:pt x="601" y="181"/>
                  </a:lnTo>
                  <a:lnTo>
                    <a:pt x="599" y="177"/>
                  </a:lnTo>
                  <a:lnTo>
                    <a:pt x="595" y="173"/>
                  </a:lnTo>
                  <a:lnTo>
                    <a:pt x="589" y="171"/>
                  </a:lnTo>
                  <a:lnTo>
                    <a:pt x="582" y="181"/>
                  </a:lnTo>
                  <a:lnTo>
                    <a:pt x="573" y="188"/>
                  </a:lnTo>
                  <a:lnTo>
                    <a:pt x="567" y="186"/>
                  </a:lnTo>
                  <a:lnTo>
                    <a:pt x="564" y="183"/>
                  </a:lnTo>
                  <a:lnTo>
                    <a:pt x="562" y="177"/>
                  </a:lnTo>
                  <a:lnTo>
                    <a:pt x="562" y="170"/>
                  </a:lnTo>
                  <a:lnTo>
                    <a:pt x="560" y="162"/>
                  </a:lnTo>
                  <a:lnTo>
                    <a:pt x="560" y="155"/>
                  </a:lnTo>
                  <a:lnTo>
                    <a:pt x="558" y="149"/>
                  </a:lnTo>
                  <a:lnTo>
                    <a:pt x="553" y="146"/>
                  </a:lnTo>
                  <a:lnTo>
                    <a:pt x="547" y="144"/>
                  </a:lnTo>
                  <a:lnTo>
                    <a:pt x="541" y="146"/>
                  </a:lnTo>
                  <a:lnTo>
                    <a:pt x="534" y="149"/>
                  </a:lnTo>
                  <a:lnTo>
                    <a:pt x="530" y="155"/>
                  </a:lnTo>
                  <a:lnTo>
                    <a:pt x="525" y="160"/>
                  </a:lnTo>
                  <a:lnTo>
                    <a:pt x="519" y="164"/>
                  </a:lnTo>
                  <a:lnTo>
                    <a:pt x="514" y="164"/>
                  </a:lnTo>
                  <a:lnTo>
                    <a:pt x="506" y="162"/>
                  </a:lnTo>
                  <a:lnTo>
                    <a:pt x="504" y="159"/>
                  </a:lnTo>
                  <a:lnTo>
                    <a:pt x="503" y="155"/>
                  </a:lnTo>
                  <a:lnTo>
                    <a:pt x="504" y="151"/>
                  </a:lnTo>
                  <a:lnTo>
                    <a:pt x="506" y="147"/>
                  </a:lnTo>
                  <a:lnTo>
                    <a:pt x="510" y="140"/>
                  </a:lnTo>
                  <a:lnTo>
                    <a:pt x="510" y="133"/>
                  </a:lnTo>
                  <a:lnTo>
                    <a:pt x="490" y="123"/>
                  </a:lnTo>
                  <a:lnTo>
                    <a:pt x="473" y="116"/>
                  </a:lnTo>
                  <a:lnTo>
                    <a:pt x="471" y="110"/>
                  </a:lnTo>
                  <a:lnTo>
                    <a:pt x="473" y="105"/>
                  </a:lnTo>
                  <a:lnTo>
                    <a:pt x="477" y="96"/>
                  </a:lnTo>
                  <a:lnTo>
                    <a:pt x="480" y="86"/>
                  </a:lnTo>
                  <a:lnTo>
                    <a:pt x="477" y="88"/>
                  </a:lnTo>
                  <a:lnTo>
                    <a:pt x="473" y="88"/>
                  </a:lnTo>
                  <a:lnTo>
                    <a:pt x="462" y="86"/>
                  </a:lnTo>
                  <a:lnTo>
                    <a:pt x="455" y="83"/>
                  </a:lnTo>
                  <a:lnTo>
                    <a:pt x="451" y="77"/>
                  </a:lnTo>
                  <a:lnTo>
                    <a:pt x="449" y="70"/>
                  </a:lnTo>
                  <a:lnTo>
                    <a:pt x="449" y="64"/>
                  </a:lnTo>
                  <a:lnTo>
                    <a:pt x="449" y="57"/>
                  </a:lnTo>
                  <a:lnTo>
                    <a:pt x="447" y="51"/>
                  </a:lnTo>
                  <a:lnTo>
                    <a:pt x="445" y="48"/>
                  </a:lnTo>
                  <a:lnTo>
                    <a:pt x="440" y="48"/>
                  </a:lnTo>
                  <a:lnTo>
                    <a:pt x="432" y="50"/>
                  </a:lnTo>
                  <a:lnTo>
                    <a:pt x="429" y="51"/>
                  </a:lnTo>
                  <a:lnTo>
                    <a:pt x="425" y="50"/>
                  </a:lnTo>
                  <a:lnTo>
                    <a:pt x="421" y="48"/>
                  </a:lnTo>
                  <a:lnTo>
                    <a:pt x="418" y="44"/>
                  </a:lnTo>
                  <a:lnTo>
                    <a:pt x="416" y="29"/>
                  </a:lnTo>
                  <a:lnTo>
                    <a:pt x="416" y="14"/>
                  </a:lnTo>
                  <a:lnTo>
                    <a:pt x="412" y="11"/>
                  </a:lnTo>
                  <a:lnTo>
                    <a:pt x="408" y="7"/>
                  </a:lnTo>
                  <a:lnTo>
                    <a:pt x="403" y="5"/>
                  </a:lnTo>
                  <a:lnTo>
                    <a:pt x="397" y="3"/>
                  </a:lnTo>
                  <a:lnTo>
                    <a:pt x="392" y="9"/>
                  </a:lnTo>
                  <a:lnTo>
                    <a:pt x="388" y="14"/>
                  </a:lnTo>
                  <a:lnTo>
                    <a:pt x="379" y="11"/>
                  </a:lnTo>
                  <a:lnTo>
                    <a:pt x="371" y="3"/>
                  </a:lnTo>
                  <a:lnTo>
                    <a:pt x="366" y="1"/>
                  </a:lnTo>
                  <a:lnTo>
                    <a:pt x="360" y="0"/>
                  </a:lnTo>
                  <a:lnTo>
                    <a:pt x="355" y="0"/>
                  </a:lnTo>
                  <a:lnTo>
                    <a:pt x="346" y="5"/>
                  </a:lnTo>
                  <a:lnTo>
                    <a:pt x="344" y="7"/>
                  </a:lnTo>
                  <a:lnTo>
                    <a:pt x="342" y="11"/>
                  </a:lnTo>
                  <a:lnTo>
                    <a:pt x="340" y="14"/>
                  </a:lnTo>
                  <a:lnTo>
                    <a:pt x="340" y="18"/>
                  </a:lnTo>
                  <a:lnTo>
                    <a:pt x="342" y="27"/>
                  </a:lnTo>
                  <a:lnTo>
                    <a:pt x="346" y="40"/>
                  </a:lnTo>
                  <a:lnTo>
                    <a:pt x="340" y="50"/>
                  </a:lnTo>
                  <a:lnTo>
                    <a:pt x="335" y="62"/>
                  </a:lnTo>
                  <a:lnTo>
                    <a:pt x="338" y="70"/>
                  </a:lnTo>
                  <a:lnTo>
                    <a:pt x="344" y="77"/>
                  </a:lnTo>
                  <a:lnTo>
                    <a:pt x="344" y="86"/>
                  </a:lnTo>
                  <a:lnTo>
                    <a:pt x="346" y="96"/>
                  </a:lnTo>
                  <a:lnTo>
                    <a:pt x="351" y="99"/>
                  </a:lnTo>
                  <a:lnTo>
                    <a:pt x="359" y="99"/>
                  </a:lnTo>
                  <a:lnTo>
                    <a:pt x="360" y="101"/>
                  </a:lnTo>
                  <a:lnTo>
                    <a:pt x="364" y="105"/>
                  </a:lnTo>
                  <a:lnTo>
                    <a:pt x="366" y="110"/>
                  </a:lnTo>
                  <a:lnTo>
                    <a:pt x="368" y="123"/>
                  </a:lnTo>
                  <a:lnTo>
                    <a:pt x="357" y="129"/>
                  </a:lnTo>
                  <a:lnTo>
                    <a:pt x="335" y="138"/>
                  </a:lnTo>
                  <a:lnTo>
                    <a:pt x="309" y="146"/>
                  </a:lnTo>
                  <a:lnTo>
                    <a:pt x="292" y="149"/>
                  </a:lnTo>
                  <a:lnTo>
                    <a:pt x="288" y="159"/>
                  </a:lnTo>
                  <a:lnTo>
                    <a:pt x="287" y="168"/>
                  </a:lnTo>
                  <a:lnTo>
                    <a:pt x="288" y="177"/>
                  </a:lnTo>
                  <a:lnTo>
                    <a:pt x="292" y="186"/>
                  </a:lnTo>
                  <a:lnTo>
                    <a:pt x="301" y="205"/>
                  </a:lnTo>
                  <a:lnTo>
                    <a:pt x="309" y="221"/>
                  </a:lnTo>
                  <a:lnTo>
                    <a:pt x="316" y="238"/>
                  </a:lnTo>
                  <a:lnTo>
                    <a:pt x="323" y="255"/>
                  </a:lnTo>
                  <a:lnTo>
                    <a:pt x="329" y="268"/>
                  </a:lnTo>
                  <a:lnTo>
                    <a:pt x="336" y="275"/>
                  </a:lnTo>
                  <a:lnTo>
                    <a:pt x="347" y="277"/>
                  </a:lnTo>
                  <a:lnTo>
                    <a:pt x="360" y="279"/>
                  </a:lnTo>
                  <a:lnTo>
                    <a:pt x="366" y="280"/>
                  </a:lnTo>
                  <a:lnTo>
                    <a:pt x="371" y="284"/>
                  </a:lnTo>
                  <a:lnTo>
                    <a:pt x="377" y="288"/>
                  </a:lnTo>
                  <a:lnTo>
                    <a:pt x="381" y="292"/>
                  </a:lnTo>
                  <a:lnTo>
                    <a:pt x="384" y="301"/>
                  </a:lnTo>
                  <a:lnTo>
                    <a:pt x="384" y="314"/>
                  </a:lnTo>
                  <a:lnTo>
                    <a:pt x="384" y="327"/>
                  </a:lnTo>
                  <a:lnTo>
                    <a:pt x="383" y="336"/>
                  </a:lnTo>
                  <a:lnTo>
                    <a:pt x="357" y="347"/>
                  </a:lnTo>
                  <a:lnTo>
                    <a:pt x="333" y="360"/>
                  </a:lnTo>
                  <a:lnTo>
                    <a:pt x="320" y="380"/>
                  </a:lnTo>
                  <a:lnTo>
                    <a:pt x="303" y="404"/>
                  </a:lnTo>
                  <a:lnTo>
                    <a:pt x="292" y="414"/>
                  </a:lnTo>
                  <a:lnTo>
                    <a:pt x="281" y="421"/>
                  </a:lnTo>
                  <a:lnTo>
                    <a:pt x="275" y="425"/>
                  </a:lnTo>
                  <a:lnTo>
                    <a:pt x="270" y="428"/>
                  </a:lnTo>
                  <a:lnTo>
                    <a:pt x="264" y="434"/>
                  </a:lnTo>
                  <a:lnTo>
                    <a:pt x="262" y="439"/>
                  </a:lnTo>
                  <a:lnTo>
                    <a:pt x="272" y="449"/>
                  </a:lnTo>
                  <a:lnTo>
                    <a:pt x="285" y="456"/>
                  </a:lnTo>
                  <a:lnTo>
                    <a:pt x="292" y="462"/>
                  </a:lnTo>
                  <a:lnTo>
                    <a:pt x="298" y="465"/>
                  </a:lnTo>
                  <a:lnTo>
                    <a:pt x="301" y="471"/>
                  </a:lnTo>
                  <a:lnTo>
                    <a:pt x="303" y="476"/>
                  </a:lnTo>
                  <a:lnTo>
                    <a:pt x="301" y="487"/>
                  </a:lnTo>
                  <a:lnTo>
                    <a:pt x="294" y="502"/>
                  </a:lnTo>
                  <a:lnTo>
                    <a:pt x="287" y="517"/>
                  </a:lnTo>
                  <a:lnTo>
                    <a:pt x="281" y="526"/>
                  </a:lnTo>
                  <a:lnTo>
                    <a:pt x="268" y="532"/>
                  </a:lnTo>
                  <a:lnTo>
                    <a:pt x="257" y="534"/>
                  </a:lnTo>
                  <a:lnTo>
                    <a:pt x="250" y="539"/>
                  </a:lnTo>
                  <a:lnTo>
                    <a:pt x="244" y="545"/>
                  </a:lnTo>
                  <a:lnTo>
                    <a:pt x="238" y="545"/>
                  </a:lnTo>
                  <a:lnTo>
                    <a:pt x="233" y="545"/>
                  </a:lnTo>
                  <a:lnTo>
                    <a:pt x="227" y="543"/>
                  </a:lnTo>
                  <a:lnTo>
                    <a:pt x="222" y="545"/>
                  </a:lnTo>
                  <a:lnTo>
                    <a:pt x="214" y="554"/>
                  </a:lnTo>
                  <a:lnTo>
                    <a:pt x="209" y="563"/>
                  </a:lnTo>
                  <a:lnTo>
                    <a:pt x="198" y="565"/>
                  </a:lnTo>
                  <a:lnTo>
                    <a:pt x="187" y="567"/>
                  </a:lnTo>
                  <a:lnTo>
                    <a:pt x="176" y="580"/>
                  </a:lnTo>
                  <a:lnTo>
                    <a:pt x="168" y="593"/>
                  </a:lnTo>
                  <a:lnTo>
                    <a:pt x="161" y="596"/>
                  </a:lnTo>
                  <a:lnTo>
                    <a:pt x="150" y="602"/>
                  </a:lnTo>
                  <a:lnTo>
                    <a:pt x="142" y="611"/>
                  </a:lnTo>
                  <a:lnTo>
                    <a:pt x="133" y="622"/>
                  </a:lnTo>
                  <a:lnTo>
                    <a:pt x="120" y="620"/>
                  </a:lnTo>
                  <a:lnTo>
                    <a:pt x="104" y="619"/>
                  </a:lnTo>
                  <a:lnTo>
                    <a:pt x="87" y="632"/>
                  </a:lnTo>
                  <a:lnTo>
                    <a:pt x="70" y="643"/>
                  </a:lnTo>
                  <a:lnTo>
                    <a:pt x="59" y="646"/>
                  </a:lnTo>
                  <a:lnTo>
                    <a:pt x="50" y="648"/>
                  </a:lnTo>
                  <a:lnTo>
                    <a:pt x="41" y="648"/>
                  </a:lnTo>
                  <a:lnTo>
                    <a:pt x="33" y="650"/>
                  </a:lnTo>
                  <a:lnTo>
                    <a:pt x="30" y="652"/>
                  </a:lnTo>
                  <a:lnTo>
                    <a:pt x="26" y="656"/>
                  </a:lnTo>
                  <a:lnTo>
                    <a:pt x="24" y="661"/>
                  </a:lnTo>
                  <a:lnTo>
                    <a:pt x="22" y="665"/>
                  </a:lnTo>
                  <a:lnTo>
                    <a:pt x="24" y="669"/>
                  </a:lnTo>
                  <a:lnTo>
                    <a:pt x="26" y="670"/>
                  </a:lnTo>
                  <a:lnTo>
                    <a:pt x="28" y="672"/>
                  </a:lnTo>
                  <a:lnTo>
                    <a:pt x="30" y="674"/>
                  </a:lnTo>
                  <a:lnTo>
                    <a:pt x="32" y="676"/>
                  </a:lnTo>
                  <a:lnTo>
                    <a:pt x="32" y="678"/>
                  </a:lnTo>
                  <a:lnTo>
                    <a:pt x="24" y="687"/>
                  </a:lnTo>
                  <a:lnTo>
                    <a:pt x="20" y="700"/>
                  </a:lnTo>
                  <a:lnTo>
                    <a:pt x="17" y="711"/>
                  </a:lnTo>
                  <a:lnTo>
                    <a:pt x="13" y="724"/>
                  </a:lnTo>
                  <a:lnTo>
                    <a:pt x="28" y="728"/>
                  </a:lnTo>
                  <a:lnTo>
                    <a:pt x="43" y="728"/>
                  </a:lnTo>
                  <a:lnTo>
                    <a:pt x="43" y="735"/>
                  </a:lnTo>
                  <a:lnTo>
                    <a:pt x="39" y="741"/>
                  </a:lnTo>
                  <a:lnTo>
                    <a:pt x="32" y="744"/>
                  </a:lnTo>
                  <a:lnTo>
                    <a:pt x="24" y="746"/>
                  </a:lnTo>
                  <a:lnTo>
                    <a:pt x="17" y="750"/>
                  </a:lnTo>
                  <a:lnTo>
                    <a:pt x="9" y="752"/>
                  </a:lnTo>
                  <a:lnTo>
                    <a:pt x="4" y="755"/>
                  </a:lnTo>
                  <a:lnTo>
                    <a:pt x="0" y="759"/>
                  </a:lnTo>
                  <a:lnTo>
                    <a:pt x="0" y="772"/>
                  </a:lnTo>
                  <a:lnTo>
                    <a:pt x="4" y="79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0" name="Freeform 26"/>
            <p:cNvSpPr>
              <a:spLocks/>
            </p:cNvSpPr>
            <p:nvPr/>
          </p:nvSpPr>
          <p:spPr bwMode="auto">
            <a:xfrm>
              <a:off x="5315116" y="2765796"/>
              <a:ext cx="144015" cy="193892"/>
            </a:xfrm>
            <a:custGeom>
              <a:avLst/>
              <a:gdLst>
                <a:gd name="T0" fmla="*/ 174 w 276"/>
                <a:gd name="T1" fmla="*/ 200 h 381"/>
                <a:gd name="T2" fmla="*/ 144 w 276"/>
                <a:gd name="T3" fmla="*/ 252 h 381"/>
                <a:gd name="T4" fmla="*/ 119 w 276"/>
                <a:gd name="T5" fmla="*/ 287 h 381"/>
                <a:gd name="T6" fmla="*/ 83 w 276"/>
                <a:gd name="T7" fmla="*/ 324 h 381"/>
                <a:gd name="T8" fmla="*/ 65 w 276"/>
                <a:gd name="T9" fmla="*/ 340 h 381"/>
                <a:gd name="T10" fmla="*/ 54 w 276"/>
                <a:gd name="T11" fmla="*/ 339 h 381"/>
                <a:gd name="T12" fmla="*/ 41 w 276"/>
                <a:gd name="T13" fmla="*/ 329 h 381"/>
                <a:gd name="T14" fmla="*/ 34 w 276"/>
                <a:gd name="T15" fmla="*/ 333 h 381"/>
                <a:gd name="T16" fmla="*/ 39 w 276"/>
                <a:gd name="T17" fmla="*/ 342 h 381"/>
                <a:gd name="T18" fmla="*/ 45 w 276"/>
                <a:gd name="T19" fmla="*/ 350 h 381"/>
                <a:gd name="T20" fmla="*/ 41 w 276"/>
                <a:gd name="T21" fmla="*/ 353 h 381"/>
                <a:gd name="T22" fmla="*/ 32 w 276"/>
                <a:gd name="T23" fmla="*/ 357 h 381"/>
                <a:gd name="T24" fmla="*/ 13 w 276"/>
                <a:gd name="T25" fmla="*/ 359 h 381"/>
                <a:gd name="T26" fmla="*/ 4 w 276"/>
                <a:gd name="T27" fmla="*/ 363 h 381"/>
                <a:gd name="T28" fmla="*/ 0 w 276"/>
                <a:gd name="T29" fmla="*/ 366 h 381"/>
                <a:gd name="T30" fmla="*/ 2 w 276"/>
                <a:gd name="T31" fmla="*/ 374 h 381"/>
                <a:gd name="T32" fmla="*/ 11 w 276"/>
                <a:gd name="T33" fmla="*/ 379 h 381"/>
                <a:gd name="T34" fmla="*/ 35 w 276"/>
                <a:gd name="T35" fmla="*/ 381 h 381"/>
                <a:gd name="T36" fmla="*/ 65 w 276"/>
                <a:gd name="T37" fmla="*/ 377 h 381"/>
                <a:gd name="T38" fmla="*/ 95 w 276"/>
                <a:gd name="T39" fmla="*/ 364 h 381"/>
                <a:gd name="T40" fmla="*/ 119 w 276"/>
                <a:gd name="T41" fmla="*/ 329 h 381"/>
                <a:gd name="T42" fmla="*/ 139 w 276"/>
                <a:gd name="T43" fmla="*/ 302 h 381"/>
                <a:gd name="T44" fmla="*/ 156 w 276"/>
                <a:gd name="T45" fmla="*/ 292 h 381"/>
                <a:gd name="T46" fmla="*/ 165 w 276"/>
                <a:gd name="T47" fmla="*/ 283 h 381"/>
                <a:gd name="T48" fmla="*/ 187 w 276"/>
                <a:gd name="T49" fmla="*/ 270 h 381"/>
                <a:gd name="T50" fmla="*/ 213 w 276"/>
                <a:gd name="T51" fmla="*/ 248 h 381"/>
                <a:gd name="T52" fmla="*/ 231 w 276"/>
                <a:gd name="T53" fmla="*/ 220 h 381"/>
                <a:gd name="T54" fmla="*/ 235 w 276"/>
                <a:gd name="T55" fmla="*/ 198 h 381"/>
                <a:gd name="T56" fmla="*/ 229 w 276"/>
                <a:gd name="T57" fmla="*/ 180 h 381"/>
                <a:gd name="T58" fmla="*/ 240 w 276"/>
                <a:gd name="T59" fmla="*/ 172 h 381"/>
                <a:gd name="T60" fmla="*/ 248 w 276"/>
                <a:gd name="T61" fmla="*/ 176 h 381"/>
                <a:gd name="T62" fmla="*/ 248 w 276"/>
                <a:gd name="T63" fmla="*/ 183 h 381"/>
                <a:gd name="T64" fmla="*/ 250 w 276"/>
                <a:gd name="T65" fmla="*/ 187 h 381"/>
                <a:gd name="T66" fmla="*/ 261 w 276"/>
                <a:gd name="T67" fmla="*/ 169 h 381"/>
                <a:gd name="T68" fmla="*/ 268 w 276"/>
                <a:gd name="T69" fmla="*/ 128 h 381"/>
                <a:gd name="T70" fmla="*/ 268 w 276"/>
                <a:gd name="T71" fmla="*/ 102 h 381"/>
                <a:gd name="T72" fmla="*/ 272 w 276"/>
                <a:gd name="T73" fmla="*/ 71 h 381"/>
                <a:gd name="T74" fmla="*/ 274 w 276"/>
                <a:gd name="T75" fmla="*/ 41 h 381"/>
                <a:gd name="T76" fmla="*/ 268 w 276"/>
                <a:gd name="T77" fmla="*/ 28 h 381"/>
                <a:gd name="T78" fmla="*/ 270 w 276"/>
                <a:gd name="T79" fmla="*/ 15 h 381"/>
                <a:gd name="T80" fmla="*/ 270 w 276"/>
                <a:gd name="T81" fmla="*/ 4 h 381"/>
                <a:gd name="T82" fmla="*/ 257 w 276"/>
                <a:gd name="T83" fmla="*/ 0 h 381"/>
                <a:gd name="T84" fmla="*/ 246 w 276"/>
                <a:gd name="T85" fmla="*/ 15 h 381"/>
                <a:gd name="T86" fmla="*/ 240 w 276"/>
                <a:gd name="T87" fmla="*/ 37 h 381"/>
                <a:gd name="T88" fmla="*/ 239 w 276"/>
                <a:gd name="T89" fmla="*/ 56 h 381"/>
                <a:gd name="T90" fmla="*/ 231 w 276"/>
                <a:gd name="T91" fmla="*/ 76 h 381"/>
                <a:gd name="T92" fmla="*/ 228 w 276"/>
                <a:gd name="T93" fmla="*/ 95 h 381"/>
                <a:gd name="T94" fmla="*/ 220 w 276"/>
                <a:gd name="T95" fmla="*/ 124 h 381"/>
                <a:gd name="T96" fmla="*/ 204 w 276"/>
                <a:gd name="T97" fmla="*/ 157 h 38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76"/>
                <a:gd name="T148" fmla="*/ 0 h 381"/>
                <a:gd name="T149" fmla="*/ 276 w 276"/>
                <a:gd name="T150" fmla="*/ 381 h 38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76" h="381">
                  <a:moveTo>
                    <a:pt x="196" y="174"/>
                  </a:moveTo>
                  <a:lnTo>
                    <a:pt x="174" y="200"/>
                  </a:lnTo>
                  <a:lnTo>
                    <a:pt x="152" y="226"/>
                  </a:lnTo>
                  <a:lnTo>
                    <a:pt x="144" y="252"/>
                  </a:lnTo>
                  <a:lnTo>
                    <a:pt x="135" y="272"/>
                  </a:lnTo>
                  <a:lnTo>
                    <a:pt x="119" y="287"/>
                  </a:lnTo>
                  <a:lnTo>
                    <a:pt x="98" y="302"/>
                  </a:lnTo>
                  <a:lnTo>
                    <a:pt x="83" y="324"/>
                  </a:lnTo>
                  <a:lnTo>
                    <a:pt x="69" y="339"/>
                  </a:lnTo>
                  <a:lnTo>
                    <a:pt x="65" y="340"/>
                  </a:lnTo>
                  <a:lnTo>
                    <a:pt x="59" y="340"/>
                  </a:lnTo>
                  <a:lnTo>
                    <a:pt x="54" y="339"/>
                  </a:lnTo>
                  <a:lnTo>
                    <a:pt x="50" y="335"/>
                  </a:lnTo>
                  <a:lnTo>
                    <a:pt x="41" y="329"/>
                  </a:lnTo>
                  <a:lnTo>
                    <a:pt x="34" y="327"/>
                  </a:lnTo>
                  <a:lnTo>
                    <a:pt x="34" y="333"/>
                  </a:lnTo>
                  <a:lnTo>
                    <a:pt x="35" y="337"/>
                  </a:lnTo>
                  <a:lnTo>
                    <a:pt x="39" y="342"/>
                  </a:lnTo>
                  <a:lnTo>
                    <a:pt x="45" y="348"/>
                  </a:lnTo>
                  <a:lnTo>
                    <a:pt x="45" y="350"/>
                  </a:lnTo>
                  <a:lnTo>
                    <a:pt x="43" y="352"/>
                  </a:lnTo>
                  <a:lnTo>
                    <a:pt x="41" y="353"/>
                  </a:lnTo>
                  <a:lnTo>
                    <a:pt x="39" y="355"/>
                  </a:lnTo>
                  <a:lnTo>
                    <a:pt x="32" y="357"/>
                  </a:lnTo>
                  <a:lnTo>
                    <a:pt x="23" y="357"/>
                  </a:lnTo>
                  <a:lnTo>
                    <a:pt x="13" y="359"/>
                  </a:lnTo>
                  <a:lnTo>
                    <a:pt x="6" y="361"/>
                  </a:lnTo>
                  <a:lnTo>
                    <a:pt x="4" y="363"/>
                  </a:lnTo>
                  <a:lnTo>
                    <a:pt x="2" y="364"/>
                  </a:lnTo>
                  <a:lnTo>
                    <a:pt x="0" y="366"/>
                  </a:lnTo>
                  <a:lnTo>
                    <a:pt x="0" y="368"/>
                  </a:lnTo>
                  <a:lnTo>
                    <a:pt x="2" y="374"/>
                  </a:lnTo>
                  <a:lnTo>
                    <a:pt x="6" y="376"/>
                  </a:lnTo>
                  <a:lnTo>
                    <a:pt x="11" y="379"/>
                  </a:lnTo>
                  <a:lnTo>
                    <a:pt x="19" y="379"/>
                  </a:lnTo>
                  <a:lnTo>
                    <a:pt x="35" y="381"/>
                  </a:lnTo>
                  <a:lnTo>
                    <a:pt x="48" y="381"/>
                  </a:lnTo>
                  <a:lnTo>
                    <a:pt x="65" y="377"/>
                  </a:lnTo>
                  <a:lnTo>
                    <a:pt x="80" y="370"/>
                  </a:lnTo>
                  <a:lnTo>
                    <a:pt x="95" y="364"/>
                  </a:lnTo>
                  <a:lnTo>
                    <a:pt x="111" y="357"/>
                  </a:lnTo>
                  <a:lnTo>
                    <a:pt x="119" y="329"/>
                  </a:lnTo>
                  <a:lnTo>
                    <a:pt x="128" y="305"/>
                  </a:lnTo>
                  <a:lnTo>
                    <a:pt x="139" y="302"/>
                  </a:lnTo>
                  <a:lnTo>
                    <a:pt x="152" y="300"/>
                  </a:lnTo>
                  <a:lnTo>
                    <a:pt x="156" y="292"/>
                  </a:lnTo>
                  <a:lnTo>
                    <a:pt x="159" y="287"/>
                  </a:lnTo>
                  <a:lnTo>
                    <a:pt x="165" y="283"/>
                  </a:lnTo>
                  <a:lnTo>
                    <a:pt x="172" y="278"/>
                  </a:lnTo>
                  <a:lnTo>
                    <a:pt x="187" y="270"/>
                  </a:lnTo>
                  <a:lnTo>
                    <a:pt x="207" y="261"/>
                  </a:lnTo>
                  <a:lnTo>
                    <a:pt x="213" y="248"/>
                  </a:lnTo>
                  <a:lnTo>
                    <a:pt x="216" y="230"/>
                  </a:lnTo>
                  <a:lnTo>
                    <a:pt x="231" y="220"/>
                  </a:lnTo>
                  <a:lnTo>
                    <a:pt x="244" y="209"/>
                  </a:lnTo>
                  <a:lnTo>
                    <a:pt x="235" y="198"/>
                  </a:lnTo>
                  <a:lnTo>
                    <a:pt x="226" y="185"/>
                  </a:lnTo>
                  <a:lnTo>
                    <a:pt x="229" y="180"/>
                  </a:lnTo>
                  <a:lnTo>
                    <a:pt x="233" y="176"/>
                  </a:lnTo>
                  <a:lnTo>
                    <a:pt x="240" y="172"/>
                  </a:lnTo>
                  <a:lnTo>
                    <a:pt x="248" y="170"/>
                  </a:lnTo>
                  <a:lnTo>
                    <a:pt x="248" y="176"/>
                  </a:lnTo>
                  <a:lnTo>
                    <a:pt x="248" y="180"/>
                  </a:lnTo>
                  <a:lnTo>
                    <a:pt x="248" y="183"/>
                  </a:lnTo>
                  <a:lnTo>
                    <a:pt x="248" y="185"/>
                  </a:lnTo>
                  <a:lnTo>
                    <a:pt x="250" y="187"/>
                  </a:lnTo>
                  <a:lnTo>
                    <a:pt x="253" y="187"/>
                  </a:lnTo>
                  <a:lnTo>
                    <a:pt x="261" y="169"/>
                  </a:lnTo>
                  <a:lnTo>
                    <a:pt x="270" y="137"/>
                  </a:lnTo>
                  <a:lnTo>
                    <a:pt x="268" y="128"/>
                  </a:lnTo>
                  <a:lnTo>
                    <a:pt x="265" y="115"/>
                  </a:lnTo>
                  <a:lnTo>
                    <a:pt x="268" y="102"/>
                  </a:lnTo>
                  <a:lnTo>
                    <a:pt x="270" y="87"/>
                  </a:lnTo>
                  <a:lnTo>
                    <a:pt x="272" y="71"/>
                  </a:lnTo>
                  <a:lnTo>
                    <a:pt x="274" y="50"/>
                  </a:lnTo>
                  <a:lnTo>
                    <a:pt x="274" y="41"/>
                  </a:lnTo>
                  <a:lnTo>
                    <a:pt x="270" y="34"/>
                  </a:lnTo>
                  <a:lnTo>
                    <a:pt x="268" y="28"/>
                  </a:lnTo>
                  <a:lnTo>
                    <a:pt x="266" y="24"/>
                  </a:lnTo>
                  <a:lnTo>
                    <a:pt x="270" y="15"/>
                  </a:lnTo>
                  <a:lnTo>
                    <a:pt x="276" y="6"/>
                  </a:lnTo>
                  <a:lnTo>
                    <a:pt x="270" y="4"/>
                  </a:lnTo>
                  <a:lnTo>
                    <a:pt x="265" y="2"/>
                  </a:lnTo>
                  <a:lnTo>
                    <a:pt x="257" y="0"/>
                  </a:lnTo>
                  <a:lnTo>
                    <a:pt x="253" y="2"/>
                  </a:lnTo>
                  <a:lnTo>
                    <a:pt x="246" y="15"/>
                  </a:lnTo>
                  <a:lnTo>
                    <a:pt x="240" y="26"/>
                  </a:lnTo>
                  <a:lnTo>
                    <a:pt x="240" y="37"/>
                  </a:lnTo>
                  <a:lnTo>
                    <a:pt x="240" y="47"/>
                  </a:lnTo>
                  <a:lnTo>
                    <a:pt x="239" y="56"/>
                  </a:lnTo>
                  <a:lnTo>
                    <a:pt x="237" y="65"/>
                  </a:lnTo>
                  <a:lnTo>
                    <a:pt x="231" y="76"/>
                  </a:lnTo>
                  <a:lnTo>
                    <a:pt x="229" y="87"/>
                  </a:lnTo>
                  <a:lnTo>
                    <a:pt x="228" y="95"/>
                  </a:lnTo>
                  <a:lnTo>
                    <a:pt x="228" y="104"/>
                  </a:lnTo>
                  <a:lnTo>
                    <a:pt x="220" y="124"/>
                  </a:lnTo>
                  <a:lnTo>
                    <a:pt x="213" y="141"/>
                  </a:lnTo>
                  <a:lnTo>
                    <a:pt x="204" y="157"/>
                  </a:lnTo>
                  <a:lnTo>
                    <a:pt x="196" y="174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1" name="Freeform 27"/>
            <p:cNvSpPr>
              <a:spLocks/>
            </p:cNvSpPr>
            <p:nvPr/>
          </p:nvSpPr>
          <p:spPr bwMode="auto">
            <a:xfrm>
              <a:off x="5182059" y="2672667"/>
              <a:ext cx="448219" cy="347072"/>
            </a:xfrm>
            <a:custGeom>
              <a:avLst/>
              <a:gdLst>
                <a:gd name="T0" fmla="*/ 60 w 859"/>
                <a:gd name="T1" fmla="*/ 542 h 682"/>
                <a:gd name="T2" fmla="*/ 100 w 859"/>
                <a:gd name="T3" fmla="*/ 555 h 682"/>
                <a:gd name="T4" fmla="*/ 176 w 859"/>
                <a:gd name="T5" fmla="*/ 586 h 682"/>
                <a:gd name="T6" fmla="*/ 194 w 859"/>
                <a:gd name="T7" fmla="*/ 640 h 682"/>
                <a:gd name="T8" fmla="*/ 268 w 859"/>
                <a:gd name="T9" fmla="*/ 677 h 682"/>
                <a:gd name="T10" fmla="*/ 326 w 859"/>
                <a:gd name="T11" fmla="*/ 653 h 682"/>
                <a:gd name="T12" fmla="*/ 401 w 859"/>
                <a:gd name="T13" fmla="*/ 649 h 682"/>
                <a:gd name="T14" fmla="*/ 435 w 859"/>
                <a:gd name="T15" fmla="*/ 680 h 682"/>
                <a:gd name="T16" fmla="*/ 477 w 859"/>
                <a:gd name="T17" fmla="*/ 680 h 682"/>
                <a:gd name="T18" fmla="*/ 484 w 859"/>
                <a:gd name="T19" fmla="*/ 642 h 682"/>
                <a:gd name="T20" fmla="*/ 518 w 859"/>
                <a:gd name="T21" fmla="*/ 618 h 682"/>
                <a:gd name="T22" fmla="*/ 507 w 859"/>
                <a:gd name="T23" fmla="*/ 568 h 682"/>
                <a:gd name="T24" fmla="*/ 497 w 859"/>
                <a:gd name="T25" fmla="*/ 555 h 682"/>
                <a:gd name="T26" fmla="*/ 525 w 859"/>
                <a:gd name="T27" fmla="*/ 538 h 682"/>
                <a:gd name="T28" fmla="*/ 608 w 859"/>
                <a:gd name="T29" fmla="*/ 512 h 682"/>
                <a:gd name="T30" fmla="*/ 662 w 859"/>
                <a:gd name="T31" fmla="*/ 457 h 682"/>
                <a:gd name="T32" fmla="*/ 708 w 859"/>
                <a:gd name="T33" fmla="*/ 435 h 682"/>
                <a:gd name="T34" fmla="*/ 756 w 859"/>
                <a:gd name="T35" fmla="*/ 416 h 682"/>
                <a:gd name="T36" fmla="*/ 773 w 859"/>
                <a:gd name="T37" fmla="*/ 355 h 682"/>
                <a:gd name="T38" fmla="*/ 745 w 859"/>
                <a:gd name="T39" fmla="*/ 318 h 682"/>
                <a:gd name="T40" fmla="*/ 808 w 859"/>
                <a:gd name="T41" fmla="*/ 250 h 682"/>
                <a:gd name="T42" fmla="*/ 856 w 859"/>
                <a:gd name="T43" fmla="*/ 182 h 682"/>
                <a:gd name="T44" fmla="*/ 811 w 859"/>
                <a:gd name="T45" fmla="*/ 165 h 682"/>
                <a:gd name="T46" fmla="*/ 767 w 859"/>
                <a:gd name="T47" fmla="*/ 76 h 682"/>
                <a:gd name="T48" fmla="*/ 767 w 859"/>
                <a:gd name="T49" fmla="*/ 39 h 682"/>
                <a:gd name="T50" fmla="*/ 765 w 859"/>
                <a:gd name="T51" fmla="*/ 0 h 682"/>
                <a:gd name="T52" fmla="*/ 752 w 859"/>
                <a:gd name="T53" fmla="*/ 25 h 682"/>
                <a:gd name="T54" fmla="*/ 715 w 859"/>
                <a:gd name="T55" fmla="*/ 69 h 682"/>
                <a:gd name="T56" fmla="*/ 662 w 859"/>
                <a:gd name="T57" fmla="*/ 80 h 682"/>
                <a:gd name="T58" fmla="*/ 630 w 859"/>
                <a:gd name="T59" fmla="*/ 74 h 682"/>
                <a:gd name="T60" fmla="*/ 582 w 859"/>
                <a:gd name="T61" fmla="*/ 65 h 682"/>
                <a:gd name="T62" fmla="*/ 510 w 859"/>
                <a:gd name="T63" fmla="*/ 97 h 682"/>
                <a:gd name="T64" fmla="*/ 464 w 859"/>
                <a:gd name="T65" fmla="*/ 119 h 682"/>
                <a:gd name="T66" fmla="*/ 471 w 859"/>
                <a:gd name="T67" fmla="*/ 152 h 682"/>
                <a:gd name="T68" fmla="*/ 471 w 859"/>
                <a:gd name="T69" fmla="*/ 206 h 682"/>
                <a:gd name="T70" fmla="*/ 492 w 859"/>
                <a:gd name="T71" fmla="*/ 248 h 682"/>
                <a:gd name="T72" fmla="*/ 508 w 859"/>
                <a:gd name="T73" fmla="*/ 185 h 682"/>
                <a:gd name="T74" fmla="*/ 521 w 859"/>
                <a:gd name="T75" fmla="*/ 207 h 682"/>
                <a:gd name="T76" fmla="*/ 525 w 859"/>
                <a:gd name="T77" fmla="*/ 270 h 682"/>
                <a:gd name="T78" fmla="*/ 508 w 859"/>
                <a:gd name="T79" fmla="*/ 370 h 682"/>
                <a:gd name="T80" fmla="*/ 503 w 859"/>
                <a:gd name="T81" fmla="*/ 353 h 682"/>
                <a:gd name="T82" fmla="*/ 499 w 859"/>
                <a:gd name="T83" fmla="*/ 392 h 682"/>
                <a:gd name="T84" fmla="*/ 427 w 859"/>
                <a:gd name="T85" fmla="*/ 461 h 682"/>
                <a:gd name="T86" fmla="*/ 383 w 859"/>
                <a:gd name="T87" fmla="*/ 488 h 682"/>
                <a:gd name="T88" fmla="*/ 303 w 859"/>
                <a:gd name="T89" fmla="*/ 564 h 682"/>
                <a:gd name="T90" fmla="*/ 279 w 859"/>
                <a:gd name="T91" fmla="*/ 579 h 682"/>
                <a:gd name="T92" fmla="*/ 255 w 859"/>
                <a:gd name="T93" fmla="*/ 577 h 682"/>
                <a:gd name="T94" fmla="*/ 222 w 859"/>
                <a:gd name="T95" fmla="*/ 555 h 682"/>
                <a:gd name="T96" fmla="*/ 213 w 859"/>
                <a:gd name="T97" fmla="*/ 531 h 682"/>
                <a:gd name="T98" fmla="*/ 187 w 859"/>
                <a:gd name="T99" fmla="*/ 505 h 682"/>
                <a:gd name="T100" fmla="*/ 137 w 859"/>
                <a:gd name="T101" fmla="*/ 479 h 682"/>
                <a:gd name="T102" fmla="*/ 74 w 859"/>
                <a:gd name="T103" fmla="*/ 409 h 682"/>
                <a:gd name="T104" fmla="*/ 2 w 859"/>
                <a:gd name="T105" fmla="*/ 455 h 682"/>
                <a:gd name="T106" fmla="*/ 0 w 859"/>
                <a:gd name="T107" fmla="*/ 499 h 6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59"/>
                <a:gd name="T163" fmla="*/ 0 h 682"/>
                <a:gd name="T164" fmla="*/ 859 w 859"/>
                <a:gd name="T165" fmla="*/ 682 h 68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59" h="682">
                  <a:moveTo>
                    <a:pt x="2" y="512"/>
                  </a:moveTo>
                  <a:lnTo>
                    <a:pt x="12" y="520"/>
                  </a:lnTo>
                  <a:lnTo>
                    <a:pt x="23" y="525"/>
                  </a:lnTo>
                  <a:lnTo>
                    <a:pt x="34" y="529"/>
                  </a:lnTo>
                  <a:lnTo>
                    <a:pt x="47" y="533"/>
                  </a:lnTo>
                  <a:lnTo>
                    <a:pt x="60" y="542"/>
                  </a:lnTo>
                  <a:lnTo>
                    <a:pt x="69" y="547"/>
                  </a:lnTo>
                  <a:lnTo>
                    <a:pt x="72" y="551"/>
                  </a:lnTo>
                  <a:lnTo>
                    <a:pt x="78" y="551"/>
                  </a:lnTo>
                  <a:lnTo>
                    <a:pt x="82" y="551"/>
                  </a:lnTo>
                  <a:lnTo>
                    <a:pt x="87" y="549"/>
                  </a:lnTo>
                  <a:lnTo>
                    <a:pt x="100" y="555"/>
                  </a:lnTo>
                  <a:lnTo>
                    <a:pt x="120" y="562"/>
                  </a:lnTo>
                  <a:lnTo>
                    <a:pt x="145" y="571"/>
                  </a:lnTo>
                  <a:lnTo>
                    <a:pt x="163" y="577"/>
                  </a:lnTo>
                  <a:lnTo>
                    <a:pt x="170" y="581"/>
                  </a:lnTo>
                  <a:lnTo>
                    <a:pt x="174" y="583"/>
                  </a:lnTo>
                  <a:lnTo>
                    <a:pt x="176" y="586"/>
                  </a:lnTo>
                  <a:lnTo>
                    <a:pt x="178" y="590"/>
                  </a:lnTo>
                  <a:lnTo>
                    <a:pt x="178" y="597"/>
                  </a:lnTo>
                  <a:lnTo>
                    <a:pt x="178" y="608"/>
                  </a:lnTo>
                  <a:lnTo>
                    <a:pt x="180" y="618"/>
                  </a:lnTo>
                  <a:lnTo>
                    <a:pt x="185" y="627"/>
                  </a:lnTo>
                  <a:lnTo>
                    <a:pt x="194" y="640"/>
                  </a:lnTo>
                  <a:lnTo>
                    <a:pt x="205" y="656"/>
                  </a:lnTo>
                  <a:lnTo>
                    <a:pt x="224" y="666"/>
                  </a:lnTo>
                  <a:lnTo>
                    <a:pt x="242" y="679"/>
                  </a:lnTo>
                  <a:lnTo>
                    <a:pt x="254" y="679"/>
                  </a:lnTo>
                  <a:lnTo>
                    <a:pt x="265" y="679"/>
                  </a:lnTo>
                  <a:lnTo>
                    <a:pt x="268" y="677"/>
                  </a:lnTo>
                  <a:lnTo>
                    <a:pt x="274" y="677"/>
                  </a:lnTo>
                  <a:lnTo>
                    <a:pt x="278" y="675"/>
                  </a:lnTo>
                  <a:lnTo>
                    <a:pt x="279" y="671"/>
                  </a:lnTo>
                  <a:lnTo>
                    <a:pt x="294" y="666"/>
                  </a:lnTo>
                  <a:lnTo>
                    <a:pt x="309" y="660"/>
                  </a:lnTo>
                  <a:lnTo>
                    <a:pt x="326" y="653"/>
                  </a:lnTo>
                  <a:lnTo>
                    <a:pt x="338" y="647"/>
                  </a:lnTo>
                  <a:lnTo>
                    <a:pt x="351" y="649"/>
                  </a:lnTo>
                  <a:lnTo>
                    <a:pt x="364" y="651"/>
                  </a:lnTo>
                  <a:lnTo>
                    <a:pt x="375" y="651"/>
                  </a:lnTo>
                  <a:lnTo>
                    <a:pt x="388" y="647"/>
                  </a:lnTo>
                  <a:lnTo>
                    <a:pt x="401" y="649"/>
                  </a:lnTo>
                  <a:lnTo>
                    <a:pt x="411" y="653"/>
                  </a:lnTo>
                  <a:lnTo>
                    <a:pt x="418" y="658"/>
                  </a:lnTo>
                  <a:lnTo>
                    <a:pt x="423" y="664"/>
                  </a:lnTo>
                  <a:lnTo>
                    <a:pt x="427" y="669"/>
                  </a:lnTo>
                  <a:lnTo>
                    <a:pt x="431" y="675"/>
                  </a:lnTo>
                  <a:lnTo>
                    <a:pt x="435" y="680"/>
                  </a:lnTo>
                  <a:lnTo>
                    <a:pt x="440" y="682"/>
                  </a:lnTo>
                  <a:lnTo>
                    <a:pt x="449" y="680"/>
                  </a:lnTo>
                  <a:lnTo>
                    <a:pt x="459" y="679"/>
                  </a:lnTo>
                  <a:lnTo>
                    <a:pt x="468" y="679"/>
                  </a:lnTo>
                  <a:lnTo>
                    <a:pt x="477" y="680"/>
                  </a:lnTo>
                  <a:lnTo>
                    <a:pt x="479" y="682"/>
                  </a:lnTo>
                  <a:lnTo>
                    <a:pt x="475" y="662"/>
                  </a:lnTo>
                  <a:lnTo>
                    <a:pt x="475" y="649"/>
                  </a:lnTo>
                  <a:lnTo>
                    <a:pt x="479" y="645"/>
                  </a:lnTo>
                  <a:lnTo>
                    <a:pt x="484" y="642"/>
                  </a:lnTo>
                  <a:lnTo>
                    <a:pt x="492" y="640"/>
                  </a:lnTo>
                  <a:lnTo>
                    <a:pt x="499" y="636"/>
                  </a:lnTo>
                  <a:lnTo>
                    <a:pt x="507" y="634"/>
                  </a:lnTo>
                  <a:lnTo>
                    <a:pt x="514" y="631"/>
                  </a:lnTo>
                  <a:lnTo>
                    <a:pt x="518" y="625"/>
                  </a:lnTo>
                  <a:lnTo>
                    <a:pt x="518" y="618"/>
                  </a:lnTo>
                  <a:lnTo>
                    <a:pt x="503" y="618"/>
                  </a:lnTo>
                  <a:lnTo>
                    <a:pt x="488" y="614"/>
                  </a:lnTo>
                  <a:lnTo>
                    <a:pt x="492" y="601"/>
                  </a:lnTo>
                  <a:lnTo>
                    <a:pt x="495" y="590"/>
                  </a:lnTo>
                  <a:lnTo>
                    <a:pt x="499" y="577"/>
                  </a:lnTo>
                  <a:lnTo>
                    <a:pt x="507" y="568"/>
                  </a:lnTo>
                  <a:lnTo>
                    <a:pt x="507" y="566"/>
                  </a:lnTo>
                  <a:lnTo>
                    <a:pt x="505" y="564"/>
                  </a:lnTo>
                  <a:lnTo>
                    <a:pt x="503" y="562"/>
                  </a:lnTo>
                  <a:lnTo>
                    <a:pt x="501" y="560"/>
                  </a:lnTo>
                  <a:lnTo>
                    <a:pt x="499" y="559"/>
                  </a:lnTo>
                  <a:lnTo>
                    <a:pt x="497" y="555"/>
                  </a:lnTo>
                  <a:lnTo>
                    <a:pt x="499" y="551"/>
                  </a:lnTo>
                  <a:lnTo>
                    <a:pt x="501" y="546"/>
                  </a:lnTo>
                  <a:lnTo>
                    <a:pt x="505" y="542"/>
                  </a:lnTo>
                  <a:lnTo>
                    <a:pt x="508" y="540"/>
                  </a:lnTo>
                  <a:lnTo>
                    <a:pt x="516" y="538"/>
                  </a:lnTo>
                  <a:lnTo>
                    <a:pt x="525" y="538"/>
                  </a:lnTo>
                  <a:lnTo>
                    <a:pt x="534" y="536"/>
                  </a:lnTo>
                  <a:lnTo>
                    <a:pt x="545" y="533"/>
                  </a:lnTo>
                  <a:lnTo>
                    <a:pt x="562" y="522"/>
                  </a:lnTo>
                  <a:lnTo>
                    <a:pt x="579" y="509"/>
                  </a:lnTo>
                  <a:lnTo>
                    <a:pt x="595" y="510"/>
                  </a:lnTo>
                  <a:lnTo>
                    <a:pt x="608" y="512"/>
                  </a:lnTo>
                  <a:lnTo>
                    <a:pt x="617" y="501"/>
                  </a:lnTo>
                  <a:lnTo>
                    <a:pt x="625" y="492"/>
                  </a:lnTo>
                  <a:lnTo>
                    <a:pt x="636" y="486"/>
                  </a:lnTo>
                  <a:lnTo>
                    <a:pt x="643" y="483"/>
                  </a:lnTo>
                  <a:lnTo>
                    <a:pt x="651" y="470"/>
                  </a:lnTo>
                  <a:lnTo>
                    <a:pt x="662" y="457"/>
                  </a:lnTo>
                  <a:lnTo>
                    <a:pt x="673" y="455"/>
                  </a:lnTo>
                  <a:lnTo>
                    <a:pt x="684" y="453"/>
                  </a:lnTo>
                  <a:lnTo>
                    <a:pt x="689" y="444"/>
                  </a:lnTo>
                  <a:lnTo>
                    <a:pt x="697" y="435"/>
                  </a:lnTo>
                  <a:lnTo>
                    <a:pt x="702" y="433"/>
                  </a:lnTo>
                  <a:lnTo>
                    <a:pt x="708" y="435"/>
                  </a:lnTo>
                  <a:lnTo>
                    <a:pt x="713" y="435"/>
                  </a:lnTo>
                  <a:lnTo>
                    <a:pt x="719" y="435"/>
                  </a:lnTo>
                  <a:lnTo>
                    <a:pt x="725" y="429"/>
                  </a:lnTo>
                  <a:lnTo>
                    <a:pt x="732" y="424"/>
                  </a:lnTo>
                  <a:lnTo>
                    <a:pt x="743" y="422"/>
                  </a:lnTo>
                  <a:lnTo>
                    <a:pt x="756" y="416"/>
                  </a:lnTo>
                  <a:lnTo>
                    <a:pt x="762" y="407"/>
                  </a:lnTo>
                  <a:lnTo>
                    <a:pt x="769" y="392"/>
                  </a:lnTo>
                  <a:lnTo>
                    <a:pt x="776" y="377"/>
                  </a:lnTo>
                  <a:lnTo>
                    <a:pt x="778" y="366"/>
                  </a:lnTo>
                  <a:lnTo>
                    <a:pt x="776" y="361"/>
                  </a:lnTo>
                  <a:lnTo>
                    <a:pt x="773" y="355"/>
                  </a:lnTo>
                  <a:lnTo>
                    <a:pt x="767" y="352"/>
                  </a:lnTo>
                  <a:lnTo>
                    <a:pt x="760" y="346"/>
                  </a:lnTo>
                  <a:lnTo>
                    <a:pt x="747" y="339"/>
                  </a:lnTo>
                  <a:lnTo>
                    <a:pt x="737" y="329"/>
                  </a:lnTo>
                  <a:lnTo>
                    <a:pt x="739" y="324"/>
                  </a:lnTo>
                  <a:lnTo>
                    <a:pt x="745" y="318"/>
                  </a:lnTo>
                  <a:lnTo>
                    <a:pt x="750" y="315"/>
                  </a:lnTo>
                  <a:lnTo>
                    <a:pt x="756" y="311"/>
                  </a:lnTo>
                  <a:lnTo>
                    <a:pt x="767" y="304"/>
                  </a:lnTo>
                  <a:lnTo>
                    <a:pt x="778" y="294"/>
                  </a:lnTo>
                  <a:lnTo>
                    <a:pt x="795" y="270"/>
                  </a:lnTo>
                  <a:lnTo>
                    <a:pt x="808" y="250"/>
                  </a:lnTo>
                  <a:lnTo>
                    <a:pt x="832" y="237"/>
                  </a:lnTo>
                  <a:lnTo>
                    <a:pt x="858" y="226"/>
                  </a:lnTo>
                  <a:lnTo>
                    <a:pt x="859" y="217"/>
                  </a:lnTo>
                  <a:lnTo>
                    <a:pt x="859" y="204"/>
                  </a:lnTo>
                  <a:lnTo>
                    <a:pt x="859" y="191"/>
                  </a:lnTo>
                  <a:lnTo>
                    <a:pt x="856" y="182"/>
                  </a:lnTo>
                  <a:lnTo>
                    <a:pt x="852" y="178"/>
                  </a:lnTo>
                  <a:lnTo>
                    <a:pt x="846" y="174"/>
                  </a:lnTo>
                  <a:lnTo>
                    <a:pt x="841" y="170"/>
                  </a:lnTo>
                  <a:lnTo>
                    <a:pt x="835" y="169"/>
                  </a:lnTo>
                  <a:lnTo>
                    <a:pt x="822" y="167"/>
                  </a:lnTo>
                  <a:lnTo>
                    <a:pt x="811" y="165"/>
                  </a:lnTo>
                  <a:lnTo>
                    <a:pt x="804" y="158"/>
                  </a:lnTo>
                  <a:lnTo>
                    <a:pt x="798" y="145"/>
                  </a:lnTo>
                  <a:lnTo>
                    <a:pt x="791" y="128"/>
                  </a:lnTo>
                  <a:lnTo>
                    <a:pt x="784" y="111"/>
                  </a:lnTo>
                  <a:lnTo>
                    <a:pt x="776" y="95"/>
                  </a:lnTo>
                  <a:lnTo>
                    <a:pt x="767" y="76"/>
                  </a:lnTo>
                  <a:lnTo>
                    <a:pt x="763" y="67"/>
                  </a:lnTo>
                  <a:lnTo>
                    <a:pt x="762" y="58"/>
                  </a:lnTo>
                  <a:lnTo>
                    <a:pt x="763" y="49"/>
                  </a:lnTo>
                  <a:lnTo>
                    <a:pt x="767" y="39"/>
                  </a:lnTo>
                  <a:lnTo>
                    <a:pt x="782" y="21"/>
                  </a:lnTo>
                  <a:lnTo>
                    <a:pt x="789" y="12"/>
                  </a:lnTo>
                  <a:lnTo>
                    <a:pt x="784" y="6"/>
                  </a:lnTo>
                  <a:lnTo>
                    <a:pt x="778" y="2"/>
                  </a:lnTo>
                  <a:lnTo>
                    <a:pt x="771" y="0"/>
                  </a:lnTo>
                  <a:lnTo>
                    <a:pt x="765" y="0"/>
                  </a:lnTo>
                  <a:lnTo>
                    <a:pt x="760" y="2"/>
                  </a:lnTo>
                  <a:lnTo>
                    <a:pt x="758" y="4"/>
                  </a:lnTo>
                  <a:lnTo>
                    <a:pt x="756" y="8"/>
                  </a:lnTo>
                  <a:lnTo>
                    <a:pt x="754" y="12"/>
                  </a:lnTo>
                  <a:lnTo>
                    <a:pt x="754" y="19"/>
                  </a:lnTo>
                  <a:lnTo>
                    <a:pt x="752" y="25"/>
                  </a:lnTo>
                  <a:lnTo>
                    <a:pt x="739" y="26"/>
                  </a:lnTo>
                  <a:lnTo>
                    <a:pt x="726" y="28"/>
                  </a:lnTo>
                  <a:lnTo>
                    <a:pt x="728" y="43"/>
                  </a:lnTo>
                  <a:lnTo>
                    <a:pt x="726" y="58"/>
                  </a:lnTo>
                  <a:lnTo>
                    <a:pt x="721" y="65"/>
                  </a:lnTo>
                  <a:lnTo>
                    <a:pt x="715" y="69"/>
                  </a:lnTo>
                  <a:lnTo>
                    <a:pt x="710" y="71"/>
                  </a:lnTo>
                  <a:lnTo>
                    <a:pt x="704" y="73"/>
                  </a:lnTo>
                  <a:lnTo>
                    <a:pt x="697" y="82"/>
                  </a:lnTo>
                  <a:lnTo>
                    <a:pt x="689" y="89"/>
                  </a:lnTo>
                  <a:lnTo>
                    <a:pt x="673" y="85"/>
                  </a:lnTo>
                  <a:lnTo>
                    <a:pt x="662" y="80"/>
                  </a:lnTo>
                  <a:lnTo>
                    <a:pt x="653" y="84"/>
                  </a:lnTo>
                  <a:lnTo>
                    <a:pt x="643" y="85"/>
                  </a:lnTo>
                  <a:lnTo>
                    <a:pt x="638" y="84"/>
                  </a:lnTo>
                  <a:lnTo>
                    <a:pt x="634" y="82"/>
                  </a:lnTo>
                  <a:lnTo>
                    <a:pt x="632" y="78"/>
                  </a:lnTo>
                  <a:lnTo>
                    <a:pt x="630" y="74"/>
                  </a:lnTo>
                  <a:lnTo>
                    <a:pt x="627" y="67"/>
                  </a:lnTo>
                  <a:lnTo>
                    <a:pt x="621" y="63"/>
                  </a:lnTo>
                  <a:lnTo>
                    <a:pt x="616" y="69"/>
                  </a:lnTo>
                  <a:lnTo>
                    <a:pt x="610" y="76"/>
                  </a:lnTo>
                  <a:lnTo>
                    <a:pt x="597" y="69"/>
                  </a:lnTo>
                  <a:lnTo>
                    <a:pt x="582" y="65"/>
                  </a:lnTo>
                  <a:lnTo>
                    <a:pt x="573" y="76"/>
                  </a:lnTo>
                  <a:lnTo>
                    <a:pt x="564" y="91"/>
                  </a:lnTo>
                  <a:lnTo>
                    <a:pt x="545" y="91"/>
                  </a:lnTo>
                  <a:lnTo>
                    <a:pt x="531" y="87"/>
                  </a:lnTo>
                  <a:lnTo>
                    <a:pt x="520" y="91"/>
                  </a:lnTo>
                  <a:lnTo>
                    <a:pt x="510" y="97"/>
                  </a:lnTo>
                  <a:lnTo>
                    <a:pt x="505" y="102"/>
                  </a:lnTo>
                  <a:lnTo>
                    <a:pt x="497" y="108"/>
                  </a:lnTo>
                  <a:lnTo>
                    <a:pt x="488" y="110"/>
                  </a:lnTo>
                  <a:lnTo>
                    <a:pt x="477" y="113"/>
                  </a:lnTo>
                  <a:lnTo>
                    <a:pt x="470" y="115"/>
                  </a:lnTo>
                  <a:lnTo>
                    <a:pt x="464" y="119"/>
                  </a:lnTo>
                  <a:lnTo>
                    <a:pt x="460" y="124"/>
                  </a:lnTo>
                  <a:lnTo>
                    <a:pt x="457" y="132"/>
                  </a:lnTo>
                  <a:lnTo>
                    <a:pt x="457" y="137"/>
                  </a:lnTo>
                  <a:lnTo>
                    <a:pt x="460" y="145"/>
                  </a:lnTo>
                  <a:lnTo>
                    <a:pt x="466" y="148"/>
                  </a:lnTo>
                  <a:lnTo>
                    <a:pt x="471" y="152"/>
                  </a:lnTo>
                  <a:lnTo>
                    <a:pt x="483" y="159"/>
                  </a:lnTo>
                  <a:lnTo>
                    <a:pt x="488" y="165"/>
                  </a:lnTo>
                  <a:lnTo>
                    <a:pt x="483" y="174"/>
                  </a:lnTo>
                  <a:lnTo>
                    <a:pt x="475" y="185"/>
                  </a:lnTo>
                  <a:lnTo>
                    <a:pt x="473" y="195"/>
                  </a:lnTo>
                  <a:lnTo>
                    <a:pt x="471" y="206"/>
                  </a:lnTo>
                  <a:lnTo>
                    <a:pt x="473" y="215"/>
                  </a:lnTo>
                  <a:lnTo>
                    <a:pt x="475" y="226"/>
                  </a:lnTo>
                  <a:lnTo>
                    <a:pt x="479" y="246"/>
                  </a:lnTo>
                  <a:lnTo>
                    <a:pt x="484" y="270"/>
                  </a:lnTo>
                  <a:lnTo>
                    <a:pt x="486" y="259"/>
                  </a:lnTo>
                  <a:lnTo>
                    <a:pt x="492" y="248"/>
                  </a:lnTo>
                  <a:lnTo>
                    <a:pt x="494" y="239"/>
                  </a:lnTo>
                  <a:lnTo>
                    <a:pt x="495" y="230"/>
                  </a:lnTo>
                  <a:lnTo>
                    <a:pt x="495" y="220"/>
                  </a:lnTo>
                  <a:lnTo>
                    <a:pt x="495" y="209"/>
                  </a:lnTo>
                  <a:lnTo>
                    <a:pt x="501" y="198"/>
                  </a:lnTo>
                  <a:lnTo>
                    <a:pt x="508" y="185"/>
                  </a:lnTo>
                  <a:lnTo>
                    <a:pt x="512" y="183"/>
                  </a:lnTo>
                  <a:lnTo>
                    <a:pt x="520" y="185"/>
                  </a:lnTo>
                  <a:lnTo>
                    <a:pt x="525" y="187"/>
                  </a:lnTo>
                  <a:lnTo>
                    <a:pt x="531" y="189"/>
                  </a:lnTo>
                  <a:lnTo>
                    <a:pt x="525" y="198"/>
                  </a:lnTo>
                  <a:lnTo>
                    <a:pt x="521" y="207"/>
                  </a:lnTo>
                  <a:lnTo>
                    <a:pt x="523" y="211"/>
                  </a:lnTo>
                  <a:lnTo>
                    <a:pt x="525" y="217"/>
                  </a:lnTo>
                  <a:lnTo>
                    <a:pt x="529" y="224"/>
                  </a:lnTo>
                  <a:lnTo>
                    <a:pt x="529" y="233"/>
                  </a:lnTo>
                  <a:lnTo>
                    <a:pt x="527" y="254"/>
                  </a:lnTo>
                  <a:lnTo>
                    <a:pt x="525" y="270"/>
                  </a:lnTo>
                  <a:lnTo>
                    <a:pt x="523" y="285"/>
                  </a:lnTo>
                  <a:lnTo>
                    <a:pt x="520" y="298"/>
                  </a:lnTo>
                  <a:lnTo>
                    <a:pt x="523" y="311"/>
                  </a:lnTo>
                  <a:lnTo>
                    <a:pt x="525" y="320"/>
                  </a:lnTo>
                  <a:lnTo>
                    <a:pt x="516" y="352"/>
                  </a:lnTo>
                  <a:lnTo>
                    <a:pt x="508" y="370"/>
                  </a:lnTo>
                  <a:lnTo>
                    <a:pt x="505" y="370"/>
                  </a:lnTo>
                  <a:lnTo>
                    <a:pt x="503" y="368"/>
                  </a:lnTo>
                  <a:lnTo>
                    <a:pt x="503" y="366"/>
                  </a:lnTo>
                  <a:lnTo>
                    <a:pt x="503" y="363"/>
                  </a:lnTo>
                  <a:lnTo>
                    <a:pt x="503" y="359"/>
                  </a:lnTo>
                  <a:lnTo>
                    <a:pt x="503" y="353"/>
                  </a:lnTo>
                  <a:lnTo>
                    <a:pt x="495" y="355"/>
                  </a:lnTo>
                  <a:lnTo>
                    <a:pt x="488" y="359"/>
                  </a:lnTo>
                  <a:lnTo>
                    <a:pt x="484" y="363"/>
                  </a:lnTo>
                  <a:lnTo>
                    <a:pt x="481" y="368"/>
                  </a:lnTo>
                  <a:lnTo>
                    <a:pt x="490" y="381"/>
                  </a:lnTo>
                  <a:lnTo>
                    <a:pt x="499" y="392"/>
                  </a:lnTo>
                  <a:lnTo>
                    <a:pt x="486" y="403"/>
                  </a:lnTo>
                  <a:lnTo>
                    <a:pt x="471" y="413"/>
                  </a:lnTo>
                  <a:lnTo>
                    <a:pt x="468" y="431"/>
                  </a:lnTo>
                  <a:lnTo>
                    <a:pt x="462" y="444"/>
                  </a:lnTo>
                  <a:lnTo>
                    <a:pt x="442" y="453"/>
                  </a:lnTo>
                  <a:lnTo>
                    <a:pt x="427" y="461"/>
                  </a:lnTo>
                  <a:lnTo>
                    <a:pt x="420" y="466"/>
                  </a:lnTo>
                  <a:lnTo>
                    <a:pt x="414" y="470"/>
                  </a:lnTo>
                  <a:lnTo>
                    <a:pt x="411" y="475"/>
                  </a:lnTo>
                  <a:lnTo>
                    <a:pt x="407" y="483"/>
                  </a:lnTo>
                  <a:lnTo>
                    <a:pt x="394" y="485"/>
                  </a:lnTo>
                  <a:lnTo>
                    <a:pt x="383" y="488"/>
                  </a:lnTo>
                  <a:lnTo>
                    <a:pt x="374" y="512"/>
                  </a:lnTo>
                  <a:lnTo>
                    <a:pt x="366" y="540"/>
                  </a:lnTo>
                  <a:lnTo>
                    <a:pt x="350" y="547"/>
                  </a:lnTo>
                  <a:lnTo>
                    <a:pt x="335" y="553"/>
                  </a:lnTo>
                  <a:lnTo>
                    <a:pt x="320" y="560"/>
                  </a:lnTo>
                  <a:lnTo>
                    <a:pt x="303" y="564"/>
                  </a:lnTo>
                  <a:lnTo>
                    <a:pt x="302" y="564"/>
                  </a:lnTo>
                  <a:lnTo>
                    <a:pt x="300" y="564"/>
                  </a:lnTo>
                  <a:lnTo>
                    <a:pt x="296" y="573"/>
                  </a:lnTo>
                  <a:lnTo>
                    <a:pt x="290" y="579"/>
                  </a:lnTo>
                  <a:lnTo>
                    <a:pt x="285" y="579"/>
                  </a:lnTo>
                  <a:lnTo>
                    <a:pt x="279" y="579"/>
                  </a:lnTo>
                  <a:lnTo>
                    <a:pt x="272" y="584"/>
                  </a:lnTo>
                  <a:lnTo>
                    <a:pt x="266" y="588"/>
                  </a:lnTo>
                  <a:lnTo>
                    <a:pt x="263" y="586"/>
                  </a:lnTo>
                  <a:lnTo>
                    <a:pt x="259" y="584"/>
                  </a:lnTo>
                  <a:lnTo>
                    <a:pt x="257" y="581"/>
                  </a:lnTo>
                  <a:lnTo>
                    <a:pt x="255" y="577"/>
                  </a:lnTo>
                  <a:lnTo>
                    <a:pt x="254" y="568"/>
                  </a:lnTo>
                  <a:lnTo>
                    <a:pt x="250" y="562"/>
                  </a:lnTo>
                  <a:lnTo>
                    <a:pt x="239" y="562"/>
                  </a:lnTo>
                  <a:lnTo>
                    <a:pt x="226" y="564"/>
                  </a:lnTo>
                  <a:lnTo>
                    <a:pt x="224" y="560"/>
                  </a:lnTo>
                  <a:lnTo>
                    <a:pt x="222" y="555"/>
                  </a:lnTo>
                  <a:lnTo>
                    <a:pt x="222" y="549"/>
                  </a:lnTo>
                  <a:lnTo>
                    <a:pt x="222" y="544"/>
                  </a:lnTo>
                  <a:lnTo>
                    <a:pt x="220" y="538"/>
                  </a:lnTo>
                  <a:lnTo>
                    <a:pt x="218" y="535"/>
                  </a:lnTo>
                  <a:lnTo>
                    <a:pt x="217" y="533"/>
                  </a:lnTo>
                  <a:lnTo>
                    <a:pt x="213" y="531"/>
                  </a:lnTo>
                  <a:lnTo>
                    <a:pt x="205" y="531"/>
                  </a:lnTo>
                  <a:lnTo>
                    <a:pt x="200" y="527"/>
                  </a:lnTo>
                  <a:lnTo>
                    <a:pt x="196" y="518"/>
                  </a:lnTo>
                  <a:lnTo>
                    <a:pt x="194" y="512"/>
                  </a:lnTo>
                  <a:lnTo>
                    <a:pt x="191" y="507"/>
                  </a:lnTo>
                  <a:lnTo>
                    <a:pt x="187" y="505"/>
                  </a:lnTo>
                  <a:lnTo>
                    <a:pt x="174" y="503"/>
                  </a:lnTo>
                  <a:lnTo>
                    <a:pt x="159" y="505"/>
                  </a:lnTo>
                  <a:lnTo>
                    <a:pt x="154" y="503"/>
                  </a:lnTo>
                  <a:lnTo>
                    <a:pt x="148" y="498"/>
                  </a:lnTo>
                  <a:lnTo>
                    <a:pt x="143" y="488"/>
                  </a:lnTo>
                  <a:lnTo>
                    <a:pt x="137" y="479"/>
                  </a:lnTo>
                  <a:lnTo>
                    <a:pt x="130" y="470"/>
                  </a:lnTo>
                  <a:lnTo>
                    <a:pt x="120" y="462"/>
                  </a:lnTo>
                  <a:lnTo>
                    <a:pt x="111" y="453"/>
                  </a:lnTo>
                  <a:lnTo>
                    <a:pt x="102" y="448"/>
                  </a:lnTo>
                  <a:lnTo>
                    <a:pt x="84" y="424"/>
                  </a:lnTo>
                  <a:lnTo>
                    <a:pt x="74" y="409"/>
                  </a:lnTo>
                  <a:lnTo>
                    <a:pt x="52" y="425"/>
                  </a:lnTo>
                  <a:lnTo>
                    <a:pt x="23" y="451"/>
                  </a:lnTo>
                  <a:lnTo>
                    <a:pt x="19" y="453"/>
                  </a:lnTo>
                  <a:lnTo>
                    <a:pt x="13" y="455"/>
                  </a:lnTo>
                  <a:lnTo>
                    <a:pt x="8" y="455"/>
                  </a:lnTo>
                  <a:lnTo>
                    <a:pt x="2" y="455"/>
                  </a:lnTo>
                  <a:lnTo>
                    <a:pt x="4" y="461"/>
                  </a:lnTo>
                  <a:lnTo>
                    <a:pt x="4" y="468"/>
                  </a:lnTo>
                  <a:lnTo>
                    <a:pt x="2" y="475"/>
                  </a:lnTo>
                  <a:lnTo>
                    <a:pt x="2" y="485"/>
                  </a:lnTo>
                  <a:lnTo>
                    <a:pt x="0" y="492"/>
                  </a:lnTo>
                  <a:lnTo>
                    <a:pt x="0" y="499"/>
                  </a:lnTo>
                  <a:lnTo>
                    <a:pt x="0" y="507"/>
                  </a:lnTo>
                  <a:lnTo>
                    <a:pt x="2" y="51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2" name="Freeform 28"/>
            <p:cNvSpPr>
              <a:spLocks/>
            </p:cNvSpPr>
            <p:nvPr/>
          </p:nvSpPr>
          <p:spPr bwMode="auto">
            <a:xfrm>
              <a:off x="4919076" y="2866559"/>
              <a:ext cx="274984" cy="170482"/>
            </a:xfrm>
            <a:custGeom>
              <a:avLst/>
              <a:gdLst>
                <a:gd name="T0" fmla="*/ 33 w 527"/>
                <a:gd name="T1" fmla="*/ 268 h 335"/>
                <a:gd name="T2" fmla="*/ 48 w 527"/>
                <a:gd name="T3" fmla="*/ 274 h 335"/>
                <a:gd name="T4" fmla="*/ 65 w 527"/>
                <a:gd name="T5" fmla="*/ 274 h 335"/>
                <a:gd name="T6" fmla="*/ 102 w 527"/>
                <a:gd name="T7" fmla="*/ 253 h 335"/>
                <a:gd name="T8" fmla="*/ 120 w 527"/>
                <a:gd name="T9" fmla="*/ 250 h 335"/>
                <a:gd name="T10" fmla="*/ 190 w 527"/>
                <a:gd name="T11" fmla="*/ 229 h 335"/>
                <a:gd name="T12" fmla="*/ 196 w 527"/>
                <a:gd name="T13" fmla="*/ 259 h 335"/>
                <a:gd name="T14" fmla="*/ 237 w 527"/>
                <a:gd name="T15" fmla="*/ 246 h 335"/>
                <a:gd name="T16" fmla="*/ 272 w 527"/>
                <a:gd name="T17" fmla="*/ 253 h 335"/>
                <a:gd name="T18" fmla="*/ 281 w 527"/>
                <a:gd name="T19" fmla="*/ 277 h 335"/>
                <a:gd name="T20" fmla="*/ 314 w 527"/>
                <a:gd name="T21" fmla="*/ 312 h 335"/>
                <a:gd name="T22" fmla="*/ 336 w 527"/>
                <a:gd name="T23" fmla="*/ 309 h 335"/>
                <a:gd name="T24" fmla="*/ 368 w 527"/>
                <a:gd name="T25" fmla="*/ 327 h 335"/>
                <a:gd name="T26" fmla="*/ 386 w 527"/>
                <a:gd name="T27" fmla="*/ 327 h 335"/>
                <a:gd name="T28" fmla="*/ 401 w 527"/>
                <a:gd name="T29" fmla="*/ 331 h 335"/>
                <a:gd name="T30" fmla="*/ 416 w 527"/>
                <a:gd name="T31" fmla="*/ 335 h 335"/>
                <a:gd name="T32" fmla="*/ 451 w 527"/>
                <a:gd name="T33" fmla="*/ 309 h 335"/>
                <a:gd name="T34" fmla="*/ 467 w 527"/>
                <a:gd name="T35" fmla="*/ 294 h 335"/>
                <a:gd name="T36" fmla="*/ 473 w 527"/>
                <a:gd name="T37" fmla="*/ 279 h 335"/>
                <a:gd name="T38" fmla="*/ 456 w 527"/>
                <a:gd name="T39" fmla="*/ 216 h 335"/>
                <a:gd name="T40" fmla="*/ 467 w 527"/>
                <a:gd name="T41" fmla="*/ 187 h 335"/>
                <a:gd name="T42" fmla="*/ 490 w 527"/>
                <a:gd name="T43" fmla="*/ 165 h 335"/>
                <a:gd name="T44" fmla="*/ 506 w 527"/>
                <a:gd name="T45" fmla="*/ 131 h 335"/>
                <a:gd name="T46" fmla="*/ 504 w 527"/>
                <a:gd name="T47" fmla="*/ 111 h 335"/>
                <a:gd name="T48" fmla="*/ 508 w 527"/>
                <a:gd name="T49" fmla="*/ 87 h 335"/>
                <a:gd name="T50" fmla="*/ 512 w 527"/>
                <a:gd name="T51" fmla="*/ 74 h 335"/>
                <a:gd name="T52" fmla="*/ 527 w 527"/>
                <a:gd name="T53" fmla="*/ 70 h 335"/>
                <a:gd name="T54" fmla="*/ 508 w 527"/>
                <a:gd name="T55" fmla="*/ 43 h 335"/>
                <a:gd name="T56" fmla="*/ 495 w 527"/>
                <a:gd name="T57" fmla="*/ 48 h 335"/>
                <a:gd name="T58" fmla="*/ 480 w 527"/>
                <a:gd name="T59" fmla="*/ 50 h 335"/>
                <a:gd name="T60" fmla="*/ 466 w 527"/>
                <a:gd name="T61" fmla="*/ 32 h 335"/>
                <a:gd name="T62" fmla="*/ 453 w 527"/>
                <a:gd name="T63" fmla="*/ 24 h 335"/>
                <a:gd name="T64" fmla="*/ 410 w 527"/>
                <a:gd name="T65" fmla="*/ 0 h 335"/>
                <a:gd name="T66" fmla="*/ 395 w 527"/>
                <a:gd name="T67" fmla="*/ 11 h 335"/>
                <a:gd name="T68" fmla="*/ 373 w 527"/>
                <a:gd name="T69" fmla="*/ 17 h 335"/>
                <a:gd name="T70" fmla="*/ 336 w 527"/>
                <a:gd name="T71" fmla="*/ 15 h 335"/>
                <a:gd name="T72" fmla="*/ 320 w 527"/>
                <a:gd name="T73" fmla="*/ 11 h 335"/>
                <a:gd name="T74" fmla="*/ 309 w 527"/>
                <a:gd name="T75" fmla="*/ 11 h 335"/>
                <a:gd name="T76" fmla="*/ 299 w 527"/>
                <a:gd name="T77" fmla="*/ 57 h 335"/>
                <a:gd name="T78" fmla="*/ 246 w 527"/>
                <a:gd name="T79" fmla="*/ 104 h 335"/>
                <a:gd name="T80" fmla="*/ 207 w 527"/>
                <a:gd name="T81" fmla="*/ 128 h 335"/>
                <a:gd name="T82" fmla="*/ 176 w 527"/>
                <a:gd name="T83" fmla="*/ 139 h 335"/>
                <a:gd name="T84" fmla="*/ 159 w 527"/>
                <a:gd name="T85" fmla="*/ 131 h 335"/>
                <a:gd name="T86" fmla="*/ 122 w 527"/>
                <a:gd name="T87" fmla="*/ 120 h 335"/>
                <a:gd name="T88" fmla="*/ 94 w 527"/>
                <a:gd name="T89" fmla="*/ 94 h 335"/>
                <a:gd name="T90" fmla="*/ 68 w 527"/>
                <a:gd name="T91" fmla="*/ 96 h 335"/>
                <a:gd name="T92" fmla="*/ 61 w 527"/>
                <a:gd name="T93" fmla="*/ 115 h 335"/>
                <a:gd name="T94" fmla="*/ 24 w 527"/>
                <a:gd name="T95" fmla="*/ 126 h 335"/>
                <a:gd name="T96" fmla="*/ 0 w 527"/>
                <a:gd name="T97" fmla="*/ 161 h 335"/>
                <a:gd name="T98" fmla="*/ 17 w 527"/>
                <a:gd name="T99" fmla="*/ 202 h 335"/>
                <a:gd name="T100" fmla="*/ 41 w 527"/>
                <a:gd name="T101" fmla="*/ 235 h 335"/>
                <a:gd name="T102" fmla="*/ 41 w 527"/>
                <a:gd name="T103" fmla="*/ 246 h 335"/>
                <a:gd name="T104" fmla="*/ 26 w 527"/>
                <a:gd name="T105" fmla="*/ 242 h 335"/>
                <a:gd name="T106" fmla="*/ 17 w 527"/>
                <a:gd name="T107" fmla="*/ 240 h 335"/>
                <a:gd name="T108" fmla="*/ 17 w 527"/>
                <a:gd name="T109" fmla="*/ 257 h 33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7"/>
                <a:gd name="T166" fmla="*/ 0 h 335"/>
                <a:gd name="T167" fmla="*/ 527 w 527"/>
                <a:gd name="T168" fmla="*/ 335 h 33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7" h="335">
                  <a:moveTo>
                    <a:pt x="32" y="270"/>
                  </a:moveTo>
                  <a:lnTo>
                    <a:pt x="32" y="268"/>
                  </a:lnTo>
                  <a:lnTo>
                    <a:pt x="33" y="268"/>
                  </a:lnTo>
                  <a:lnTo>
                    <a:pt x="39" y="268"/>
                  </a:lnTo>
                  <a:lnTo>
                    <a:pt x="44" y="272"/>
                  </a:lnTo>
                  <a:lnTo>
                    <a:pt x="48" y="274"/>
                  </a:lnTo>
                  <a:lnTo>
                    <a:pt x="54" y="275"/>
                  </a:lnTo>
                  <a:lnTo>
                    <a:pt x="59" y="275"/>
                  </a:lnTo>
                  <a:lnTo>
                    <a:pt x="65" y="274"/>
                  </a:lnTo>
                  <a:lnTo>
                    <a:pt x="80" y="266"/>
                  </a:lnTo>
                  <a:lnTo>
                    <a:pt x="94" y="257"/>
                  </a:lnTo>
                  <a:lnTo>
                    <a:pt x="102" y="253"/>
                  </a:lnTo>
                  <a:lnTo>
                    <a:pt x="109" y="251"/>
                  </a:lnTo>
                  <a:lnTo>
                    <a:pt x="115" y="250"/>
                  </a:lnTo>
                  <a:lnTo>
                    <a:pt x="120" y="250"/>
                  </a:lnTo>
                  <a:lnTo>
                    <a:pt x="148" y="239"/>
                  </a:lnTo>
                  <a:lnTo>
                    <a:pt x="174" y="229"/>
                  </a:lnTo>
                  <a:lnTo>
                    <a:pt x="190" y="229"/>
                  </a:lnTo>
                  <a:lnTo>
                    <a:pt x="201" y="231"/>
                  </a:lnTo>
                  <a:lnTo>
                    <a:pt x="196" y="248"/>
                  </a:lnTo>
                  <a:lnTo>
                    <a:pt x="196" y="259"/>
                  </a:lnTo>
                  <a:lnTo>
                    <a:pt x="209" y="253"/>
                  </a:lnTo>
                  <a:lnTo>
                    <a:pt x="224" y="250"/>
                  </a:lnTo>
                  <a:lnTo>
                    <a:pt x="237" y="246"/>
                  </a:lnTo>
                  <a:lnTo>
                    <a:pt x="251" y="246"/>
                  </a:lnTo>
                  <a:lnTo>
                    <a:pt x="262" y="250"/>
                  </a:lnTo>
                  <a:lnTo>
                    <a:pt x="272" y="253"/>
                  </a:lnTo>
                  <a:lnTo>
                    <a:pt x="277" y="257"/>
                  </a:lnTo>
                  <a:lnTo>
                    <a:pt x="279" y="264"/>
                  </a:lnTo>
                  <a:lnTo>
                    <a:pt x="281" y="277"/>
                  </a:lnTo>
                  <a:lnTo>
                    <a:pt x="285" y="292"/>
                  </a:lnTo>
                  <a:lnTo>
                    <a:pt x="299" y="303"/>
                  </a:lnTo>
                  <a:lnTo>
                    <a:pt x="314" y="312"/>
                  </a:lnTo>
                  <a:lnTo>
                    <a:pt x="322" y="311"/>
                  </a:lnTo>
                  <a:lnTo>
                    <a:pt x="329" y="311"/>
                  </a:lnTo>
                  <a:lnTo>
                    <a:pt x="336" y="309"/>
                  </a:lnTo>
                  <a:lnTo>
                    <a:pt x="344" y="312"/>
                  </a:lnTo>
                  <a:lnTo>
                    <a:pt x="357" y="322"/>
                  </a:lnTo>
                  <a:lnTo>
                    <a:pt x="368" y="327"/>
                  </a:lnTo>
                  <a:lnTo>
                    <a:pt x="373" y="327"/>
                  </a:lnTo>
                  <a:lnTo>
                    <a:pt x="381" y="327"/>
                  </a:lnTo>
                  <a:lnTo>
                    <a:pt x="386" y="327"/>
                  </a:lnTo>
                  <a:lnTo>
                    <a:pt x="394" y="325"/>
                  </a:lnTo>
                  <a:lnTo>
                    <a:pt x="397" y="327"/>
                  </a:lnTo>
                  <a:lnTo>
                    <a:pt x="401" y="331"/>
                  </a:lnTo>
                  <a:lnTo>
                    <a:pt x="405" y="333"/>
                  </a:lnTo>
                  <a:lnTo>
                    <a:pt x="410" y="335"/>
                  </a:lnTo>
                  <a:lnTo>
                    <a:pt x="416" y="335"/>
                  </a:lnTo>
                  <a:lnTo>
                    <a:pt x="423" y="333"/>
                  </a:lnTo>
                  <a:lnTo>
                    <a:pt x="438" y="322"/>
                  </a:lnTo>
                  <a:lnTo>
                    <a:pt x="451" y="309"/>
                  </a:lnTo>
                  <a:lnTo>
                    <a:pt x="456" y="303"/>
                  </a:lnTo>
                  <a:lnTo>
                    <a:pt x="464" y="298"/>
                  </a:lnTo>
                  <a:lnTo>
                    <a:pt x="467" y="294"/>
                  </a:lnTo>
                  <a:lnTo>
                    <a:pt x="471" y="290"/>
                  </a:lnTo>
                  <a:lnTo>
                    <a:pt x="473" y="285"/>
                  </a:lnTo>
                  <a:lnTo>
                    <a:pt x="473" y="279"/>
                  </a:lnTo>
                  <a:lnTo>
                    <a:pt x="464" y="259"/>
                  </a:lnTo>
                  <a:lnTo>
                    <a:pt x="455" y="233"/>
                  </a:lnTo>
                  <a:lnTo>
                    <a:pt x="456" y="216"/>
                  </a:lnTo>
                  <a:lnTo>
                    <a:pt x="460" y="202"/>
                  </a:lnTo>
                  <a:lnTo>
                    <a:pt x="464" y="194"/>
                  </a:lnTo>
                  <a:lnTo>
                    <a:pt x="467" y="187"/>
                  </a:lnTo>
                  <a:lnTo>
                    <a:pt x="471" y="181"/>
                  </a:lnTo>
                  <a:lnTo>
                    <a:pt x="477" y="176"/>
                  </a:lnTo>
                  <a:lnTo>
                    <a:pt x="490" y="165"/>
                  </a:lnTo>
                  <a:lnTo>
                    <a:pt x="497" y="159"/>
                  </a:lnTo>
                  <a:lnTo>
                    <a:pt x="501" y="152"/>
                  </a:lnTo>
                  <a:lnTo>
                    <a:pt x="506" y="131"/>
                  </a:lnTo>
                  <a:lnTo>
                    <a:pt x="504" y="126"/>
                  </a:lnTo>
                  <a:lnTo>
                    <a:pt x="504" y="118"/>
                  </a:lnTo>
                  <a:lnTo>
                    <a:pt x="504" y="111"/>
                  </a:lnTo>
                  <a:lnTo>
                    <a:pt x="506" y="104"/>
                  </a:lnTo>
                  <a:lnTo>
                    <a:pt x="506" y="94"/>
                  </a:lnTo>
                  <a:lnTo>
                    <a:pt x="508" y="87"/>
                  </a:lnTo>
                  <a:lnTo>
                    <a:pt x="508" y="80"/>
                  </a:lnTo>
                  <a:lnTo>
                    <a:pt x="506" y="74"/>
                  </a:lnTo>
                  <a:lnTo>
                    <a:pt x="512" y="74"/>
                  </a:lnTo>
                  <a:lnTo>
                    <a:pt x="517" y="74"/>
                  </a:lnTo>
                  <a:lnTo>
                    <a:pt x="521" y="72"/>
                  </a:lnTo>
                  <a:lnTo>
                    <a:pt x="527" y="70"/>
                  </a:lnTo>
                  <a:lnTo>
                    <a:pt x="517" y="52"/>
                  </a:lnTo>
                  <a:lnTo>
                    <a:pt x="514" y="43"/>
                  </a:lnTo>
                  <a:lnTo>
                    <a:pt x="508" y="43"/>
                  </a:lnTo>
                  <a:lnTo>
                    <a:pt x="503" y="44"/>
                  </a:lnTo>
                  <a:lnTo>
                    <a:pt x="499" y="46"/>
                  </a:lnTo>
                  <a:lnTo>
                    <a:pt x="495" y="48"/>
                  </a:lnTo>
                  <a:lnTo>
                    <a:pt x="491" y="50"/>
                  </a:lnTo>
                  <a:lnTo>
                    <a:pt x="486" y="50"/>
                  </a:lnTo>
                  <a:lnTo>
                    <a:pt x="480" y="50"/>
                  </a:lnTo>
                  <a:lnTo>
                    <a:pt x="475" y="44"/>
                  </a:lnTo>
                  <a:lnTo>
                    <a:pt x="469" y="37"/>
                  </a:lnTo>
                  <a:lnTo>
                    <a:pt x="466" y="32"/>
                  </a:lnTo>
                  <a:lnTo>
                    <a:pt x="462" y="28"/>
                  </a:lnTo>
                  <a:lnTo>
                    <a:pt x="460" y="26"/>
                  </a:lnTo>
                  <a:lnTo>
                    <a:pt x="453" y="24"/>
                  </a:lnTo>
                  <a:lnTo>
                    <a:pt x="445" y="19"/>
                  </a:lnTo>
                  <a:lnTo>
                    <a:pt x="425" y="6"/>
                  </a:lnTo>
                  <a:lnTo>
                    <a:pt x="410" y="0"/>
                  </a:lnTo>
                  <a:lnTo>
                    <a:pt x="403" y="2"/>
                  </a:lnTo>
                  <a:lnTo>
                    <a:pt x="394" y="6"/>
                  </a:lnTo>
                  <a:lnTo>
                    <a:pt x="395" y="11"/>
                  </a:lnTo>
                  <a:lnTo>
                    <a:pt x="395" y="15"/>
                  </a:lnTo>
                  <a:lnTo>
                    <a:pt x="388" y="17"/>
                  </a:lnTo>
                  <a:lnTo>
                    <a:pt x="373" y="17"/>
                  </a:lnTo>
                  <a:lnTo>
                    <a:pt x="358" y="15"/>
                  </a:lnTo>
                  <a:lnTo>
                    <a:pt x="344" y="15"/>
                  </a:lnTo>
                  <a:lnTo>
                    <a:pt x="336" y="15"/>
                  </a:lnTo>
                  <a:lnTo>
                    <a:pt x="329" y="15"/>
                  </a:lnTo>
                  <a:lnTo>
                    <a:pt x="323" y="13"/>
                  </a:lnTo>
                  <a:lnTo>
                    <a:pt x="320" y="11"/>
                  </a:lnTo>
                  <a:lnTo>
                    <a:pt x="316" y="9"/>
                  </a:lnTo>
                  <a:lnTo>
                    <a:pt x="312" y="9"/>
                  </a:lnTo>
                  <a:lnTo>
                    <a:pt x="309" y="11"/>
                  </a:lnTo>
                  <a:lnTo>
                    <a:pt x="303" y="15"/>
                  </a:lnTo>
                  <a:lnTo>
                    <a:pt x="301" y="35"/>
                  </a:lnTo>
                  <a:lnTo>
                    <a:pt x="299" y="57"/>
                  </a:lnTo>
                  <a:lnTo>
                    <a:pt x="283" y="74"/>
                  </a:lnTo>
                  <a:lnTo>
                    <a:pt x="264" y="89"/>
                  </a:lnTo>
                  <a:lnTo>
                    <a:pt x="246" y="104"/>
                  </a:lnTo>
                  <a:lnTo>
                    <a:pt x="227" y="117"/>
                  </a:lnTo>
                  <a:lnTo>
                    <a:pt x="216" y="122"/>
                  </a:lnTo>
                  <a:lnTo>
                    <a:pt x="207" y="128"/>
                  </a:lnTo>
                  <a:lnTo>
                    <a:pt x="196" y="135"/>
                  </a:lnTo>
                  <a:lnTo>
                    <a:pt x="183" y="139"/>
                  </a:lnTo>
                  <a:lnTo>
                    <a:pt x="176" y="139"/>
                  </a:lnTo>
                  <a:lnTo>
                    <a:pt x="168" y="137"/>
                  </a:lnTo>
                  <a:lnTo>
                    <a:pt x="165" y="135"/>
                  </a:lnTo>
                  <a:lnTo>
                    <a:pt x="159" y="131"/>
                  </a:lnTo>
                  <a:lnTo>
                    <a:pt x="152" y="124"/>
                  </a:lnTo>
                  <a:lnTo>
                    <a:pt x="142" y="117"/>
                  </a:lnTo>
                  <a:lnTo>
                    <a:pt x="122" y="120"/>
                  </a:lnTo>
                  <a:lnTo>
                    <a:pt x="107" y="124"/>
                  </a:lnTo>
                  <a:lnTo>
                    <a:pt x="102" y="107"/>
                  </a:lnTo>
                  <a:lnTo>
                    <a:pt x="94" y="94"/>
                  </a:lnTo>
                  <a:lnTo>
                    <a:pt x="81" y="93"/>
                  </a:lnTo>
                  <a:lnTo>
                    <a:pt x="72" y="93"/>
                  </a:lnTo>
                  <a:lnTo>
                    <a:pt x="68" y="96"/>
                  </a:lnTo>
                  <a:lnTo>
                    <a:pt x="65" y="102"/>
                  </a:lnTo>
                  <a:lnTo>
                    <a:pt x="63" y="107"/>
                  </a:lnTo>
                  <a:lnTo>
                    <a:pt x="61" y="115"/>
                  </a:lnTo>
                  <a:lnTo>
                    <a:pt x="56" y="122"/>
                  </a:lnTo>
                  <a:lnTo>
                    <a:pt x="48" y="128"/>
                  </a:lnTo>
                  <a:lnTo>
                    <a:pt x="24" y="126"/>
                  </a:lnTo>
                  <a:lnTo>
                    <a:pt x="0" y="124"/>
                  </a:lnTo>
                  <a:lnTo>
                    <a:pt x="0" y="144"/>
                  </a:lnTo>
                  <a:lnTo>
                    <a:pt x="0" y="161"/>
                  </a:lnTo>
                  <a:lnTo>
                    <a:pt x="2" y="178"/>
                  </a:lnTo>
                  <a:lnTo>
                    <a:pt x="6" y="189"/>
                  </a:lnTo>
                  <a:lnTo>
                    <a:pt x="17" y="202"/>
                  </a:lnTo>
                  <a:lnTo>
                    <a:pt x="30" y="218"/>
                  </a:lnTo>
                  <a:lnTo>
                    <a:pt x="35" y="227"/>
                  </a:lnTo>
                  <a:lnTo>
                    <a:pt x="41" y="235"/>
                  </a:lnTo>
                  <a:lnTo>
                    <a:pt x="41" y="239"/>
                  </a:lnTo>
                  <a:lnTo>
                    <a:pt x="41" y="242"/>
                  </a:lnTo>
                  <a:lnTo>
                    <a:pt x="41" y="246"/>
                  </a:lnTo>
                  <a:lnTo>
                    <a:pt x="39" y="248"/>
                  </a:lnTo>
                  <a:lnTo>
                    <a:pt x="32" y="246"/>
                  </a:lnTo>
                  <a:lnTo>
                    <a:pt x="26" y="242"/>
                  </a:lnTo>
                  <a:lnTo>
                    <a:pt x="22" y="240"/>
                  </a:lnTo>
                  <a:lnTo>
                    <a:pt x="19" y="239"/>
                  </a:lnTo>
                  <a:lnTo>
                    <a:pt x="17" y="240"/>
                  </a:lnTo>
                  <a:lnTo>
                    <a:pt x="13" y="244"/>
                  </a:lnTo>
                  <a:lnTo>
                    <a:pt x="13" y="251"/>
                  </a:lnTo>
                  <a:lnTo>
                    <a:pt x="17" y="257"/>
                  </a:lnTo>
                  <a:lnTo>
                    <a:pt x="22" y="264"/>
                  </a:lnTo>
                  <a:lnTo>
                    <a:pt x="32" y="27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3" name="Freeform 29"/>
            <p:cNvSpPr>
              <a:spLocks/>
            </p:cNvSpPr>
            <p:nvPr/>
          </p:nvSpPr>
          <p:spPr bwMode="auto">
            <a:xfrm>
              <a:off x="5104312" y="2410582"/>
              <a:ext cx="534837" cy="561319"/>
            </a:xfrm>
            <a:custGeom>
              <a:avLst/>
              <a:gdLst>
                <a:gd name="T0" fmla="*/ 456 w 1025"/>
                <a:gd name="T1" fmla="*/ 28 h 1103"/>
                <a:gd name="T2" fmla="*/ 462 w 1025"/>
                <a:gd name="T3" fmla="*/ 79 h 1103"/>
                <a:gd name="T4" fmla="*/ 458 w 1025"/>
                <a:gd name="T5" fmla="*/ 175 h 1103"/>
                <a:gd name="T6" fmla="*/ 432 w 1025"/>
                <a:gd name="T7" fmla="*/ 246 h 1103"/>
                <a:gd name="T8" fmla="*/ 417 w 1025"/>
                <a:gd name="T9" fmla="*/ 342 h 1103"/>
                <a:gd name="T10" fmla="*/ 415 w 1025"/>
                <a:gd name="T11" fmla="*/ 392 h 1103"/>
                <a:gd name="T12" fmla="*/ 443 w 1025"/>
                <a:gd name="T13" fmla="*/ 434 h 1103"/>
                <a:gd name="T14" fmla="*/ 393 w 1025"/>
                <a:gd name="T15" fmla="*/ 479 h 1103"/>
                <a:gd name="T16" fmla="*/ 353 w 1025"/>
                <a:gd name="T17" fmla="*/ 440 h 1103"/>
                <a:gd name="T18" fmla="*/ 321 w 1025"/>
                <a:gd name="T19" fmla="*/ 467 h 1103"/>
                <a:gd name="T20" fmla="*/ 264 w 1025"/>
                <a:gd name="T21" fmla="*/ 523 h 1103"/>
                <a:gd name="T22" fmla="*/ 258 w 1025"/>
                <a:gd name="T23" fmla="*/ 578 h 1103"/>
                <a:gd name="T24" fmla="*/ 229 w 1025"/>
                <a:gd name="T25" fmla="*/ 560 h 1103"/>
                <a:gd name="T26" fmla="*/ 194 w 1025"/>
                <a:gd name="T27" fmla="*/ 547 h 1103"/>
                <a:gd name="T28" fmla="*/ 153 w 1025"/>
                <a:gd name="T29" fmla="*/ 558 h 1103"/>
                <a:gd name="T30" fmla="*/ 101 w 1025"/>
                <a:gd name="T31" fmla="*/ 632 h 1103"/>
                <a:gd name="T32" fmla="*/ 74 w 1025"/>
                <a:gd name="T33" fmla="*/ 715 h 1103"/>
                <a:gd name="T34" fmla="*/ 52 w 1025"/>
                <a:gd name="T35" fmla="*/ 774 h 1103"/>
                <a:gd name="T36" fmla="*/ 2 w 1025"/>
                <a:gd name="T37" fmla="*/ 844 h 1103"/>
                <a:gd name="T38" fmla="*/ 70 w 1025"/>
                <a:gd name="T39" fmla="*/ 902 h 1103"/>
                <a:gd name="T40" fmla="*/ 131 w 1025"/>
                <a:gd name="T41" fmla="*/ 946 h 1103"/>
                <a:gd name="T42" fmla="*/ 172 w 1025"/>
                <a:gd name="T43" fmla="*/ 966 h 1103"/>
                <a:gd name="T44" fmla="*/ 286 w 1025"/>
                <a:gd name="T45" fmla="*/ 994 h 1103"/>
                <a:gd name="T46" fmla="*/ 345 w 1025"/>
                <a:gd name="T47" fmla="*/ 1033 h 1103"/>
                <a:gd name="T48" fmla="*/ 371 w 1025"/>
                <a:gd name="T49" fmla="*/ 1070 h 1103"/>
                <a:gd name="T50" fmla="*/ 412 w 1025"/>
                <a:gd name="T51" fmla="*/ 1101 h 1103"/>
                <a:gd name="T52" fmla="*/ 436 w 1025"/>
                <a:gd name="T53" fmla="*/ 1079 h 1103"/>
                <a:gd name="T54" fmla="*/ 410 w 1025"/>
                <a:gd name="T55" fmla="*/ 1059 h 1103"/>
                <a:gd name="T56" fmla="*/ 443 w 1025"/>
                <a:gd name="T57" fmla="*/ 1040 h 1103"/>
                <a:gd name="T58" fmla="*/ 473 w 1025"/>
                <a:gd name="T59" fmla="*/ 1037 h 1103"/>
                <a:gd name="T60" fmla="*/ 608 w 1025"/>
                <a:gd name="T61" fmla="*/ 855 h 1103"/>
                <a:gd name="T62" fmla="*/ 622 w 1025"/>
                <a:gd name="T63" fmla="*/ 730 h 1103"/>
                <a:gd name="T64" fmla="*/ 609 w 1025"/>
                <a:gd name="T65" fmla="*/ 660 h 1103"/>
                <a:gd name="T66" fmla="*/ 654 w 1025"/>
                <a:gd name="T67" fmla="*/ 617 h 1103"/>
                <a:gd name="T68" fmla="*/ 759 w 1025"/>
                <a:gd name="T69" fmla="*/ 591 h 1103"/>
                <a:gd name="T70" fmla="*/ 802 w 1025"/>
                <a:gd name="T71" fmla="*/ 599 h 1103"/>
                <a:gd name="T72" fmla="*/ 875 w 1025"/>
                <a:gd name="T73" fmla="*/ 573 h 1103"/>
                <a:gd name="T74" fmla="*/ 909 w 1025"/>
                <a:gd name="T75" fmla="*/ 517 h 1103"/>
                <a:gd name="T76" fmla="*/ 959 w 1025"/>
                <a:gd name="T77" fmla="*/ 543 h 1103"/>
                <a:gd name="T78" fmla="*/ 968 w 1025"/>
                <a:gd name="T79" fmla="*/ 491 h 1103"/>
                <a:gd name="T80" fmla="*/ 966 w 1025"/>
                <a:gd name="T81" fmla="*/ 416 h 1103"/>
                <a:gd name="T82" fmla="*/ 1016 w 1025"/>
                <a:gd name="T83" fmla="*/ 414 h 1103"/>
                <a:gd name="T84" fmla="*/ 1005 w 1025"/>
                <a:gd name="T85" fmla="*/ 355 h 1103"/>
                <a:gd name="T86" fmla="*/ 988 w 1025"/>
                <a:gd name="T87" fmla="*/ 321 h 1103"/>
                <a:gd name="T88" fmla="*/ 957 w 1025"/>
                <a:gd name="T89" fmla="*/ 323 h 1103"/>
                <a:gd name="T90" fmla="*/ 914 w 1025"/>
                <a:gd name="T91" fmla="*/ 301 h 1103"/>
                <a:gd name="T92" fmla="*/ 826 w 1025"/>
                <a:gd name="T93" fmla="*/ 264 h 1103"/>
                <a:gd name="T94" fmla="*/ 792 w 1025"/>
                <a:gd name="T95" fmla="*/ 347 h 1103"/>
                <a:gd name="T96" fmla="*/ 750 w 1025"/>
                <a:gd name="T97" fmla="*/ 423 h 1103"/>
                <a:gd name="T98" fmla="*/ 715 w 1025"/>
                <a:gd name="T99" fmla="*/ 390 h 1103"/>
                <a:gd name="T100" fmla="*/ 639 w 1025"/>
                <a:gd name="T101" fmla="*/ 429 h 1103"/>
                <a:gd name="T102" fmla="*/ 613 w 1025"/>
                <a:gd name="T103" fmla="*/ 362 h 1103"/>
                <a:gd name="T104" fmla="*/ 635 w 1025"/>
                <a:gd name="T105" fmla="*/ 257 h 1103"/>
                <a:gd name="T106" fmla="*/ 574 w 1025"/>
                <a:gd name="T107" fmla="*/ 146 h 1103"/>
                <a:gd name="T108" fmla="*/ 545 w 1025"/>
                <a:gd name="T109" fmla="*/ 57 h 1103"/>
                <a:gd name="T110" fmla="*/ 515 w 1025"/>
                <a:gd name="T111" fmla="*/ 41 h 1103"/>
                <a:gd name="T112" fmla="*/ 504 w 1025"/>
                <a:gd name="T113" fmla="*/ 5 h 11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25"/>
                <a:gd name="T172" fmla="*/ 0 h 1103"/>
                <a:gd name="T173" fmla="*/ 1025 w 1025"/>
                <a:gd name="T174" fmla="*/ 1103 h 11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25" h="1103">
                  <a:moveTo>
                    <a:pt x="504" y="5"/>
                  </a:moveTo>
                  <a:lnTo>
                    <a:pt x="510" y="11"/>
                  </a:lnTo>
                  <a:lnTo>
                    <a:pt x="511" y="18"/>
                  </a:lnTo>
                  <a:lnTo>
                    <a:pt x="511" y="20"/>
                  </a:lnTo>
                  <a:lnTo>
                    <a:pt x="510" y="24"/>
                  </a:lnTo>
                  <a:lnTo>
                    <a:pt x="506" y="28"/>
                  </a:lnTo>
                  <a:lnTo>
                    <a:pt x="502" y="30"/>
                  </a:lnTo>
                  <a:lnTo>
                    <a:pt x="471" y="30"/>
                  </a:lnTo>
                  <a:lnTo>
                    <a:pt x="456" y="28"/>
                  </a:lnTo>
                  <a:lnTo>
                    <a:pt x="458" y="41"/>
                  </a:lnTo>
                  <a:lnTo>
                    <a:pt x="458" y="50"/>
                  </a:lnTo>
                  <a:lnTo>
                    <a:pt x="458" y="55"/>
                  </a:lnTo>
                  <a:lnTo>
                    <a:pt x="456" y="61"/>
                  </a:lnTo>
                  <a:lnTo>
                    <a:pt x="451" y="68"/>
                  </a:lnTo>
                  <a:lnTo>
                    <a:pt x="451" y="79"/>
                  </a:lnTo>
                  <a:lnTo>
                    <a:pt x="454" y="79"/>
                  </a:lnTo>
                  <a:lnTo>
                    <a:pt x="460" y="79"/>
                  </a:lnTo>
                  <a:lnTo>
                    <a:pt x="462" y="79"/>
                  </a:lnTo>
                  <a:lnTo>
                    <a:pt x="463" y="81"/>
                  </a:lnTo>
                  <a:lnTo>
                    <a:pt x="463" y="85"/>
                  </a:lnTo>
                  <a:lnTo>
                    <a:pt x="463" y="92"/>
                  </a:lnTo>
                  <a:lnTo>
                    <a:pt x="456" y="96"/>
                  </a:lnTo>
                  <a:lnTo>
                    <a:pt x="447" y="100"/>
                  </a:lnTo>
                  <a:lnTo>
                    <a:pt x="454" y="120"/>
                  </a:lnTo>
                  <a:lnTo>
                    <a:pt x="467" y="148"/>
                  </a:lnTo>
                  <a:lnTo>
                    <a:pt x="462" y="161"/>
                  </a:lnTo>
                  <a:lnTo>
                    <a:pt x="458" y="175"/>
                  </a:lnTo>
                  <a:lnTo>
                    <a:pt x="460" y="187"/>
                  </a:lnTo>
                  <a:lnTo>
                    <a:pt x="460" y="196"/>
                  </a:lnTo>
                  <a:lnTo>
                    <a:pt x="451" y="205"/>
                  </a:lnTo>
                  <a:lnTo>
                    <a:pt x="439" y="214"/>
                  </a:lnTo>
                  <a:lnTo>
                    <a:pt x="441" y="227"/>
                  </a:lnTo>
                  <a:lnTo>
                    <a:pt x="445" y="233"/>
                  </a:lnTo>
                  <a:lnTo>
                    <a:pt x="443" y="238"/>
                  </a:lnTo>
                  <a:lnTo>
                    <a:pt x="438" y="242"/>
                  </a:lnTo>
                  <a:lnTo>
                    <a:pt x="432" y="246"/>
                  </a:lnTo>
                  <a:lnTo>
                    <a:pt x="425" y="249"/>
                  </a:lnTo>
                  <a:lnTo>
                    <a:pt x="412" y="255"/>
                  </a:lnTo>
                  <a:lnTo>
                    <a:pt x="403" y="262"/>
                  </a:lnTo>
                  <a:lnTo>
                    <a:pt x="403" y="277"/>
                  </a:lnTo>
                  <a:lnTo>
                    <a:pt x="401" y="299"/>
                  </a:lnTo>
                  <a:lnTo>
                    <a:pt x="403" y="316"/>
                  </a:lnTo>
                  <a:lnTo>
                    <a:pt x="406" y="327"/>
                  </a:lnTo>
                  <a:lnTo>
                    <a:pt x="410" y="336"/>
                  </a:lnTo>
                  <a:lnTo>
                    <a:pt x="417" y="342"/>
                  </a:lnTo>
                  <a:lnTo>
                    <a:pt x="430" y="345"/>
                  </a:lnTo>
                  <a:lnTo>
                    <a:pt x="441" y="347"/>
                  </a:lnTo>
                  <a:lnTo>
                    <a:pt x="441" y="358"/>
                  </a:lnTo>
                  <a:lnTo>
                    <a:pt x="438" y="368"/>
                  </a:lnTo>
                  <a:lnTo>
                    <a:pt x="434" y="375"/>
                  </a:lnTo>
                  <a:lnTo>
                    <a:pt x="428" y="381"/>
                  </a:lnTo>
                  <a:lnTo>
                    <a:pt x="423" y="384"/>
                  </a:lnTo>
                  <a:lnTo>
                    <a:pt x="419" y="388"/>
                  </a:lnTo>
                  <a:lnTo>
                    <a:pt x="415" y="392"/>
                  </a:lnTo>
                  <a:lnTo>
                    <a:pt x="414" y="395"/>
                  </a:lnTo>
                  <a:lnTo>
                    <a:pt x="415" y="401"/>
                  </a:lnTo>
                  <a:lnTo>
                    <a:pt x="419" y="405"/>
                  </a:lnTo>
                  <a:lnTo>
                    <a:pt x="423" y="408"/>
                  </a:lnTo>
                  <a:lnTo>
                    <a:pt x="428" y="410"/>
                  </a:lnTo>
                  <a:lnTo>
                    <a:pt x="434" y="414"/>
                  </a:lnTo>
                  <a:lnTo>
                    <a:pt x="439" y="418"/>
                  </a:lnTo>
                  <a:lnTo>
                    <a:pt x="441" y="425"/>
                  </a:lnTo>
                  <a:lnTo>
                    <a:pt x="443" y="434"/>
                  </a:lnTo>
                  <a:lnTo>
                    <a:pt x="441" y="440"/>
                  </a:lnTo>
                  <a:lnTo>
                    <a:pt x="436" y="445"/>
                  </a:lnTo>
                  <a:lnTo>
                    <a:pt x="430" y="449"/>
                  </a:lnTo>
                  <a:lnTo>
                    <a:pt x="423" y="455"/>
                  </a:lnTo>
                  <a:lnTo>
                    <a:pt x="419" y="469"/>
                  </a:lnTo>
                  <a:lnTo>
                    <a:pt x="415" y="482"/>
                  </a:lnTo>
                  <a:lnTo>
                    <a:pt x="410" y="484"/>
                  </a:lnTo>
                  <a:lnTo>
                    <a:pt x="399" y="482"/>
                  </a:lnTo>
                  <a:lnTo>
                    <a:pt x="393" y="479"/>
                  </a:lnTo>
                  <a:lnTo>
                    <a:pt x="390" y="477"/>
                  </a:lnTo>
                  <a:lnTo>
                    <a:pt x="386" y="471"/>
                  </a:lnTo>
                  <a:lnTo>
                    <a:pt x="384" y="467"/>
                  </a:lnTo>
                  <a:lnTo>
                    <a:pt x="378" y="464"/>
                  </a:lnTo>
                  <a:lnTo>
                    <a:pt x="373" y="462"/>
                  </a:lnTo>
                  <a:lnTo>
                    <a:pt x="366" y="464"/>
                  </a:lnTo>
                  <a:lnTo>
                    <a:pt x="362" y="464"/>
                  </a:lnTo>
                  <a:lnTo>
                    <a:pt x="358" y="455"/>
                  </a:lnTo>
                  <a:lnTo>
                    <a:pt x="353" y="440"/>
                  </a:lnTo>
                  <a:lnTo>
                    <a:pt x="349" y="434"/>
                  </a:lnTo>
                  <a:lnTo>
                    <a:pt x="345" y="432"/>
                  </a:lnTo>
                  <a:lnTo>
                    <a:pt x="340" y="434"/>
                  </a:lnTo>
                  <a:lnTo>
                    <a:pt x="334" y="443"/>
                  </a:lnTo>
                  <a:lnTo>
                    <a:pt x="327" y="445"/>
                  </a:lnTo>
                  <a:lnTo>
                    <a:pt x="321" y="451"/>
                  </a:lnTo>
                  <a:lnTo>
                    <a:pt x="319" y="455"/>
                  </a:lnTo>
                  <a:lnTo>
                    <a:pt x="319" y="462"/>
                  </a:lnTo>
                  <a:lnTo>
                    <a:pt x="321" y="467"/>
                  </a:lnTo>
                  <a:lnTo>
                    <a:pt x="321" y="473"/>
                  </a:lnTo>
                  <a:lnTo>
                    <a:pt x="319" y="479"/>
                  </a:lnTo>
                  <a:lnTo>
                    <a:pt x="318" y="484"/>
                  </a:lnTo>
                  <a:lnTo>
                    <a:pt x="299" y="491"/>
                  </a:lnTo>
                  <a:lnTo>
                    <a:pt x="282" y="499"/>
                  </a:lnTo>
                  <a:lnTo>
                    <a:pt x="279" y="514"/>
                  </a:lnTo>
                  <a:lnTo>
                    <a:pt x="279" y="525"/>
                  </a:lnTo>
                  <a:lnTo>
                    <a:pt x="269" y="523"/>
                  </a:lnTo>
                  <a:lnTo>
                    <a:pt x="264" y="523"/>
                  </a:lnTo>
                  <a:lnTo>
                    <a:pt x="258" y="525"/>
                  </a:lnTo>
                  <a:lnTo>
                    <a:pt x="255" y="528"/>
                  </a:lnTo>
                  <a:lnTo>
                    <a:pt x="253" y="532"/>
                  </a:lnTo>
                  <a:lnTo>
                    <a:pt x="253" y="538"/>
                  </a:lnTo>
                  <a:lnTo>
                    <a:pt x="253" y="543"/>
                  </a:lnTo>
                  <a:lnTo>
                    <a:pt x="253" y="549"/>
                  </a:lnTo>
                  <a:lnTo>
                    <a:pt x="257" y="562"/>
                  </a:lnTo>
                  <a:lnTo>
                    <a:pt x="258" y="573"/>
                  </a:lnTo>
                  <a:lnTo>
                    <a:pt x="258" y="578"/>
                  </a:lnTo>
                  <a:lnTo>
                    <a:pt x="260" y="582"/>
                  </a:lnTo>
                  <a:lnTo>
                    <a:pt x="258" y="586"/>
                  </a:lnTo>
                  <a:lnTo>
                    <a:pt x="257" y="588"/>
                  </a:lnTo>
                  <a:lnTo>
                    <a:pt x="253" y="588"/>
                  </a:lnTo>
                  <a:lnTo>
                    <a:pt x="247" y="586"/>
                  </a:lnTo>
                  <a:lnTo>
                    <a:pt x="244" y="584"/>
                  </a:lnTo>
                  <a:lnTo>
                    <a:pt x="240" y="580"/>
                  </a:lnTo>
                  <a:lnTo>
                    <a:pt x="234" y="571"/>
                  </a:lnTo>
                  <a:lnTo>
                    <a:pt x="229" y="560"/>
                  </a:lnTo>
                  <a:lnTo>
                    <a:pt x="223" y="551"/>
                  </a:lnTo>
                  <a:lnTo>
                    <a:pt x="218" y="541"/>
                  </a:lnTo>
                  <a:lnTo>
                    <a:pt x="216" y="538"/>
                  </a:lnTo>
                  <a:lnTo>
                    <a:pt x="212" y="536"/>
                  </a:lnTo>
                  <a:lnTo>
                    <a:pt x="210" y="536"/>
                  </a:lnTo>
                  <a:lnTo>
                    <a:pt x="207" y="536"/>
                  </a:lnTo>
                  <a:lnTo>
                    <a:pt x="201" y="538"/>
                  </a:lnTo>
                  <a:lnTo>
                    <a:pt x="197" y="541"/>
                  </a:lnTo>
                  <a:lnTo>
                    <a:pt x="194" y="547"/>
                  </a:lnTo>
                  <a:lnTo>
                    <a:pt x="192" y="552"/>
                  </a:lnTo>
                  <a:lnTo>
                    <a:pt x="188" y="560"/>
                  </a:lnTo>
                  <a:lnTo>
                    <a:pt x="185" y="565"/>
                  </a:lnTo>
                  <a:lnTo>
                    <a:pt x="179" y="569"/>
                  </a:lnTo>
                  <a:lnTo>
                    <a:pt x="170" y="571"/>
                  </a:lnTo>
                  <a:lnTo>
                    <a:pt x="162" y="569"/>
                  </a:lnTo>
                  <a:lnTo>
                    <a:pt x="157" y="565"/>
                  </a:lnTo>
                  <a:lnTo>
                    <a:pt x="155" y="560"/>
                  </a:lnTo>
                  <a:lnTo>
                    <a:pt x="153" y="558"/>
                  </a:lnTo>
                  <a:lnTo>
                    <a:pt x="138" y="556"/>
                  </a:lnTo>
                  <a:lnTo>
                    <a:pt x="120" y="558"/>
                  </a:lnTo>
                  <a:lnTo>
                    <a:pt x="111" y="580"/>
                  </a:lnTo>
                  <a:lnTo>
                    <a:pt x="101" y="599"/>
                  </a:lnTo>
                  <a:lnTo>
                    <a:pt x="92" y="612"/>
                  </a:lnTo>
                  <a:lnTo>
                    <a:pt x="87" y="619"/>
                  </a:lnTo>
                  <a:lnTo>
                    <a:pt x="94" y="625"/>
                  </a:lnTo>
                  <a:lnTo>
                    <a:pt x="103" y="628"/>
                  </a:lnTo>
                  <a:lnTo>
                    <a:pt x="101" y="632"/>
                  </a:lnTo>
                  <a:lnTo>
                    <a:pt x="98" y="636"/>
                  </a:lnTo>
                  <a:lnTo>
                    <a:pt x="105" y="639"/>
                  </a:lnTo>
                  <a:lnTo>
                    <a:pt x="112" y="647"/>
                  </a:lnTo>
                  <a:lnTo>
                    <a:pt x="112" y="665"/>
                  </a:lnTo>
                  <a:lnTo>
                    <a:pt x="111" y="678"/>
                  </a:lnTo>
                  <a:lnTo>
                    <a:pt x="103" y="687"/>
                  </a:lnTo>
                  <a:lnTo>
                    <a:pt x="90" y="698"/>
                  </a:lnTo>
                  <a:lnTo>
                    <a:pt x="81" y="708"/>
                  </a:lnTo>
                  <a:lnTo>
                    <a:pt x="74" y="715"/>
                  </a:lnTo>
                  <a:lnTo>
                    <a:pt x="70" y="722"/>
                  </a:lnTo>
                  <a:lnTo>
                    <a:pt x="68" y="728"/>
                  </a:lnTo>
                  <a:lnTo>
                    <a:pt x="64" y="741"/>
                  </a:lnTo>
                  <a:lnTo>
                    <a:pt x="66" y="758"/>
                  </a:lnTo>
                  <a:lnTo>
                    <a:pt x="61" y="758"/>
                  </a:lnTo>
                  <a:lnTo>
                    <a:pt x="59" y="759"/>
                  </a:lnTo>
                  <a:lnTo>
                    <a:pt x="55" y="763"/>
                  </a:lnTo>
                  <a:lnTo>
                    <a:pt x="53" y="765"/>
                  </a:lnTo>
                  <a:lnTo>
                    <a:pt x="52" y="774"/>
                  </a:lnTo>
                  <a:lnTo>
                    <a:pt x="52" y="782"/>
                  </a:lnTo>
                  <a:lnTo>
                    <a:pt x="50" y="791"/>
                  </a:lnTo>
                  <a:lnTo>
                    <a:pt x="50" y="800"/>
                  </a:lnTo>
                  <a:lnTo>
                    <a:pt x="48" y="809"/>
                  </a:lnTo>
                  <a:lnTo>
                    <a:pt x="44" y="815"/>
                  </a:lnTo>
                  <a:lnTo>
                    <a:pt x="24" y="820"/>
                  </a:lnTo>
                  <a:lnTo>
                    <a:pt x="2" y="830"/>
                  </a:lnTo>
                  <a:lnTo>
                    <a:pt x="0" y="837"/>
                  </a:lnTo>
                  <a:lnTo>
                    <a:pt x="2" y="844"/>
                  </a:lnTo>
                  <a:lnTo>
                    <a:pt x="5" y="854"/>
                  </a:lnTo>
                  <a:lnTo>
                    <a:pt x="11" y="863"/>
                  </a:lnTo>
                  <a:lnTo>
                    <a:pt x="26" y="883"/>
                  </a:lnTo>
                  <a:lnTo>
                    <a:pt x="39" y="902"/>
                  </a:lnTo>
                  <a:lnTo>
                    <a:pt x="48" y="898"/>
                  </a:lnTo>
                  <a:lnTo>
                    <a:pt x="55" y="896"/>
                  </a:lnTo>
                  <a:lnTo>
                    <a:pt x="70" y="902"/>
                  </a:lnTo>
                  <a:lnTo>
                    <a:pt x="90" y="915"/>
                  </a:lnTo>
                  <a:lnTo>
                    <a:pt x="98" y="920"/>
                  </a:lnTo>
                  <a:lnTo>
                    <a:pt x="105" y="922"/>
                  </a:lnTo>
                  <a:lnTo>
                    <a:pt x="107" y="924"/>
                  </a:lnTo>
                  <a:lnTo>
                    <a:pt x="111" y="928"/>
                  </a:lnTo>
                  <a:lnTo>
                    <a:pt x="114" y="933"/>
                  </a:lnTo>
                  <a:lnTo>
                    <a:pt x="120" y="940"/>
                  </a:lnTo>
                  <a:lnTo>
                    <a:pt x="125" y="946"/>
                  </a:lnTo>
                  <a:lnTo>
                    <a:pt x="131" y="946"/>
                  </a:lnTo>
                  <a:lnTo>
                    <a:pt x="136" y="946"/>
                  </a:lnTo>
                  <a:lnTo>
                    <a:pt x="140" y="944"/>
                  </a:lnTo>
                  <a:lnTo>
                    <a:pt x="144" y="942"/>
                  </a:lnTo>
                  <a:lnTo>
                    <a:pt x="148" y="940"/>
                  </a:lnTo>
                  <a:lnTo>
                    <a:pt x="153" y="939"/>
                  </a:lnTo>
                  <a:lnTo>
                    <a:pt x="159" y="939"/>
                  </a:lnTo>
                  <a:lnTo>
                    <a:pt x="162" y="948"/>
                  </a:lnTo>
                  <a:lnTo>
                    <a:pt x="172" y="966"/>
                  </a:lnTo>
                  <a:lnTo>
                    <a:pt x="201" y="940"/>
                  </a:lnTo>
                  <a:lnTo>
                    <a:pt x="223" y="924"/>
                  </a:lnTo>
                  <a:lnTo>
                    <a:pt x="233" y="939"/>
                  </a:lnTo>
                  <a:lnTo>
                    <a:pt x="251" y="963"/>
                  </a:lnTo>
                  <a:lnTo>
                    <a:pt x="260" y="968"/>
                  </a:lnTo>
                  <a:lnTo>
                    <a:pt x="269" y="977"/>
                  </a:lnTo>
                  <a:lnTo>
                    <a:pt x="279" y="985"/>
                  </a:lnTo>
                  <a:lnTo>
                    <a:pt x="286" y="994"/>
                  </a:lnTo>
                  <a:lnTo>
                    <a:pt x="292" y="1003"/>
                  </a:lnTo>
                  <a:lnTo>
                    <a:pt x="297" y="1013"/>
                  </a:lnTo>
                  <a:lnTo>
                    <a:pt x="303" y="1018"/>
                  </a:lnTo>
                  <a:lnTo>
                    <a:pt x="308" y="1020"/>
                  </a:lnTo>
                  <a:lnTo>
                    <a:pt x="323" y="1018"/>
                  </a:lnTo>
                  <a:lnTo>
                    <a:pt x="336" y="1020"/>
                  </a:lnTo>
                  <a:lnTo>
                    <a:pt x="340" y="1022"/>
                  </a:lnTo>
                  <a:lnTo>
                    <a:pt x="343" y="1027"/>
                  </a:lnTo>
                  <a:lnTo>
                    <a:pt x="345" y="1033"/>
                  </a:lnTo>
                  <a:lnTo>
                    <a:pt x="349" y="1042"/>
                  </a:lnTo>
                  <a:lnTo>
                    <a:pt x="354" y="1046"/>
                  </a:lnTo>
                  <a:lnTo>
                    <a:pt x="362" y="1046"/>
                  </a:lnTo>
                  <a:lnTo>
                    <a:pt x="366" y="1048"/>
                  </a:lnTo>
                  <a:lnTo>
                    <a:pt x="367" y="1050"/>
                  </a:lnTo>
                  <a:lnTo>
                    <a:pt x="369" y="1053"/>
                  </a:lnTo>
                  <a:lnTo>
                    <a:pt x="371" y="1059"/>
                  </a:lnTo>
                  <a:lnTo>
                    <a:pt x="371" y="1064"/>
                  </a:lnTo>
                  <a:lnTo>
                    <a:pt x="371" y="1070"/>
                  </a:lnTo>
                  <a:lnTo>
                    <a:pt x="373" y="1075"/>
                  </a:lnTo>
                  <a:lnTo>
                    <a:pt x="375" y="1079"/>
                  </a:lnTo>
                  <a:lnTo>
                    <a:pt x="388" y="1077"/>
                  </a:lnTo>
                  <a:lnTo>
                    <a:pt x="399" y="1077"/>
                  </a:lnTo>
                  <a:lnTo>
                    <a:pt x="403" y="1083"/>
                  </a:lnTo>
                  <a:lnTo>
                    <a:pt x="404" y="1092"/>
                  </a:lnTo>
                  <a:lnTo>
                    <a:pt x="406" y="1096"/>
                  </a:lnTo>
                  <a:lnTo>
                    <a:pt x="408" y="1099"/>
                  </a:lnTo>
                  <a:lnTo>
                    <a:pt x="412" y="1101"/>
                  </a:lnTo>
                  <a:lnTo>
                    <a:pt x="415" y="1103"/>
                  </a:lnTo>
                  <a:lnTo>
                    <a:pt x="421" y="1099"/>
                  </a:lnTo>
                  <a:lnTo>
                    <a:pt x="428" y="1094"/>
                  </a:lnTo>
                  <a:lnTo>
                    <a:pt x="434" y="1094"/>
                  </a:lnTo>
                  <a:lnTo>
                    <a:pt x="439" y="1094"/>
                  </a:lnTo>
                  <a:lnTo>
                    <a:pt x="445" y="1088"/>
                  </a:lnTo>
                  <a:lnTo>
                    <a:pt x="449" y="1079"/>
                  </a:lnTo>
                  <a:lnTo>
                    <a:pt x="436" y="1079"/>
                  </a:lnTo>
                  <a:lnTo>
                    <a:pt x="421" y="1077"/>
                  </a:lnTo>
                  <a:lnTo>
                    <a:pt x="415" y="1075"/>
                  </a:lnTo>
                  <a:lnTo>
                    <a:pt x="410" y="1074"/>
                  </a:lnTo>
                  <a:lnTo>
                    <a:pt x="406" y="1072"/>
                  </a:lnTo>
                  <a:lnTo>
                    <a:pt x="404" y="1066"/>
                  </a:lnTo>
                  <a:lnTo>
                    <a:pt x="404" y="1064"/>
                  </a:lnTo>
                  <a:lnTo>
                    <a:pt x="406" y="1062"/>
                  </a:lnTo>
                  <a:lnTo>
                    <a:pt x="408" y="1061"/>
                  </a:lnTo>
                  <a:lnTo>
                    <a:pt x="410" y="1059"/>
                  </a:lnTo>
                  <a:lnTo>
                    <a:pt x="417" y="1057"/>
                  </a:lnTo>
                  <a:lnTo>
                    <a:pt x="427" y="1055"/>
                  </a:lnTo>
                  <a:lnTo>
                    <a:pt x="436" y="1055"/>
                  </a:lnTo>
                  <a:lnTo>
                    <a:pt x="443" y="1053"/>
                  </a:lnTo>
                  <a:lnTo>
                    <a:pt x="445" y="1051"/>
                  </a:lnTo>
                  <a:lnTo>
                    <a:pt x="447" y="1050"/>
                  </a:lnTo>
                  <a:lnTo>
                    <a:pt x="449" y="1048"/>
                  </a:lnTo>
                  <a:lnTo>
                    <a:pt x="449" y="1046"/>
                  </a:lnTo>
                  <a:lnTo>
                    <a:pt x="443" y="1040"/>
                  </a:lnTo>
                  <a:lnTo>
                    <a:pt x="439" y="1035"/>
                  </a:lnTo>
                  <a:lnTo>
                    <a:pt x="438" y="1031"/>
                  </a:lnTo>
                  <a:lnTo>
                    <a:pt x="438" y="1025"/>
                  </a:lnTo>
                  <a:lnTo>
                    <a:pt x="445" y="1027"/>
                  </a:lnTo>
                  <a:lnTo>
                    <a:pt x="454" y="1033"/>
                  </a:lnTo>
                  <a:lnTo>
                    <a:pt x="458" y="1037"/>
                  </a:lnTo>
                  <a:lnTo>
                    <a:pt x="463" y="1038"/>
                  </a:lnTo>
                  <a:lnTo>
                    <a:pt x="469" y="1038"/>
                  </a:lnTo>
                  <a:lnTo>
                    <a:pt x="473" y="1037"/>
                  </a:lnTo>
                  <a:lnTo>
                    <a:pt x="487" y="1022"/>
                  </a:lnTo>
                  <a:lnTo>
                    <a:pt x="502" y="1000"/>
                  </a:lnTo>
                  <a:lnTo>
                    <a:pt x="523" y="985"/>
                  </a:lnTo>
                  <a:lnTo>
                    <a:pt x="539" y="970"/>
                  </a:lnTo>
                  <a:lnTo>
                    <a:pt x="548" y="950"/>
                  </a:lnTo>
                  <a:lnTo>
                    <a:pt x="556" y="924"/>
                  </a:lnTo>
                  <a:lnTo>
                    <a:pt x="578" y="898"/>
                  </a:lnTo>
                  <a:lnTo>
                    <a:pt x="600" y="872"/>
                  </a:lnTo>
                  <a:lnTo>
                    <a:pt x="608" y="855"/>
                  </a:lnTo>
                  <a:lnTo>
                    <a:pt x="617" y="839"/>
                  </a:lnTo>
                  <a:lnTo>
                    <a:pt x="624" y="822"/>
                  </a:lnTo>
                  <a:lnTo>
                    <a:pt x="632" y="802"/>
                  </a:lnTo>
                  <a:lnTo>
                    <a:pt x="632" y="793"/>
                  </a:lnTo>
                  <a:lnTo>
                    <a:pt x="633" y="785"/>
                  </a:lnTo>
                  <a:lnTo>
                    <a:pt x="628" y="761"/>
                  </a:lnTo>
                  <a:lnTo>
                    <a:pt x="624" y="741"/>
                  </a:lnTo>
                  <a:lnTo>
                    <a:pt x="622" y="730"/>
                  </a:lnTo>
                  <a:lnTo>
                    <a:pt x="620" y="721"/>
                  </a:lnTo>
                  <a:lnTo>
                    <a:pt x="622" y="710"/>
                  </a:lnTo>
                  <a:lnTo>
                    <a:pt x="624" y="700"/>
                  </a:lnTo>
                  <a:lnTo>
                    <a:pt x="632" y="689"/>
                  </a:lnTo>
                  <a:lnTo>
                    <a:pt x="637" y="680"/>
                  </a:lnTo>
                  <a:lnTo>
                    <a:pt x="632" y="674"/>
                  </a:lnTo>
                  <a:lnTo>
                    <a:pt x="620" y="667"/>
                  </a:lnTo>
                  <a:lnTo>
                    <a:pt x="615" y="663"/>
                  </a:lnTo>
                  <a:lnTo>
                    <a:pt x="609" y="660"/>
                  </a:lnTo>
                  <a:lnTo>
                    <a:pt x="606" y="652"/>
                  </a:lnTo>
                  <a:lnTo>
                    <a:pt x="606" y="647"/>
                  </a:lnTo>
                  <a:lnTo>
                    <a:pt x="609" y="639"/>
                  </a:lnTo>
                  <a:lnTo>
                    <a:pt x="613" y="634"/>
                  </a:lnTo>
                  <a:lnTo>
                    <a:pt x="619" y="630"/>
                  </a:lnTo>
                  <a:lnTo>
                    <a:pt x="626" y="628"/>
                  </a:lnTo>
                  <a:lnTo>
                    <a:pt x="637" y="625"/>
                  </a:lnTo>
                  <a:lnTo>
                    <a:pt x="646" y="623"/>
                  </a:lnTo>
                  <a:lnTo>
                    <a:pt x="654" y="617"/>
                  </a:lnTo>
                  <a:lnTo>
                    <a:pt x="659" y="612"/>
                  </a:lnTo>
                  <a:lnTo>
                    <a:pt x="669" y="606"/>
                  </a:lnTo>
                  <a:lnTo>
                    <a:pt x="680" y="602"/>
                  </a:lnTo>
                  <a:lnTo>
                    <a:pt x="694" y="606"/>
                  </a:lnTo>
                  <a:lnTo>
                    <a:pt x="713" y="606"/>
                  </a:lnTo>
                  <a:lnTo>
                    <a:pt x="722" y="591"/>
                  </a:lnTo>
                  <a:lnTo>
                    <a:pt x="731" y="580"/>
                  </a:lnTo>
                  <a:lnTo>
                    <a:pt x="746" y="584"/>
                  </a:lnTo>
                  <a:lnTo>
                    <a:pt x="759" y="591"/>
                  </a:lnTo>
                  <a:lnTo>
                    <a:pt x="765" y="584"/>
                  </a:lnTo>
                  <a:lnTo>
                    <a:pt x="770" y="578"/>
                  </a:lnTo>
                  <a:lnTo>
                    <a:pt x="776" y="582"/>
                  </a:lnTo>
                  <a:lnTo>
                    <a:pt x="779" y="589"/>
                  </a:lnTo>
                  <a:lnTo>
                    <a:pt x="781" y="593"/>
                  </a:lnTo>
                  <a:lnTo>
                    <a:pt x="783" y="597"/>
                  </a:lnTo>
                  <a:lnTo>
                    <a:pt x="787" y="599"/>
                  </a:lnTo>
                  <a:lnTo>
                    <a:pt x="792" y="600"/>
                  </a:lnTo>
                  <a:lnTo>
                    <a:pt x="802" y="599"/>
                  </a:lnTo>
                  <a:lnTo>
                    <a:pt x="811" y="595"/>
                  </a:lnTo>
                  <a:lnTo>
                    <a:pt x="822" y="600"/>
                  </a:lnTo>
                  <a:lnTo>
                    <a:pt x="838" y="604"/>
                  </a:lnTo>
                  <a:lnTo>
                    <a:pt x="846" y="597"/>
                  </a:lnTo>
                  <a:lnTo>
                    <a:pt x="853" y="588"/>
                  </a:lnTo>
                  <a:lnTo>
                    <a:pt x="859" y="586"/>
                  </a:lnTo>
                  <a:lnTo>
                    <a:pt x="864" y="584"/>
                  </a:lnTo>
                  <a:lnTo>
                    <a:pt x="870" y="580"/>
                  </a:lnTo>
                  <a:lnTo>
                    <a:pt x="875" y="573"/>
                  </a:lnTo>
                  <a:lnTo>
                    <a:pt x="877" y="558"/>
                  </a:lnTo>
                  <a:lnTo>
                    <a:pt x="875" y="543"/>
                  </a:lnTo>
                  <a:lnTo>
                    <a:pt x="888" y="541"/>
                  </a:lnTo>
                  <a:lnTo>
                    <a:pt x="901" y="540"/>
                  </a:lnTo>
                  <a:lnTo>
                    <a:pt x="903" y="534"/>
                  </a:lnTo>
                  <a:lnTo>
                    <a:pt x="903" y="527"/>
                  </a:lnTo>
                  <a:lnTo>
                    <a:pt x="905" y="523"/>
                  </a:lnTo>
                  <a:lnTo>
                    <a:pt x="907" y="519"/>
                  </a:lnTo>
                  <a:lnTo>
                    <a:pt x="909" y="517"/>
                  </a:lnTo>
                  <a:lnTo>
                    <a:pt x="914" y="515"/>
                  </a:lnTo>
                  <a:lnTo>
                    <a:pt x="920" y="515"/>
                  </a:lnTo>
                  <a:lnTo>
                    <a:pt x="927" y="517"/>
                  </a:lnTo>
                  <a:lnTo>
                    <a:pt x="933" y="521"/>
                  </a:lnTo>
                  <a:lnTo>
                    <a:pt x="938" y="527"/>
                  </a:lnTo>
                  <a:lnTo>
                    <a:pt x="931" y="536"/>
                  </a:lnTo>
                  <a:lnTo>
                    <a:pt x="916" y="554"/>
                  </a:lnTo>
                  <a:lnTo>
                    <a:pt x="935" y="551"/>
                  </a:lnTo>
                  <a:lnTo>
                    <a:pt x="959" y="543"/>
                  </a:lnTo>
                  <a:lnTo>
                    <a:pt x="981" y="534"/>
                  </a:lnTo>
                  <a:lnTo>
                    <a:pt x="992" y="528"/>
                  </a:lnTo>
                  <a:lnTo>
                    <a:pt x="990" y="515"/>
                  </a:lnTo>
                  <a:lnTo>
                    <a:pt x="988" y="510"/>
                  </a:lnTo>
                  <a:lnTo>
                    <a:pt x="984" y="506"/>
                  </a:lnTo>
                  <a:lnTo>
                    <a:pt x="983" y="504"/>
                  </a:lnTo>
                  <a:lnTo>
                    <a:pt x="975" y="504"/>
                  </a:lnTo>
                  <a:lnTo>
                    <a:pt x="970" y="501"/>
                  </a:lnTo>
                  <a:lnTo>
                    <a:pt x="968" y="491"/>
                  </a:lnTo>
                  <a:lnTo>
                    <a:pt x="968" y="482"/>
                  </a:lnTo>
                  <a:lnTo>
                    <a:pt x="962" y="475"/>
                  </a:lnTo>
                  <a:lnTo>
                    <a:pt x="959" y="467"/>
                  </a:lnTo>
                  <a:lnTo>
                    <a:pt x="964" y="455"/>
                  </a:lnTo>
                  <a:lnTo>
                    <a:pt x="970" y="445"/>
                  </a:lnTo>
                  <a:lnTo>
                    <a:pt x="966" y="432"/>
                  </a:lnTo>
                  <a:lnTo>
                    <a:pt x="964" y="423"/>
                  </a:lnTo>
                  <a:lnTo>
                    <a:pt x="964" y="419"/>
                  </a:lnTo>
                  <a:lnTo>
                    <a:pt x="966" y="416"/>
                  </a:lnTo>
                  <a:lnTo>
                    <a:pt x="968" y="412"/>
                  </a:lnTo>
                  <a:lnTo>
                    <a:pt x="970" y="410"/>
                  </a:lnTo>
                  <a:lnTo>
                    <a:pt x="979" y="405"/>
                  </a:lnTo>
                  <a:lnTo>
                    <a:pt x="984" y="405"/>
                  </a:lnTo>
                  <a:lnTo>
                    <a:pt x="990" y="406"/>
                  </a:lnTo>
                  <a:lnTo>
                    <a:pt x="995" y="408"/>
                  </a:lnTo>
                  <a:lnTo>
                    <a:pt x="1003" y="416"/>
                  </a:lnTo>
                  <a:lnTo>
                    <a:pt x="1012" y="419"/>
                  </a:lnTo>
                  <a:lnTo>
                    <a:pt x="1016" y="414"/>
                  </a:lnTo>
                  <a:lnTo>
                    <a:pt x="1021" y="408"/>
                  </a:lnTo>
                  <a:lnTo>
                    <a:pt x="1025" y="399"/>
                  </a:lnTo>
                  <a:lnTo>
                    <a:pt x="1025" y="394"/>
                  </a:lnTo>
                  <a:lnTo>
                    <a:pt x="1023" y="390"/>
                  </a:lnTo>
                  <a:lnTo>
                    <a:pt x="1019" y="386"/>
                  </a:lnTo>
                  <a:lnTo>
                    <a:pt x="1012" y="382"/>
                  </a:lnTo>
                  <a:lnTo>
                    <a:pt x="1008" y="375"/>
                  </a:lnTo>
                  <a:lnTo>
                    <a:pt x="1007" y="362"/>
                  </a:lnTo>
                  <a:lnTo>
                    <a:pt x="1005" y="355"/>
                  </a:lnTo>
                  <a:lnTo>
                    <a:pt x="1001" y="351"/>
                  </a:lnTo>
                  <a:lnTo>
                    <a:pt x="997" y="349"/>
                  </a:lnTo>
                  <a:lnTo>
                    <a:pt x="995" y="349"/>
                  </a:lnTo>
                  <a:lnTo>
                    <a:pt x="992" y="349"/>
                  </a:lnTo>
                  <a:lnTo>
                    <a:pt x="990" y="347"/>
                  </a:lnTo>
                  <a:lnTo>
                    <a:pt x="986" y="344"/>
                  </a:lnTo>
                  <a:lnTo>
                    <a:pt x="988" y="334"/>
                  </a:lnTo>
                  <a:lnTo>
                    <a:pt x="988" y="329"/>
                  </a:lnTo>
                  <a:lnTo>
                    <a:pt x="988" y="321"/>
                  </a:lnTo>
                  <a:lnTo>
                    <a:pt x="984" y="318"/>
                  </a:lnTo>
                  <a:lnTo>
                    <a:pt x="981" y="314"/>
                  </a:lnTo>
                  <a:lnTo>
                    <a:pt x="977" y="312"/>
                  </a:lnTo>
                  <a:lnTo>
                    <a:pt x="971" y="310"/>
                  </a:lnTo>
                  <a:lnTo>
                    <a:pt x="966" y="310"/>
                  </a:lnTo>
                  <a:lnTo>
                    <a:pt x="964" y="316"/>
                  </a:lnTo>
                  <a:lnTo>
                    <a:pt x="960" y="321"/>
                  </a:lnTo>
                  <a:lnTo>
                    <a:pt x="959" y="323"/>
                  </a:lnTo>
                  <a:lnTo>
                    <a:pt x="957" y="323"/>
                  </a:lnTo>
                  <a:lnTo>
                    <a:pt x="953" y="323"/>
                  </a:lnTo>
                  <a:lnTo>
                    <a:pt x="947" y="320"/>
                  </a:lnTo>
                  <a:lnTo>
                    <a:pt x="942" y="323"/>
                  </a:lnTo>
                  <a:lnTo>
                    <a:pt x="935" y="327"/>
                  </a:lnTo>
                  <a:lnTo>
                    <a:pt x="925" y="329"/>
                  </a:lnTo>
                  <a:lnTo>
                    <a:pt x="916" y="327"/>
                  </a:lnTo>
                  <a:lnTo>
                    <a:pt x="916" y="318"/>
                  </a:lnTo>
                  <a:lnTo>
                    <a:pt x="916" y="309"/>
                  </a:lnTo>
                  <a:lnTo>
                    <a:pt x="914" y="301"/>
                  </a:lnTo>
                  <a:lnTo>
                    <a:pt x="911" y="294"/>
                  </a:lnTo>
                  <a:lnTo>
                    <a:pt x="907" y="288"/>
                  </a:lnTo>
                  <a:lnTo>
                    <a:pt x="901" y="283"/>
                  </a:lnTo>
                  <a:lnTo>
                    <a:pt x="896" y="277"/>
                  </a:lnTo>
                  <a:lnTo>
                    <a:pt x="888" y="273"/>
                  </a:lnTo>
                  <a:lnTo>
                    <a:pt x="875" y="266"/>
                  </a:lnTo>
                  <a:lnTo>
                    <a:pt x="859" y="264"/>
                  </a:lnTo>
                  <a:lnTo>
                    <a:pt x="842" y="262"/>
                  </a:lnTo>
                  <a:lnTo>
                    <a:pt x="826" y="264"/>
                  </a:lnTo>
                  <a:lnTo>
                    <a:pt x="814" y="286"/>
                  </a:lnTo>
                  <a:lnTo>
                    <a:pt x="809" y="301"/>
                  </a:lnTo>
                  <a:lnTo>
                    <a:pt x="807" y="310"/>
                  </a:lnTo>
                  <a:lnTo>
                    <a:pt x="807" y="318"/>
                  </a:lnTo>
                  <a:lnTo>
                    <a:pt x="809" y="321"/>
                  </a:lnTo>
                  <a:lnTo>
                    <a:pt x="811" y="325"/>
                  </a:lnTo>
                  <a:lnTo>
                    <a:pt x="809" y="331"/>
                  </a:lnTo>
                  <a:lnTo>
                    <a:pt x="807" y="338"/>
                  </a:lnTo>
                  <a:lnTo>
                    <a:pt x="792" y="347"/>
                  </a:lnTo>
                  <a:lnTo>
                    <a:pt x="778" y="358"/>
                  </a:lnTo>
                  <a:lnTo>
                    <a:pt x="774" y="375"/>
                  </a:lnTo>
                  <a:lnTo>
                    <a:pt x="768" y="390"/>
                  </a:lnTo>
                  <a:lnTo>
                    <a:pt x="766" y="395"/>
                  </a:lnTo>
                  <a:lnTo>
                    <a:pt x="763" y="401"/>
                  </a:lnTo>
                  <a:lnTo>
                    <a:pt x="759" y="405"/>
                  </a:lnTo>
                  <a:lnTo>
                    <a:pt x="753" y="406"/>
                  </a:lnTo>
                  <a:lnTo>
                    <a:pt x="753" y="416"/>
                  </a:lnTo>
                  <a:lnTo>
                    <a:pt x="750" y="423"/>
                  </a:lnTo>
                  <a:lnTo>
                    <a:pt x="746" y="423"/>
                  </a:lnTo>
                  <a:lnTo>
                    <a:pt x="744" y="419"/>
                  </a:lnTo>
                  <a:lnTo>
                    <a:pt x="744" y="418"/>
                  </a:lnTo>
                  <a:lnTo>
                    <a:pt x="744" y="412"/>
                  </a:lnTo>
                  <a:lnTo>
                    <a:pt x="742" y="405"/>
                  </a:lnTo>
                  <a:lnTo>
                    <a:pt x="741" y="397"/>
                  </a:lnTo>
                  <a:lnTo>
                    <a:pt x="729" y="386"/>
                  </a:lnTo>
                  <a:lnTo>
                    <a:pt x="722" y="379"/>
                  </a:lnTo>
                  <a:lnTo>
                    <a:pt x="715" y="390"/>
                  </a:lnTo>
                  <a:lnTo>
                    <a:pt x="709" y="394"/>
                  </a:lnTo>
                  <a:lnTo>
                    <a:pt x="705" y="395"/>
                  </a:lnTo>
                  <a:lnTo>
                    <a:pt x="700" y="395"/>
                  </a:lnTo>
                  <a:lnTo>
                    <a:pt x="685" y="403"/>
                  </a:lnTo>
                  <a:lnTo>
                    <a:pt x="676" y="405"/>
                  </a:lnTo>
                  <a:lnTo>
                    <a:pt x="670" y="405"/>
                  </a:lnTo>
                  <a:lnTo>
                    <a:pt x="661" y="406"/>
                  </a:lnTo>
                  <a:lnTo>
                    <a:pt x="650" y="419"/>
                  </a:lnTo>
                  <a:lnTo>
                    <a:pt x="639" y="429"/>
                  </a:lnTo>
                  <a:lnTo>
                    <a:pt x="628" y="423"/>
                  </a:lnTo>
                  <a:lnTo>
                    <a:pt x="620" y="418"/>
                  </a:lnTo>
                  <a:lnTo>
                    <a:pt x="617" y="408"/>
                  </a:lnTo>
                  <a:lnTo>
                    <a:pt x="613" y="401"/>
                  </a:lnTo>
                  <a:lnTo>
                    <a:pt x="613" y="392"/>
                  </a:lnTo>
                  <a:lnTo>
                    <a:pt x="613" y="384"/>
                  </a:lnTo>
                  <a:lnTo>
                    <a:pt x="613" y="379"/>
                  </a:lnTo>
                  <a:lnTo>
                    <a:pt x="615" y="375"/>
                  </a:lnTo>
                  <a:lnTo>
                    <a:pt x="613" y="362"/>
                  </a:lnTo>
                  <a:lnTo>
                    <a:pt x="611" y="349"/>
                  </a:lnTo>
                  <a:lnTo>
                    <a:pt x="611" y="338"/>
                  </a:lnTo>
                  <a:lnTo>
                    <a:pt x="613" y="327"/>
                  </a:lnTo>
                  <a:lnTo>
                    <a:pt x="617" y="316"/>
                  </a:lnTo>
                  <a:lnTo>
                    <a:pt x="622" y="305"/>
                  </a:lnTo>
                  <a:lnTo>
                    <a:pt x="628" y="296"/>
                  </a:lnTo>
                  <a:lnTo>
                    <a:pt x="633" y="288"/>
                  </a:lnTo>
                  <a:lnTo>
                    <a:pt x="633" y="272"/>
                  </a:lnTo>
                  <a:lnTo>
                    <a:pt x="635" y="257"/>
                  </a:lnTo>
                  <a:lnTo>
                    <a:pt x="620" y="248"/>
                  </a:lnTo>
                  <a:lnTo>
                    <a:pt x="608" y="238"/>
                  </a:lnTo>
                  <a:lnTo>
                    <a:pt x="596" y="225"/>
                  </a:lnTo>
                  <a:lnTo>
                    <a:pt x="585" y="212"/>
                  </a:lnTo>
                  <a:lnTo>
                    <a:pt x="589" y="192"/>
                  </a:lnTo>
                  <a:lnTo>
                    <a:pt x="593" y="170"/>
                  </a:lnTo>
                  <a:lnTo>
                    <a:pt x="587" y="161"/>
                  </a:lnTo>
                  <a:lnTo>
                    <a:pt x="578" y="153"/>
                  </a:lnTo>
                  <a:lnTo>
                    <a:pt x="574" y="146"/>
                  </a:lnTo>
                  <a:lnTo>
                    <a:pt x="572" y="139"/>
                  </a:lnTo>
                  <a:lnTo>
                    <a:pt x="571" y="126"/>
                  </a:lnTo>
                  <a:lnTo>
                    <a:pt x="572" y="111"/>
                  </a:lnTo>
                  <a:lnTo>
                    <a:pt x="572" y="105"/>
                  </a:lnTo>
                  <a:lnTo>
                    <a:pt x="571" y="98"/>
                  </a:lnTo>
                  <a:lnTo>
                    <a:pt x="567" y="89"/>
                  </a:lnTo>
                  <a:lnTo>
                    <a:pt x="561" y="79"/>
                  </a:lnTo>
                  <a:lnTo>
                    <a:pt x="552" y="65"/>
                  </a:lnTo>
                  <a:lnTo>
                    <a:pt x="545" y="57"/>
                  </a:lnTo>
                  <a:lnTo>
                    <a:pt x="536" y="59"/>
                  </a:lnTo>
                  <a:lnTo>
                    <a:pt x="528" y="61"/>
                  </a:lnTo>
                  <a:lnTo>
                    <a:pt x="523" y="63"/>
                  </a:lnTo>
                  <a:lnTo>
                    <a:pt x="521" y="63"/>
                  </a:lnTo>
                  <a:lnTo>
                    <a:pt x="517" y="61"/>
                  </a:lnTo>
                  <a:lnTo>
                    <a:pt x="517" y="59"/>
                  </a:lnTo>
                  <a:lnTo>
                    <a:pt x="515" y="54"/>
                  </a:lnTo>
                  <a:lnTo>
                    <a:pt x="515" y="48"/>
                  </a:lnTo>
                  <a:lnTo>
                    <a:pt x="515" y="41"/>
                  </a:lnTo>
                  <a:lnTo>
                    <a:pt x="517" y="35"/>
                  </a:lnTo>
                  <a:lnTo>
                    <a:pt x="524" y="37"/>
                  </a:lnTo>
                  <a:lnTo>
                    <a:pt x="530" y="37"/>
                  </a:lnTo>
                  <a:lnTo>
                    <a:pt x="534" y="35"/>
                  </a:lnTo>
                  <a:lnTo>
                    <a:pt x="534" y="33"/>
                  </a:lnTo>
                  <a:lnTo>
                    <a:pt x="536" y="30"/>
                  </a:lnTo>
                  <a:lnTo>
                    <a:pt x="534" y="24"/>
                  </a:lnTo>
                  <a:lnTo>
                    <a:pt x="519" y="0"/>
                  </a:lnTo>
                  <a:lnTo>
                    <a:pt x="504" y="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4" name="Freeform 30"/>
            <p:cNvSpPr>
              <a:spLocks/>
            </p:cNvSpPr>
            <p:nvPr/>
          </p:nvSpPr>
          <p:spPr bwMode="auto">
            <a:xfrm>
              <a:off x="4786019" y="2883353"/>
              <a:ext cx="154450" cy="148091"/>
            </a:xfrm>
            <a:custGeom>
              <a:avLst/>
              <a:gdLst>
                <a:gd name="T0" fmla="*/ 0 w 296"/>
                <a:gd name="T1" fmla="*/ 145 h 291"/>
                <a:gd name="T2" fmla="*/ 0 w 296"/>
                <a:gd name="T3" fmla="*/ 159 h 291"/>
                <a:gd name="T4" fmla="*/ 21 w 296"/>
                <a:gd name="T5" fmla="*/ 170 h 291"/>
                <a:gd name="T6" fmla="*/ 33 w 296"/>
                <a:gd name="T7" fmla="*/ 180 h 291"/>
                <a:gd name="T8" fmla="*/ 39 w 296"/>
                <a:gd name="T9" fmla="*/ 218 h 291"/>
                <a:gd name="T10" fmla="*/ 52 w 296"/>
                <a:gd name="T11" fmla="*/ 237 h 291"/>
                <a:gd name="T12" fmla="*/ 69 w 296"/>
                <a:gd name="T13" fmla="*/ 244 h 291"/>
                <a:gd name="T14" fmla="*/ 89 w 296"/>
                <a:gd name="T15" fmla="*/ 242 h 291"/>
                <a:gd name="T16" fmla="*/ 118 w 296"/>
                <a:gd name="T17" fmla="*/ 242 h 291"/>
                <a:gd name="T18" fmla="*/ 131 w 296"/>
                <a:gd name="T19" fmla="*/ 261 h 291"/>
                <a:gd name="T20" fmla="*/ 146 w 296"/>
                <a:gd name="T21" fmla="*/ 278 h 291"/>
                <a:gd name="T22" fmla="*/ 159 w 296"/>
                <a:gd name="T23" fmla="*/ 285 h 291"/>
                <a:gd name="T24" fmla="*/ 185 w 296"/>
                <a:gd name="T25" fmla="*/ 287 h 291"/>
                <a:gd name="T26" fmla="*/ 248 w 296"/>
                <a:gd name="T27" fmla="*/ 274 h 291"/>
                <a:gd name="T28" fmla="*/ 281 w 296"/>
                <a:gd name="T29" fmla="*/ 263 h 291"/>
                <a:gd name="T30" fmla="*/ 285 w 296"/>
                <a:gd name="T31" fmla="*/ 244 h 291"/>
                <a:gd name="T32" fmla="*/ 272 w 296"/>
                <a:gd name="T33" fmla="*/ 224 h 291"/>
                <a:gd name="T34" fmla="*/ 272 w 296"/>
                <a:gd name="T35" fmla="*/ 207 h 291"/>
                <a:gd name="T36" fmla="*/ 281 w 296"/>
                <a:gd name="T37" fmla="*/ 209 h 291"/>
                <a:gd name="T38" fmla="*/ 296 w 296"/>
                <a:gd name="T39" fmla="*/ 213 h 291"/>
                <a:gd name="T40" fmla="*/ 296 w 296"/>
                <a:gd name="T41" fmla="*/ 202 h 291"/>
                <a:gd name="T42" fmla="*/ 272 w 296"/>
                <a:gd name="T43" fmla="*/ 169 h 291"/>
                <a:gd name="T44" fmla="*/ 255 w 296"/>
                <a:gd name="T45" fmla="*/ 128 h 291"/>
                <a:gd name="T46" fmla="*/ 248 w 296"/>
                <a:gd name="T47" fmla="*/ 95 h 291"/>
                <a:gd name="T48" fmla="*/ 238 w 296"/>
                <a:gd name="T49" fmla="*/ 109 h 291"/>
                <a:gd name="T50" fmla="*/ 227 w 296"/>
                <a:gd name="T51" fmla="*/ 113 h 291"/>
                <a:gd name="T52" fmla="*/ 224 w 296"/>
                <a:gd name="T53" fmla="*/ 106 h 291"/>
                <a:gd name="T54" fmla="*/ 218 w 296"/>
                <a:gd name="T55" fmla="*/ 84 h 291"/>
                <a:gd name="T56" fmla="*/ 220 w 296"/>
                <a:gd name="T57" fmla="*/ 58 h 291"/>
                <a:gd name="T58" fmla="*/ 240 w 296"/>
                <a:gd name="T59" fmla="*/ 45 h 291"/>
                <a:gd name="T60" fmla="*/ 246 w 296"/>
                <a:gd name="T61" fmla="*/ 28 h 291"/>
                <a:gd name="T62" fmla="*/ 235 w 296"/>
                <a:gd name="T63" fmla="*/ 23 h 291"/>
                <a:gd name="T64" fmla="*/ 216 w 296"/>
                <a:gd name="T65" fmla="*/ 13 h 291"/>
                <a:gd name="T66" fmla="*/ 211 w 296"/>
                <a:gd name="T67" fmla="*/ 23 h 291"/>
                <a:gd name="T68" fmla="*/ 200 w 296"/>
                <a:gd name="T69" fmla="*/ 21 h 291"/>
                <a:gd name="T70" fmla="*/ 190 w 296"/>
                <a:gd name="T71" fmla="*/ 8 h 291"/>
                <a:gd name="T72" fmla="*/ 170 w 296"/>
                <a:gd name="T73" fmla="*/ 0 h 291"/>
                <a:gd name="T74" fmla="*/ 159 w 296"/>
                <a:gd name="T75" fmla="*/ 24 h 291"/>
                <a:gd name="T76" fmla="*/ 142 w 296"/>
                <a:gd name="T77" fmla="*/ 34 h 291"/>
                <a:gd name="T78" fmla="*/ 109 w 296"/>
                <a:gd name="T79" fmla="*/ 47 h 291"/>
                <a:gd name="T80" fmla="*/ 59 w 296"/>
                <a:gd name="T81" fmla="*/ 67 h 291"/>
                <a:gd name="T82" fmla="*/ 24 w 296"/>
                <a:gd name="T83" fmla="*/ 72 h 291"/>
                <a:gd name="T84" fmla="*/ 2 w 296"/>
                <a:gd name="T85" fmla="*/ 82 h 291"/>
                <a:gd name="T86" fmla="*/ 11 w 296"/>
                <a:gd name="T87" fmla="*/ 115 h 29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96"/>
                <a:gd name="T133" fmla="*/ 0 h 291"/>
                <a:gd name="T134" fmla="*/ 296 w 296"/>
                <a:gd name="T135" fmla="*/ 291 h 29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96" h="291">
                  <a:moveTo>
                    <a:pt x="0" y="121"/>
                  </a:moveTo>
                  <a:lnTo>
                    <a:pt x="2" y="133"/>
                  </a:lnTo>
                  <a:lnTo>
                    <a:pt x="0" y="145"/>
                  </a:lnTo>
                  <a:lnTo>
                    <a:pt x="0" y="148"/>
                  </a:lnTo>
                  <a:lnTo>
                    <a:pt x="0" y="154"/>
                  </a:lnTo>
                  <a:lnTo>
                    <a:pt x="0" y="159"/>
                  </a:lnTo>
                  <a:lnTo>
                    <a:pt x="4" y="165"/>
                  </a:lnTo>
                  <a:lnTo>
                    <a:pt x="11" y="169"/>
                  </a:lnTo>
                  <a:lnTo>
                    <a:pt x="21" y="170"/>
                  </a:lnTo>
                  <a:lnTo>
                    <a:pt x="26" y="172"/>
                  </a:lnTo>
                  <a:lnTo>
                    <a:pt x="30" y="174"/>
                  </a:lnTo>
                  <a:lnTo>
                    <a:pt x="33" y="180"/>
                  </a:lnTo>
                  <a:lnTo>
                    <a:pt x="35" y="185"/>
                  </a:lnTo>
                  <a:lnTo>
                    <a:pt x="37" y="202"/>
                  </a:lnTo>
                  <a:lnTo>
                    <a:pt x="39" y="218"/>
                  </a:lnTo>
                  <a:lnTo>
                    <a:pt x="43" y="224"/>
                  </a:lnTo>
                  <a:lnTo>
                    <a:pt x="46" y="231"/>
                  </a:lnTo>
                  <a:lnTo>
                    <a:pt x="52" y="237"/>
                  </a:lnTo>
                  <a:lnTo>
                    <a:pt x="57" y="242"/>
                  </a:lnTo>
                  <a:lnTo>
                    <a:pt x="63" y="244"/>
                  </a:lnTo>
                  <a:lnTo>
                    <a:pt x="69" y="244"/>
                  </a:lnTo>
                  <a:lnTo>
                    <a:pt x="74" y="244"/>
                  </a:lnTo>
                  <a:lnTo>
                    <a:pt x="78" y="244"/>
                  </a:lnTo>
                  <a:lnTo>
                    <a:pt x="89" y="242"/>
                  </a:lnTo>
                  <a:lnTo>
                    <a:pt x="102" y="242"/>
                  </a:lnTo>
                  <a:lnTo>
                    <a:pt x="111" y="242"/>
                  </a:lnTo>
                  <a:lnTo>
                    <a:pt x="118" y="242"/>
                  </a:lnTo>
                  <a:lnTo>
                    <a:pt x="124" y="242"/>
                  </a:lnTo>
                  <a:lnTo>
                    <a:pt x="126" y="244"/>
                  </a:lnTo>
                  <a:lnTo>
                    <a:pt x="131" y="261"/>
                  </a:lnTo>
                  <a:lnTo>
                    <a:pt x="139" y="270"/>
                  </a:lnTo>
                  <a:lnTo>
                    <a:pt x="142" y="274"/>
                  </a:lnTo>
                  <a:lnTo>
                    <a:pt x="146" y="278"/>
                  </a:lnTo>
                  <a:lnTo>
                    <a:pt x="152" y="278"/>
                  </a:lnTo>
                  <a:lnTo>
                    <a:pt x="155" y="278"/>
                  </a:lnTo>
                  <a:lnTo>
                    <a:pt x="159" y="285"/>
                  </a:lnTo>
                  <a:lnTo>
                    <a:pt x="163" y="291"/>
                  </a:lnTo>
                  <a:lnTo>
                    <a:pt x="174" y="291"/>
                  </a:lnTo>
                  <a:lnTo>
                    <a:pt x="185" y="287"/>
                  </a:lnTo>
                  <a:lnTo>
                    <a:pt x="200" y="281"/>
                  </a:lnTo>
                  <a:lnTo>
                    <a:pt x="218" y="278"/>
                  </a:lnTo>
                  <a:lnTo>
                    <a:pt x="248" y="274"/>
                  </a:lnTo>
                  <a:lnTo>
                    <a:pt x="270" y="268"/>
                  </a:lnTo>
                  <a:lnTo>
                    <a:pt x="277" y="266"/>
                  </a:lnTo>
                  <a:lnTo>
                    <a:pt x="281" y="263"/>
                  </a:lnTo>
                  <a:lnTo>
                    <a:pt x="283" y="259"/>
                  </a:lnTo>
                  <a:lnTo>
                    <a:pt x="285" y="254"/>
                  </a:lnTo>
                  <a:lnTo>
                    <a:pt x="285" y="244"/>
                  </a:lnTo>
                  <a:lnTo>
                    <a:pt x="287" y="237"/>
                  </a:lnTo>
                  <a:lnTo>
                    <a:pt x="277" y="231"/>
                  </a:lnTo>
                  <a:lnTo>
                    <a:pt x="272" y="224"/>
                  </a:lnTo>
                  <a:lnTo>
                    <a:pt x="268" y="218"/>
                  </a:lnTo>
                  <a:lnTo>
                    <a:pt x="268" y="211"/>
                  </a:lnTo>
                  <a:lnTo>
                    <a:pt x="272" y="207"/>
                  </a:lnTo>
                  <a:lnTo>
                    <a:pt x="274" y="206"/>
                  </a:lnTo>
                  <a:lnTo>
                    <a:pt x="277" y="207"/>
                  </a:lnTo>
                  <a:lnTo>
                    <a:pt x="281" y="209"/>
                  </a:lnTo>
                  <a:lnTo>
                    <a:pt x="287" y="213"/>
                  </a:lnTo>
                  <a:lnTo>
                    <a:pt x="294" y="215"/>
                  </a:lnTo>
                  <a:lnTo>
                    <a:pt x="296" y="213"/>
                  </a:lnTo>
                  <a:lnTo>
                    <a:pt x="296" y="209"/>
                  </a:lnTo>
                  <a:lnTo>
                    <a:pt x="296" y="206"/>
                  </a:lnTo>
                  <a:lnTo>
                    <a:pt x="296" y="202"/>
                  </a:lnTo>
                  <a:lnTo>
                    <a:pt x="290" y="194"/>
                  </a:lnTo>
                  <a:lnTo>
                    <a:pt x="285" y="185"/>
                  </a:lnTo>
                  <a:lnTo>
                    <a:pt x="272" y="169"/>
                  </a:lnTo>
                  <a:lnTo>
                    <a:pt x="261" y="156"/>
                  </a:lnTo>
                  <a:lnTo>
                    <a:pt x="257" y="145"/>
                  </a:lnTo>
                  <a:lnTo>
                    <a:pt x="255" y="128"/>
                  </a:lnTo>
                  <a:lnTo>
                    <a:pt x="255" y="111"/>
                  </a:lnTo>
                  <a:lnTo>
                    <a:pt x="255" y="91"/>
                  </a:lnTo>
                  <a:lnTo>
                    <a:pt x="248" y="95"/>
                  </a:lnTo>
                  <a:lnTo>
                    <a:pt x="240" y="98"/>
                  </a:lnTo>
                  <a:lnTo>
                    <a:pt x="240" y="104"/>
                  </a:lnTo>
                  <a:lnTo>
                    <a:pt x="238" y="109"/>
                  </a:lnTo>
                  <a:lnTo>
                    <a:pt x="237" y="113"/>
                  </a:lnTo>
                  <a:lnTo>
                    <a:pt x="231" y="115"/>
                  </a:lnTo>
                  <a:lnTo>
                    <a:pt x="227" y="113"/>
                  </a:lnTo>
                  <a:lnTo>
                    <a:pt x="226" y="111"/>
                  </a:lnTo>
                  <a:lnTo>
                    <a:pt x="226" y="109"/>
                  </a:lnTo>
                  <a:lnTo>
                    <a:pt x="224" y="106"/>
                  </a:lnTo>
                  <a:lnTo>
                    <a:pt x="224" y="98"/>
                  </a:lnTo>
                  <a:lnTo>
                    <a:pt x="222" y="93"/>
                  </a:lnTo>
                  <a:lnTo>
                    <a:pt x="218" y="84"/>
                  </a:lnTo>
                  <a:lnTo>
                    <a:pt x="216" y="72"/>
                  </a:lnTo>
                  <a:lnTo>
                    <a:pt x="216" y="65"/>
                  </a:lnTo>
                  <a:lnTo>
                    <a:pt x="220" y="58"/>
                  </a:lnTo>
                  <a:lnTo>
                    <a:pt x="224" y="54"/>
                  </a:lnTo>
                  <a:lnTo>
                    <a:pt x="229" y="52"/>
                  </a:lnTo>
                  <a:lnTo>
                    <a:pt x="240" y="45"/>
                  </a:lnTo>
                  <a:lnTo>
                    <a:pt x="244" y="39"/>
                  </a:lnTo>
                  <a:lnTo>
                    <a:pt x="246" y="34"/>
                  </a:lnTo>
                  <a:lnTo>
                    <a:pt x="246" y="28"/>
                  </a:lnTo>
                  <a:lnTo>
                    <a:pt x="244" y="24"/>
                  </a:lnTo>
                  <a:lnTo>
                    <a:pt x="238" y="23"/>
                  </a:lnTo>
                  <a:lnTo>
                    <a:pt x="235" y="23"/>
                  </a:lnTo>
                  <a:lnTo>
                    <a:pt x="229" y="21"/>
                  </a:lnTo>
                  <a:lnTo>
                    <a:pt x="222" y="15"/>
                  </a:lnTo>
                  <a:lnTo>
                    <a:pt x="216" y="13"/>
                  </a:lnTo>
                  <a:lnTo>
                    <a:pt x="214" y="15"/>
                  </a:lnTo>
                  <a:lnTo>
                    <a:pt x="213" y="21"/>
                  </a:lnTo>
                  <a:lnTo>
                    <a:pt x="211" y="23"/>
                  </a:lnTo>
                  <a:lnTo>
                    <a:pt x="209" y="23"/>
                  </a:lnTo>
                  <a:lnTo>
                    <a:pt x="205" y="23"/>
                  </a:lnTo>
                  <a:lnTo>
                    <a:pt x="200" y="21"/>
                  </a:lnTo>
                  <a:lnTo>
                    <a:pt x="194" y="17"/>
                  </a:lnTo>
                  <a:lnTo>
                    <a:pt x="192" y="11"/>
                  </a:lnTo>
                  <a:lnTo>
                    <a:pt x="190" y="8"/>
                  </a:lnTo>
                  <a:lnTo>
                    <a:pt x="190" y="2"/>
                  </a:lnTo>
                  <a:lnTo>
                    <a:pt x="181" y="0"/>
                  </a:lnTo>
                  <a:lnTo>
                    <a:pt x="170" y="0"/>
                  </a:lnTo>
                  <a:lnTo>
                    <a:pt x="166" y="10"/>
                  </a:lnTo>
                  <a:lnTo>
                    <a:pt x="163" y="21"/>
                  </a:lnTo>
                  <a:lnTo>
                    <a:pt x="159" y="24"/>
                  </a:lnTo>
                  <a:lnTo>
                    <a:pt x="154" y="28"/>
                  </a:lnTo>
                  <a:lnTo>
                    <a:pt x="148" y="32"/>
                  </a:lnTo>
                  <a:lnTo>
                    <a:pt x="142" y="34"/>
                  </a:lnTo>
                  <a:lnTo>
                    <a:pt x="131" y="30"/>
                  </a:lnTo>
                  <a:lnTo>
                    <a:pt x="122" y="30"/>
                  </a:lnTo>
                  <a:lnTo>
                    <a:pt x="109" y="47"/>
                  </a:lnTo>
                  <a:lnTo>
                    <a:pt x="91" y="65"/>
                  </a:lnTo>
                  <a:lnTo>
                    <a:pt x="74" y="65"/>
                  </a:lnTo>
                  <a:lnTo>
                    <a:pt x="59" y="67"/>
                  </a:lnTo>
                  <a:lnTo>
                    <a:pt x="46" y="69"/>
                  </a:lnTo>
                  <a:lnTo>
                    <a:pt x="32" y="72"/>
                  </a:lnTo>
                  <a:lnTo>
                    <a:pt x="24" y="72"/>
                  </a:lnTo>
                  <a:lnTo>
                    <a:pt x="17" y="74"/>
                  </a:lnTo>
                  <a:lnTo>
                    <a:pt x="9" y="76"/>
                  </a:lnTo>
                  <a:lnTo>
                    <a:pt x="2" y="82"/>
                  </a:lnTo>
                  <a:lnTo>
                    <a:pt x="13" y="98"/>
                  </a:lnTo>
                  <a:lnTo>
                    <a:pt x="22" y="111"/>
                  </a:lnTo>
                  <a:lnTo>
                    <a:pt x="11" y="115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5" name="Freeform 31"/>
            <p:cNvSpPr>
              <a:spLocks/>
            </p:cNvSpPr>
            <p:nvPr/>
          </p:nvSpPr>
          <p:spPr bwMode="auto">
            <a:xfrm>
              <a:off x="4655049" y="2778010"/>
              <a:ext cx="232197" cy="166920"/>
            </a:xfrm>
            <a:custGeom>
              <a:avLst/>
              <a:gdLst>
                <a:gd name="T0" fmla="*/ 13 w 445"/>
                <a:gd name="T1" fmla="*/ 73 h 328"/>
                <a:gd name="T2" fmla="*/ 28 w 445"/>
                <a:gd name="T3" fmla="*/ 145 h 328"/>
                <a:gd name="T4" fmla="*/ 37 w 445"/>
                <a:gd name="T5" fmla="*/ 267 h 328"/>
                <a:gd name="T6" fmla="*/ 42 w 445"/>
                <a:gd name="T7" fmla="*/ 278 h 328"/>
                <a:gd name="T8" fmla="*/ 70 w 445"/>
                <a:gd name="T9" fmla="*/ 267 h 328"/>
                <a:gd name="T10" fmla="*/ 81 w 445"/>
                <a:gd name="T11" fmla="*/ 235 h 328"/>
                <a:gd name="T12" fmla="*/ 102 w 445"/>
                <a:gd name="T13" fmla="*/ 246 h 328"/>
                <a:gd name="T14" fmla="*/ 105 w 445"/>
                <a:gd name="T15" fmla="*/ 267 h 328"/>
                <a:gd name="T16" fmla="*/ 113 w 445"/>
                <a:gd name="T17" fmla="*/ 272 h 328"/>
                <a:gd name="T18" fmla="*/ 122 w 445"/>
                <a:gd name="T19" fmla="*/ 296 h 328"/>
                <a:gd name="T20" fmla="*/ 131 w 445"/>
                <a:gd name="T21" fmla="*/ 302 h 328"/>
                <a:gd name="T22" fmla="*/ 179 w 445"/>
                <a:gd name="T23" fmla="*/ 298 h 328"/>
                <a:gd name="T24" fmla="*/ 192 w 445"/>
                <a:gd name="T25" fmla="*/ 302 h 328"/>
                <a:gd name="T26" fmla="*/ 199 w 445"/>
                <a:gd name="T27" fmla="*/ 294 h 328"/>
                <a:gd name="T28" fmla="*/ 222 w 445"/>
                <a:gd name="T29" fmla="*/ 298 h 328"/>
                <a:gd name="T30" fmla="*/ 246 w 445"/>
                <a:gd name="T31" fmla="*/ 318 h 328"/>
                <a:gd name="T32" fmla="*/ 251 w 445"/>
                <a:gd name="T33" fmla="*/ 328 h 328"/>
                <a:gd name="T34" fmla="*/ 264 w 445"/>
                <a:gd name="T35" fmla="*/ 305 h 328"/>
                <a:gd name="T36" fmla="*/ 268 w 445"/>
                <a:gd name="T37" fmla="*/ 281 h 328"/>
                <a:gd name="T38" fmla="*/ 297 w 445"/>
                <a:gd name="T39" fmla="*/ 276 h 328"/>
                <a:gd name="T40" fmla="*/ 342 w 445"/>
                <a:gd name="T41" fmla="*/ 272 h 328"/>
                <a:gd name="T42" fmla="*/ 382 w 445"/>
                <a:gd name="T43" fmla="*/ 237 h 328"/>
                <a:gd name="T44" fmla="*/ 405 w 445"/>
                <a:gd name="T45" fmla="*/ 235 h 328"/>
                <a:gd name="T46" fmla="*/ 417 w 445"/>
                <a:gd name="T47" fmla="*/ 217 h 328"/>
                <a:gd name="T48" fmla="*/ 441 w 445"/>
                <a:gd name="T49" fmla="*/ 209 h 328"/>
                <a:gd name="T50" fmla="*/ 434 w 445"/>
                <a:gd name="T51" fmla="*/ 200 h 328"/>
                <a:gd name="T52" fmla="*/ 440 w 445"/>
                <a:gd name="T53" fmla="*/ 174 h 328"/>
                <a:gd name="T54" fmla="*/ 436 w 445"/>
                <a:gd name="T55" fmla="*/ 154 h 328"/>
                <a:gd name="T56" fmla="*/ 425 w 445"/>
                <a:gd name="T57" fmla="*/ 132 h 328"/>
                <a:gd name="T58" fmla="*/ 416 w 445"/>
                <a:gd name="T59" fmla="*/ 106 h 328"/>
                <a:gd name="T60" fmla="*/ 397 w 445"/>
                <a:gd name="T61" fmla="*/ 69 h 328"/>
                <a:gd name="T62" fmla="*/ 373 w 445"/>
                <a:gd name="T63" fmla="*/ 47 h 328"/>
                <a:gd name="T64" fmla="*/ 366 w 445"/>
                <a:gd name="T65" fmla="*/ 36 h 328"/>
                <a:gd name="T66" fmla="*/ 356 w 445"/>
                <a:gd name="T67" fmla="*/ 43 h 328"/>
                <a:gd name="T68" fmla="*/ 336 w 445"/>
                <a:gd name="T69" fmla="*/ 54 h 328"/>
                <a:gd name="T70" fmla="*/ 305 w 445"/>
                <a:gd name="T71" fmla="*/ 48 h 328"/>
                <a:gd name="T72" fmla="*/ 275 w 445"/>
                <a:gd name="T73" fmla="*/ 54 h 328"/>
                <a:gd name="T74" fmla="*/ 259 w 445"/>
                <a:gd name="T75" fmla="*/ 56 h 328"/>
                <a:gd name="T76" fmla="*/ 240 w 445"/>
                <a:gd name="T77" fmla="*/ 65 h 328"/>
                <a:gd name="T78" fmla="*/ 236 w 445"/>
                <a:gd name="T79" fmla="*/ 78 h 328"/>
                <a:gd name="T80" fmla="*/ 216 w 445"/>
                <a:gd name="T81" fmla="*/ 91 h 328"/>
                <a:gd name="T82" fmla="*/ 207 w 445"/>
                <a:gd name="T83" fmla="*/ 69 h 328"/>
                <a:gd name="T84" fmla="*/ 218 w 445"/>
                <a:gd name="T85" fmla="*/ 54 h 328"/>
                <a:gd name="T86" fmla="*/ 212 w 445"/>
                <a:gd name="T87" fmla="*/ 41 h 328"/>
                <a:gd name="T88" fmla="*/ 185 w 445"/>
                <a:gd name="T89" fmla="*/ 21 h 328"/>
                <a:gd name="T90" fmla="*/ 170 w 445"/>
                <a:gd name="T91" fmla="*/ 4 h 328"/>
                <a:gd name="T92" fmla="*/ 127 w 445"/>
                <a:gd name="T93" fmla="*/ 12 h 328"/>
                <a:gd name="T94" fmla="*/ 78 w 445"/>
                <a:gd name="T95" fmla="*/ 19 h 328"/>
                <a:gd name="T96" fmla="*/ 30 w 445"/>
                <a:gd name="T97" fmla="*/ 28 h 328"/>
                <a:gd name="T98" fmla="*/ 5 w 445"/>
                <a:gd name="T99" fmla="*/ 21 h 32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45"/>
                <a:gd name="T151" fmla="*/ 0 h 328"/>
                <a:gd name="T152" fmla="*/ 445 w 445"/>
                <a:gd name="T153" fmla="*/ 328 h 32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45" h="328">
                  <a:moveTo>
                    <a:pt x="0" y="36"/>
                  </a:moveTo>
                  <a:lnTo>
                    <a:pt x="7" y="54"/>
                  </a:lnTo>
                  <a:lnTo>
                    <a:pt x="13" y="73"/>
                  </a:lnTo>
                  <a:lnTo>
                    <a:pt x="18" y="91"/>
                  </a:lnTo>
                  <a:lnTo>
                    <a:pt x="20" y="106"/>
                  </a:lnTo>
                  <a:lnTo>
                    <a:pt x="28" y="145"/>
                  </a:lnTo>
                  <a:lnTo>
                    <a:pt x="33" y="185"/>
                  </a:lnTo>
                  <a:lnTo>
                    <a:pt x="35" y="226"/>
                  </a:lnTo>
                  <a:lnTo>
                    <a:pt x="37" y="267"/>
                  </a:lnTo>
                  <a:lnTo>
                    <a:pt x="37" y="274"/>
                  </a:lnTo>
                  <a:lnTo>
                    <a:pt x="39" y="278"/>
                  </a:lnTo>
                  <a:lnTo>
                    <a:pt x="42" y="278"/>
                  </a:lnTo>
                  <a:lnTo>
                    <a:pt x="52" y="274"/>
                  </a:lnTo>
                  <a:lnTo>
                    <a:pt x="61" y="270"/>
                  </a:lnTo>
                  <a:lnTo>
                    <a:pt x="70" y="267"/>
                  </a:lnTo>
                  <a:lnTo>
                    <a:pt x="72" y="252"/>
                  </a:lnTo>
                  <a:lnTo>
                    <a:pt x="76" y="239"/>
                  </a:lnTo>
                  <a:lnTo>
                    <a:pt x="81" y="235"/>
                  </a:lnTo>
                  <a:lnTo>
                    <a:pt x="89" y="235"/>
                  </a:lnTo>
                  <a:lnTo>
                    <a:pt x="96" y="239"/>
                  </a:lnTo>
                  <a:lnTo>
                    <a:pt x="102" y="246"/>
                  </a:lnTo>
                  <a:lnTo>
                    <a:pt x="103" y="257"/>
                  </a:lnTo>
                  <a:lnTo>
                    <a:pt x="103" y="265"/>
                  </a:lnTo>
                  <a:lnTo>
                    <a:pt x="105" y="267"/>
                  </a:lnTo>
                  <a:lnTo>
                    <a:pt x="107" y="268"/>
                  </a:lnTo>
                  <a:lnTo>
                    <a:pt x="109" y="270"/>
                  </a:lnTo>
                  <a:lnTo>
                    <a:pt x="113" y="272"/>
                  </a:lnTo>
                  <a:lnTo>
                    <a:pt x="114" y="281"/>
                  </a:lnTo>
                  <a:lnTo>
                    <a:pt x="118" y="292"/>
                  </a:lnTo>
                  <a:lnTo>
                    <a:pt x="122" y="296"/>
                  </a:lnTo>
                  <a:lnTo>
                    <a:pt x="124" y="300"/>
                  </a:lnTo>
                  <a:lnTo>
                    <a:pt x="127" y="302"/>
                  </a:lnTo>
                  <a:lnTo>
                    <a:pt x="131" y="302"/>
                  </a:lnTo>
                  <a:lnTo>
                    <a:pt x="151" y="303"/>
                  </a:lnTo>
                  <a:lnTo>
                    <a:pt x="172" y="305"/>
                  </a:lnTo>
                  <a:lnTo>
                    <a:pt x="179" y="298"/>
                  </a:lnTo>
                  <a:lnTo>
                    <a:pt x="181" y="289"/>
                  </a:lnTo>
                  <a:lnTo>
                    <a:pt x="187" y="296"/>
                  </a:lnTo>
                  <a:lnTo>
                    <a:pt x="192" y="302"/>
                  </a:lnTo>
                  <a:lnTo>
                    <a:pt x="194" y="298"/>
                  </a:lnTo>
                  <a:lnTo>
                    <a:pt x="198" y="296"/>
                  </a:lnTo>
                  <a:lnTo>
                    <a:pt x="199" y="294"/>
                  </a:lnTo>
                  <a:lnTo>
                    <a:pt x="205" y="294"/>
                  </a:lnTo>
                  <a:lnTo>
                    <a:pt x="212" y="294"/>
                  </a:lnTo>
                  <a:lnTo>
                    <a:pt x="222" y="298"/>
                  </a:lnTo>
                  <a:lnTo>
                    <a:pt x="231" y="305"/>
                  </a:lnTo>
                  <a:lnTo>
                    <a:pt x="240" y="311"/>
                  </a:lnTo>
                  <a:lnTo>
                    <a:pt x="246" y="318"/>
                  </a:lnTo>
                  <a:lnTo>
                    <a:pt x="251" y="326"/>
                  </a:lnTo>
                  <a:lnTo>
                    <a:pt x="251" y="328"/>
                  </a:lnTo>
                  <a:lnTo>
                    <a:pt x="262" y="322"/>
                  </a:lnTo>
                  <a:lnTo>
                    <a:pt x="273" y="318"/>
                  </a:lnTo>
                  <a:lnTo>
                    <a:pt x="264" y="305"/>
                  </a:lnTo>
                  <a:lnTo>
                    <a:pt x="253" y="289"/>
                  </a:lnTo>
                  <a:lnTo>
                    <a:pt x="260" y="283"/>
                  </a:lnTo>
                  <a:lnTo>
                    <a:pt x="268" y="281"/>
                  </a:lnTo>
                  <a:lnTo>
                    <a:pt x="275" y="279"/>
                  </a:lnTo>
                  <a:lnTo>
                    <a:pt x="283" y="279"/>
                  </a:lnTo>
                  <a:lnTo>
                    <a:pt x="297" y="276"/>
                  </a:lnTo>
                  <a:lnTo>
                    <a:pt x="310" y="274"/>
                  </a:lnTo>
                  <a:lnTo>
                    <a:pt x="325" y="272"/>
                  </a:lnTo>
                  <a:lnTo>
                    <a:pt x="342" y="272"/>
                  </a:lnTo>
                  <a:lnTo>
                    <a:pt x="360" y="254"/>
                  </a:lnTo>
                  <a:lnTo>
                    <a:pt x="373" y="237"/>
                  </a:lnTo>
                  <a:lnTo>
                    <a:pt x="382" y="237"/>
                  </a:lnTo>
                  <a:lnTo>
                    <a:pt x="393" y="241"/>
                  </a:lnTo>
                  <a:lnTo>
                    <a:pt x="399" y="239"/>
                  </a:lnTo>
                  <a:lnTo>
                    <a:pt x="405" y="235"/>
                  </a:lnTo>
                  <a:lnTo>
                    <a:pt x="410" y="231"/>
                  </a:lnTo>
                  <a:lnTo>
                    <a:pt x="414" y="228"/>
                  </a:lnTo>
                  <a:lnTo>
                    <a:pt x="417" y="217"/>
                  </a:lnTo>
                  <a:lnTo>
                    <a:pt x="421" y="207"/>
                  </a:lnTo>
                  <a:lnTo>
                    <a:pt x="432" y="207"/>
                  </a:lnTo>
                  <a:lnTo>
                    <a:pt x="441" y="209"/>
                  </a:lnTo>
                  <a:lnTo>
                    <a:pt x="441" y="207"/>
                  </a:lnTo>
                  <a:lnTo>
                    <a:pt x="440" y="206"/>
                  </a:lnTo>
                  <a:lnTo>
                    <a:pt x="434" y="200"/>
                  </a:lnTo>
                  <a:lnTo>
                    <a:pt x="429" y="191"/>
                  </a:lnTo>
                  <a:lnTo>
                    <a:pt x="434" y="180"/>
                  </a:lnTo>
                  <a:lnTo>
                    <a:pt x="440" y="174"/>
                  </a:lnTo>
                  <a:lnTo>
                    <a:pt x="432" y="167"/>
                  </a:lnTo>
                  <a:lnTo>
                    <a:pt x="427" y="159"/>
                  </a:lnTo>
                  <a:lnTo>
                    <a:pt x="436" y="154"/>
                  </a:lnTo>
                  <a:lnTo>
                    <a:pt x="445" y="148"/>
                  </a:lnTo>
                  <a:lnTo>
                    <a:pt x="436" y="141"/>
                  </a:lnTo>
                  <a:lnTo>
                    <a:pt x="425" y="132"/>
                  </a:lnTo>
                  <a:lnTo>
                    <a:pt x="425" y="122"/>
                  </a:lnTo>
                  <a:lnTo>
                    <a:pt x="425" y="111"/>
                  </a:lnTo>
                  <a:lnTo>
                    <a:pt x="416" y="106"/>
                  </a:lnTo>
                  <a:lnTo>
                    <a:pt x="408" y="98"/>
                  </a:lnTo>
                  <a:lnTo>
                    <a:pt x="405" y="82"/>
                  </a:lnTo>
                  <a:lnTo>
                    <a:pt x="397" y="69"/>
                  </a:lnTo>
                  <a:lnTo>
                    <a:pt x="388" y="61"/>
                  </a:lnTo>
                  <a:lnTo>
                    <a:pt x="379" y="54"/>
                  </a:lnTo>
                  <a:lnTo>
                    <a:pt x="373" y="47"/>
                  </a:lnTo>
                  <a:lnTo>
                    <a:pt x="368" y="39"/>
                  </a:lnTo>
                  <a:lnTo>
                    <a:pt x="366" y="37"/>
                  </a:lnTo>
                  <a:lnTo>
                    <a:pt x="366" y="36"/>
                  </a:lnTo>
                  <a:lnTo>
                    <a:pt x="364" y="36"/>
                  </a:lnTo>
                  <a:lnTo>
                    <a:pt x="360" y="37"/>
                  </a:lnTo>
                  <a:lnTo>
                    <a:pt x="356" y="43"/>
                  </a:lnTo>
                  <a:lnTo>
                    <a:pt x="349" y="47"/>
                  </a:lnTo>
                  <a:lnTo>
                    <a:pt x="344" y="50"/>
                  </a:lnTo>
                  <a:lnTo>
                    <a:pt x="336" y="54"/>
                  </a:lnTo>
                  <a:lnTo>
                    <a:pt x="325" y="54"/>
                  </a:lnTo>
                  <a:lnTo>
                    <a:pt x="316" y="56"/>
                  </a:lnTo>
                  <a:lnTo>
                    <a:pt x="305" y="48"/>
                  </a:lnTo>
                  <a:lnTo>
                    <a:pt x="292" y="45"/>
                  </a:lnTo>
                  <a:lnTo>
                    <a:pt x="284" y="48"/>
                  </a:lnTo>
                  <a:lnTo>
                    <a:pt x="275" y="54"/>
                  </a:lnTo>
                  <a:lnTo>
                    <a:pt x="270" y="50"/>
                  </a:lnTo>
                  <a:lnTo>
                    <a:pt x="262" y="48"/>
                  </a:lnTo>
                  <a:lnTo>
                    <a:pt x="259" y="56"/>
                  </a:lnTo>
                  <a:lnTo>
                    <a:pt x="253" y="65"/>
                  </a:lnTo>
                  <a:lnTo>
                    <a:pt x="247" y="65"/>
                  </a:lnTo>
                  <a:lnTo>
                    <a:pt x="240" y="65"/>
                  </a:lnTo>
                  <a:lnTo>
                    <a:pt x="240" y="71"/>
                  </a:lnTo>
                  <a:lnTo>
                    <a:pt x="238" y="74"/>
                  </a:lnTo>
                  <a:lnTo>
                    <a:pt x="236" y="78"/>
                  </a:lnTo>
                  <a:lnTo>
                    <a:pt x="233" y="82"/>
                  </a:lnTo>
                  <a:lnTo>
                    <a:pt x="225" y="87"/>
                  </a:lnTo>
                  <a:lnTo>
                    <a:pt x="216" y="91"/>
                  </a:lnTo>
                  <a:lnTo>
                    <a:pt x="212" y="84"/>
                  </a:lnTo>
                  <a:lnTo>
                    <a:pt x="209" y="74"/>
                  </a:lnTo>
                  <a:lnTo>
                    <a:pt x="207" y="69"/>
                  </a:lnTo>
                  <a:lnTo>
                    <a:pt x="211" y="65"/>
                  </a:lnTo>
                  <a:lnTo>
                    <a:pt x="214" y="60"/>
                  </a:lnTo>
                  <a:lnTo>
                    <a:pt x="218" y="54"/>
                  </a:lnTo>
                  <a:lnTo>
                    <a:pt x="218" y="48"/>
                  </a:lnTo>
                  <a:lnTo>
                    <a:pt x="216" y="45"/>
                  </a:lnTo>
                  <a:lnTo>
                    <a:pt x="212" y="41"/>
                  </a:lnTo>
                  <a:lnTo>
                    <a:pt x="209" y="39"/>
                  </a:lnTo>
                  <a:lnTo>
                    <a:pt x="196" y="30"/>
                  </a:lnTo>
                  <a:lnTo>
                    <a:pt x="185" y="21"/>
                  </a:lnTo>
                  <a:lnTo>
                    <a:pt x="179" y="10"/>
                  </a:lnTo>
                  <a:lnTo>
                    <a:pt x="177" y="0"/>
                  </a:lnTo>
                  <a:lnTo>
                    <a:pt x="170" y="4"/>
                  </a:lnTo>
                  <a:lnTo>
                    <a:pt x="157" y="12"/>
                  </a:lnTo>
                  <a:lnTo>
                    <a:pt x="142" y="12"/>
                  </a:lnTo>
                  <a:lnTo>
                    <a:pt x="127" y="12"/>
                  </a:lnTo>
                  <a:lnTo>
                    <a:pt x="113" y="17"/>
                  </a:lnTo>
                  <a:lnTo>
                    <a:pt x="96" y="21"/>
                  </a:lnTo>
                  <a:lnTo>
                    <a:pt x="78" y="19"/>
                  </a:lnTo>
                  <a:lnTo>
                    <a:pt x="59" y="17"/>
                  </a:lnTo>
                  <a:lnTo>
                    <a:pt x="44" y="21"/>
                  </a:lnTo>
                  <a:lnTo>
                    <a:pt x="30" y="28"/>
                  </a:lnTo>
                  <a:lnTo>
                    <a:pt x="17" y="19"/>
                  </a:lnTo>
                  <a:lnTo>
                    <a:pt x="9" y="12"/>
                  </a:lnTo>
                  <a:lnTo>
                    <a:pt x="5" y="21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6" name="Freeform 32"/>
            <p:cNvSpPr>
              <a:spLocks/>
            </p:cNvSpPr>
            <p:nvPr/>
          </p:nvSpPr>
          <p:spPr bwMode="auto">
            <a:xfrm>
              <a:off x="5177363" y="1923563"/>
              <a:ext cx="9914" cy="3562"/>
            </a:xfrm>
            <a:custGeom>
              <a:avLst/>
              <a:gdLst>
                <a:gd name="T0" fmla="*/ 0 w 19"/>
                <a:gd name="T1" fmla="*/ 3 h 7"/>
                <a:gd name="T2" fmla="*/ 4 w 19"/>
                <a:gd name="T3" fmla="*/ 2 h 7"/>
                <a:gd name="T4" fmla="*/ 9 w 19"/>
                <a:gd name="T5" fmla="*/ 0 h 7"/>
                <a:gd name="T6" fmla="*/ 15 w 19"/>
                <a:gd name="T7" fmla="*/ 2 h 7"/>
                <a:gd name="T8" fmla="*/ 19 w 19"/>
                <a:gd name="T9" fmla="*/ 3 h 7"/>
                <a:gd name="T10" fmla="*/ 15 w 19"/>
                <a:gd name="T11" fmla="*/ 7 h 7"/>
                <a:gd name="T12" fmla="*/ 8 w 19"/>
                <a:gd name="T13" fmla="*/ 7 h 7"/>
                <a:gd name="T14" fmla="*/ 2 w 19"/>
                <a:gd name="T15" fmla="*/ 5 h 7"/>
                <a:gd name="T16" fmla="*/ 0 w 19"/>
                <a:gd name="T17" fmla="*/ 3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7"/>
                <a:gd name="T29" fmla="*/ 19 w 19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7">
                  <a:moveTo>
                    <a:pt x="0" y="3"/>
                  </a:moveTo>
                  <a:lnTo>
                    <a:pt x="4" y="2"/>
                  </a:lnTo>
                  <a:lnTo>
                    <a:pt x="9" y="0"/>
                  </a:lnTo>
                  <a:lnTo>
                    <a:pt x="15" y="2"/>
                  </a:lnTo>
                  <a:lnTo>
                    <a:pt x="19" y="3"/>
                  </a:lnTo>
                  <a:lnTo>
                    <a:pt x="15" y="7"/>
                  </a:lnTo>
                  <a:lnTo>
                    <a:pt x="8" y="7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7" name="Freeform 33"/>
            <p:cNvSpPr>
              <a:spLocks noEditPoints="1"/>
            </p:cNvSpPr>
            <p:nvPr/>
          </p:nvSpPr>
          <p:spPr bwMode="auto">
            <a:xfrm>
              <a:off x="4946209" y="1702699"/>
              <a:ext cx="350644" cy="327224"/>
            </a:xfrm>
            <a:custGeom>
              <a:avLst/>
              <a:gdLst>
                <a:gd name="T0" fmla="*/ 140 w 672"/>
                <a:gd name="T1" fmla="*/ 401 h 643"/>
                <a:gd name="T2" fmla="*/ 137 w 672"/>
                <a:gd name="T3" fmla="*/ 434 h 643"/>
                <a:gd name="T4" fmla="*/ 168 w 672"/>
                <a:gd name="T5" fmla="*/ 397 h 643"/>
                <a:gd name="T6" fmla="*/ 157 w 672"/>
                <a:gd name="T7" fmla="*/ 395 h 643"/>
                <a:gd name="T8" fmla="*/ 135 w 672"/>
                <a:gd name="T9" fmla="*/ 552 h 643"/>
                <a:gd name="T10" fmla="*/ 129 w 672"/>
                <a:gd name="T11" fmla="*/ 548 h 643"/>
                <a:gd name="T12" fmla="*/ 155 w 672"/>
                <a:gd name="T13" fmla="*/ 561 h 643"/>
                <a:gd name="T14" fmla="*/ 192 w 672"/>
                <a:gd name="T15" fmla="*/ 558 h 643"/>
                <a:gd name="T16" fmla="*/ 183 w 672"/>
                <a:gd name="T17" fmla="*/ 559 h 643"/>
                <a:gd name="T18" fmla="*/ 192 w 672"/>
                <a:gd name="T19" fmla="*/ 537 h 643"/>
                <a:gd name="T20" fmla="*/ 7 w 672"/>
                <a:gd name="T21" fmla="*/ 602 h 643"/>
                <a:gd name="T22" fmla="*/ 18 w 672"/>
                <a:gd name="T23" fmla="*/ 609 h 643"/>
                <a:gd name="T24" fmla="*/ 4 w 672"/>
                <a:gd name="T25" fmla="*/ 639 h 643"/>
                <a:gd name="T26" fmla="*/ 669 w 672"/>
                <a:gd name="T27" fmla="*/ 334 h 643"/>
                <a:gd name="T28" fmla="*/ 672 w 672"/>
                <a:gd name="T29" fmla="*/ 332 h 643"/>
                <a:gd name="T30" fmla="*/ 648 w 672"/>
                <a:gd name="T31" fmla="*/ 321 h 643"/>
                <a:gd name="T32" fmla="*/ 451 w 672"/>
                <a:gd name="T33" fmla="*/ 426 h 643"/>
                <a:gd name="T34" fmla="*/ 425 w 672"/>
                <a:gd name="T35" fmla="*/ 415 h 643"/>
                <a:gd name="T36" fmla="*/ 425 w 672"/>
                <a:gd name="T37" fmla="*/ 425 h 643"/>
                <a:gd name="T38" fmla="*/ 403 w 672"/>
                <a:gd name="T39" fmla="*/ 419 h 643"/>
                <a:gd name="T40" fmla="*/ 395 w 672"/>
                <a:gd name="T41" fmla="*/ 397 h 643"/>
                <a:gd name="T42" fmla="*/ 421 w 672"/>
                <a:gd name="T43" fmla="*/ 393 h 643"/>
                <a:gd name="T44" fmla="*/ 436 w 672"/>
                <a:gd name="T45" fmla="*/ 384 h 643"/>
                <a:gd name="T46" fmla="*/ 430 w 672"/>
                <a:gd name="T47" fmla="*/ 388 h 643"/>
                <a:gd name="T48" fmla="*/ 452 w 672"/>
                <a:gd name="T49" fmla="*/ 367 h 643"/>
                <a:gd name="T50" fmla="*/ 436 w 672"/>
                <a:gd name="T51" fmla="*/ 345 h 643"/>
                <a:gd name="T52" fmla="*/ 427 w 672"/>
                <a:gd name="T53" fmla="*/ 362 h 643"/>
                <a:gd name="T54" fmla="*/ 301 w 672"/>
                <a:gd name="T55" fmla="*/ 328 h 643"/>
                <a:gd name="T56" fmla="*/ 401 w 672"/>
                <a:gd name="T57" fmla="*/ 57 h 643"/>
                <a:gd name="T58" fmla="*/ 438 w 672"/>
                <a:gd name="T59" fmla="*/ 22 h 643"/>
                <a:gd name="T60" fmla="*/ 464 w 672"/>
                <a:gd name="T61" fmla="*/ 1 h 643"/>
                <a:gd name="T62" fmla="*/ 488 w 672"/>
                <a:gd name="T63" fmla="*/ 48 h 643"/>
                <a:gd name="T64" fmla="*/ 476 w 672"/>
                <a:gd name="T65" fmla="*/ 88 h 643"/>
                <a:gd name="T66" fmla="*/ 415 w 672"/>
                <a:gd name="T67" fmla="*/ 107 h 643"/>
                <a:gd name="T68" fmla="*/ 397 w 672"/>
                <a:gd name="T69" fmla="*/ 81 h 643"/>
                <a:gd name="T70" fmla="*/ 438 w 672"/>
                <a:gd name="T71" fmla="*/ 107 h 643"/>
                <a:gd name="T72" fmla="*/ 482 w 672"/>
                <a:gd name="T73" fmla="*/ 109 h 643"/>
                <a:gd name="T74" fmla="*/ 486 w 672"/>
                <a:gd name="T75" fmla="*/ 121 h 643"/>
                <a:gd name="T76" fmla="*/ 523 w 672"/>
                <a:gd name="T77" fmla="*/ 151 h 643"/>
                <a:gd name="T78" fmla="*/ 510 w 672"/>
                <a:gd name="T79" fmla="*/ 179 h 643"/>
                <a:gd name="T80" fmla="*/ 486 w 672"/>
                <a:gd name="T81" fmla="*/ 218 h 643"/>
                <a:gd name="T82" fmla="*/ 447 w 672"/>
                <a:gd name="T83" fmla="*/ 197 h 643"/>
                <a:gd name="T84" fmla="*/ 417 w 672"/>
                <a:gd name="T85" fmla="*/ 153 h 643"/>
                <a:gd name="T86" fmla="*/ 430 w 672"/>
                <a:gd name="T87" fmla="*/ 125 h 643"/>
                <a:gd name="T88" fmla="*/ 414 w 672"/>
                <a:gd name="T89" fmla="*/ 120 h 643"/>
                <a:gd name="T90" fmla="*/ 384 w 672"/>
                <a:gd name="T91" fmla="*/ 125 h 643"/>
                <a:gd name="T92" fmla="*/ 539 w 672"/>
                <a:gd name="T93" fmla="*/ 199 h 643"/>
                <a:gd name="T94" fmla="*/ 556 w 672"/>
                <a:gd name="T95" fmla="*/ 171 h 643"/>
                <a:gd name="T96" fmla="*/ 578 w 672"/>
                <a:gd name="T97" fmla="*/ 166 h 643"/>
                <a:gd name="T98" fmla="*/ 595 w 672"/>
                <a:gd name="T99" fmla="*/ 182 h 643"/>
                <a:gd name="T100" fmla="*/ 619 w 672"/>
                <a:gd name="T101" fmla="*/ 208 h 643"/>
                <a:gd name="T102" fmla="*/ 608 w 672"/>
                <a:gd name="T103" fmla="*/ 251 h 643"/>
                <a:gd name="T104" fmla="*/ 539 w 672"/>
                <a:gd name="T105" fmla="*/ 275 h 643"/>
                <a:gd name="T106" fmla="*/ 512 w 672"/>
                <a:gd name="T107" fmla="*/ 264 h 643"/>
                <a:gd name="T108" fmla="*/ 367 w 672"/>
                <a:gd name="T109" fmla="*/ 136 h 643"/>
                <a:gd name="T110" fmla="*/ 373 w 672"/>
                <a:gd name="T111" fmla="*/ 146 h 643"/>
                <a:gd name="T112" fmla="*/ 382 w 672"/>
                <a:gd name="T113" fmla="*/ 127 h 643"/>
                <a:gd name="T114" fmla="*/ 384 w 672"/>
                <a:gd name="T115" fmla="*/ 147 h 643"/>
                <a:gd name="T116" fmla="*/ 384 w 672"/>
                <a:gd name="T117" fmla="*/ 147 h 643"/>
                <a:gd name="T118" fmla="*/ 393 w 672"/>
                <a:gd name="T119" fmla="*/ 153 h 643"/>
                <a:gd name="T120" fmla="*/ 488 w 672"/>
                <a:gd name="T121" fmla="*/ 61 h 643"/>
                <a:gd name="T122" fmla="*/ 419 w 672"/>
                <a:gd name="T123" fmla="*/ 7 h 64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2"/>
                <a:gd name="T187" fmla="*/ 0 h 643"/>
                <a:gd name="T188" fmla="*/ 672 w 672"/>
                <a:gd name="T189" fmla="*/ 643 h 64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2" h="643">
                  <a:moveTo>
                    <a:pt x="140" y="395"/>
                  </a:moveTo>
                  <a:lnTo>
                    <a:pt x="142" y="395"/>
                  </a:lnTo>
                  <a:lnTo>
                    <a:pt x="142" y="393"/>
                  </a:lnTo>
                  <a:lnTo>
                    <a:pt x="144" y="393"/>
                  </a:lnTo>
                  <a:lnTo>
                    <a:pt x="146" y="393"/>
                  </a:lnTo>
                  <a:lnTo>
                    <a:pt x="146" y="395"/>
                  </a:lnTo>
                  <a:lnTo>
                    <a:pt x="148" y="395"/>
                  </a:lnTo>
                  <a:lnTo>
                    <a:pt x="148" y="397"/>
                  </a:lnTo>
                  <a:lnTo>
                    <a:pt x="149" y="397"/>
                  </a:lnTo>
                  <a:lnTo>
                    <a:pt x="149" y="401"/>
                  </a:lnTo>
                  <a:lnTo>
                    <a:pt x="151" y="402"/>
                  </a:lnTo>
                  <a:lnTo>
                    <a:pt x="151" y="404"/>
                  </a:lnTo>
                  <a:lnTo>
                    <a:pt x="151" y="406"/>
                  </a:lnTo>
                  <a:lnTo>
                    <a:pt x="151" y="408"/>
                  </a:lnTo>
                  <a:lnTo>
                    <a:pt x="149" y="410"/>
                  </a:lnTo>
                  <a:lnTo>
                    <a:pt x="146" y="408"/>
                  </a:lnTo>
                  <a:lnTo>
                    <a:pt x="144" y="406"/>
                  </a:lnTo>
                  <a:lnTo>
                    <a:pt x="142" y="404"/>
                  </a:lnTo>
                  <a:lnTo>
                    <a:pt x="140" y="402"/>
                  </a:lnTo>
                  <a:lnTo>
                    <a:pt x="140" y="401"/>
                  </a:lnTo>
                  <a:lnTo>
                    <a:pt x="140" y="399"/>
                  </a:lnTo>
                  <a:lnTo>
                    <a:pt x="140" y="397"/>
                  </a:lnTo>
                  <a:lnTo>
                    <a:pt x="140" y="395"/>
                  </a:lnTo>
                  <a:close/>
                  <a:moveTo>
                    <a:pt x="142" y="449"/>
                  </a:moveTo>
                  <a:lnTo>
                    <a:pt x="142" y="450"/>
                  </a:lnTo>
                  <a:lnTo>
                    <a:pt x="140" y="452"/>
                  </a:lnTo>
                  <a:lnTo>
                    <a:pt x="135" y="454"/>
                  </a:lnTo>
                  <a:lnTo>
                    <a:pt x="129" y="454"/>
                  </a:lnTo>
                  <a:lnTo>
                    <a:pt x="127" y="452"/>
                  </a:lnTo>
                  <a:lnTo>
                    <a:pt x="125" y="452"/>
                  </a:lnTo>
                  <a:lnTo>
                    <a:pt x="124" y="452"/>
                  </a:lnTo>
                  <a:lnTo>
                    <a:pt x="124" y="450"/>
                  </a:lnTo>
                  <a:lnTo>
                    <a:pt x="122" y="450"/>
                  </a:lnTo>
                  <a:lnTo>
                    <a:pt x="122" y="449"/>
                  </a:lnTo>
                  <a:lnTo>
                    <a:pt x="122" y="447"/>
                  </a:lnTo>
                  <a:lnTo>
                    <a:pt x="122" y="445"/>
                  </a:lnTo>
                  <a:lnTo>
                    <a:pt x="124" y="443"/>
                  </a:lnTo>
                  <a:lnTo>
                    <a:pt x="124" y="441"/>
                  </a:lnTo>
                  <a:lnTo>
                    <a:pt x="125" y="441"/>
                  </a:lnTo>
                  <a:lnTo>
                    <a:pt x="127" y="439"/>
                  </a:lnTo>
                  <a:lnTo>
                    <a:pt x="129" y="437"/>
                  </a:lnTo>
                  <a:lnTo>
                    <a:pt x="133" y="436"/>
                  </a:lnTo>
                  <a:lnTo>
                    <a:pt x="137" y="434"/>
                  </a:lnTo>
                  <a:lnTo>
                    <a:pt x="138" y="434"/>
                  </a:lnTo>
                  <a:lnTo>
                    <a:pt x="140" y="432"/>
                  </a:lnTo>
                  <a:lnTo>
                    <a:pt x="142" y="432"/>
                  </a:lnTo>
                  <a:lnTo>
                    <a:pt x="144" y="432"/>
                  </a:lnTo>
                  <a:lnTo>
                    <a:pt x="144" y="434"/>
                  </a:lnTo>
                  <a:lnTo>
                    <a:pt x="146" y="434"/>
                  </a:lnTo>
                  <a:lnTo>
                    <a:pt x="146" y="436"/>
                  </a:lnTo>
                  <a:lnTo>
                    <a:pt x="146" y="437"/>
                  </a:lnTo>
                  <a:lnTo>
                    <a:pt x="146" y="439"/>
                  </a:lnTo>
                  <a:lnTo>
                    <a:pt x="146" y="441"/>
                  </a:lnTo>
                  <a:lnTo>
                    <a:pt x="144" y="443"/>
                  </a:lnTo>
                  <a:lnTo>
                    <a:pt x="142" y="445"/>
                  </a:lnTo>
                  <a:lnTo>
                    <a:pt x="142" y="447"/>
                  </a:lnTo>
                  <a:lnTo>
                    <a:pt x="142" y="449"/>
                  </a:lnTo>
                  <a:close/>
                  <a:moveTo>
                    <a:pt x="159" y="391"/>
                  </a:moveTo>
                  <a:lnTo>
                    <a:pt x="161" y="389"/>
                  </a:lnTo>
                  <a:lnTo>
                    <a:pt x="162" y="391"/>
                  </a:lnTo>
                  <a:lnTo>
                    <a:pt x="164" y="391"/>
                  </a:lnTo>
                  <a:lnTo>
                    <a:pt x="166" y="391"/>
                  </a:lnTo>
                  <a:lnTo>
                    <a:pt x="166" y="393"/>
                  </a:lnTo>
                  <a:lnTo>
                    <a:pt x="168" y="395"/>
                  </a:lnTo>
                  <a:lnTo>
                    <a:pt x="168" y="397"/>
                  </a:lnTo>
                  <a:lnTo>
                    <a:pt x="170" y="397"/>
                  </a:lnTo>
                  <a:lnTo>
                    <a:pt x="172" y="397"/>
                  </a:lnTo>
                  <a:lnTo>
                    <a:pt x="173" y="397"/>
                  </a:lnTo>
                  <a:lnTo>
                    <a:pt x="175" y="399"/>
                  </a:lnTo>
                  <a:lnTo>
                    <a:pt x="175" y="401"/>
                  </a:lnTo>
                  <a:lnTo>
                    <a:pt x="177" y="401"/>
                  </a:lnTo>
                  <a:lnTo>
                    <a:pt x="177" y="402"/>
                  </a:lnTo>
                  <a:lnTo>
                    <a:pt x="177" y="404"/>
                  </a:lnTo>
                  <a:lnTo>
                    <a:pt x="177" y="406"/>
                  </a:lnTo>
                  <a:lnTo>
                    <a:pt x="177" y="410"/>
                  </a:lnTo>
                  <a:lnTo>
                    <a:pt x="177" y="412"/>
                  </a:lnTo>
                  <a:lnTo>
                    <a:pt x="175" y="412"/>
                  </a:lnTo>
                  <a:lnTo>
                    <a:pt x="173" y="412"/>
                  </a:lnTo>
                  <a:lnTo>
                    <a:pt x="172" y="410"/>
                  </a:lnTo>
                  <a:lnTo>
                    <a:pt x="170" y="410"/>
                  </a:lnTo>
                  <a:lnTo>
                    <a:pt x="168" y="408"/>
                  </a:lnTo>
                  <a:lnTo>
                    <a:pt x="166" y="408"/>
                  </a:lnTo>
                  <a:lnTo>
                    <a:pt x="166" y="406"/>
                  </a:lnTo>
                  <a:lnTo>
                    <a:pt x="161" y="401"/>
                  </a:lnTo>
                  <a:lnTo>
                    <a:pt x="157" y="395"/>
                  </a:lnTo>
                  <a:lnTo>
                    <a:pt x="155" y="391"/>
                  </a:lnTo>
                  <a:lnTo>
                    <a:pt x="157" y="391"/>
                  </a:lnTo>
                  <a:lnTo>
                    <a:pt x="159" y="391"/>
                  </a:lnTo>
                  <a:close/>
                  <a:moveTo>
                    <a:pt x="137" y="548"/>
                  </a:moveTo>
                  <a:lnTo>
                    <a:pt x="138" y="546"/>
                  </a:lnTo>
                  <a:lnTo>
                    <a:pt x="140" y="546"/>
                  </a:lnTo>
                  <a:lnTo>
                    <a:pt x="142" y="546"/>
                  </a:lnTo>
                  <a:lnTo>
                    <a:pt x="142" y="548"/>
                  </a:lnTo>
                  <a:lnTo>
                    <a:pt x="144" y="548"/>
                  </a:lnTo>
                  <a:lnTo>
                    <a:pt x="146" y="548"/>
                  </a:lnTo>
                  <a:lnTo>
                    <a:pt x="146" y="550"/>
                  </a:lnTo>
                  <a:lnTo>
                    <a:pt x="148" y="550"/>
                  </a:lnTo>
                  <a:lnTo>
                    <a:pt x="148" y="552"/>
                  </a:lnTo>
                  <a:lnTo>
                    <a:pt x="148" y="554"/>
                  </a:lnTo>
                  <a:lnTo>
                    <a:pt x="148" y="556"/>
                  </a:lnTo>
                  <a:lnTo>
                    <a:pt x="149" y="558"/>
                  </a:lnTo>
                  <a:lnTo>
                    <a:pt x="144" y="558"/>
                  </a:lnTo>
                  <a:lnTo>
                    <a:pt x="142" y="558"/>
                  </a:lnTo>
                  <a:lnTo>
                    <a:pt x="138" y="556"/>
                  </a:lnTo>
                  <a:lnTo>
                    <a:pt x="137" y="556"/>
                  </a:lnTo>
                  <a:lnTo>
                    <a:pt x="137" y="554"/>
                  </a:lnTo>
                  <a:lnTo>
                    <a:pt x="135" y="554"/>
                  </a:lnTo>
                  <a:lnTo>
                    <a:pt x="135" y="552"/>
                  </a:lnTo>
                  <a:lnTo>
                    <a:pt x="135" y="550"/>
                  </a:lnTo>
                  <a:lnTo>
                    <a:pt x="137" y="550"/>
                  </a:lnTo>
                  <a:lnTo>
                    <a:pt x="137" y="548"/>
                  </a:lnTo>
                  <a:close/>
                  <a:moveTo>
                    <a:pt x="114" y="550"/>
                  </a:moveTo>
                  <a:lnTo>
                    <a:pt x="114" y="550"/>
                  </a:lnTo>
                  <a:lnTo>
                    <a:pt x="114" y="548"/>
                  </a:lnTo>
                  <a:lnTo>
                    <a:pt x="114" y="546"/>
                  </a:lnTo>
                  <a:lnTo>
                    <a:pt x="116" y="546"/>
                  </a:lnTo>
                  <a:lnTo>
                    <a:pt x="116" y="545"/>
                  </a:lnTo>
                  <a:lnTo>
                    <a:pt x="118" y="545"/>
                  </a:lnTo>
                  <a:lnTo>
                    <a:pt x="120" y="545"/>
                  </a:lnTo>
                  <a:lnTo>
                    <a:pt x="122" y="545"/>
                  </a:lnTo>
                  <a:lnTo>
                    <a:pt x="124" y="546"/>
                  </a:lnTo>
                  <a:lnTo>
                    <a:pt x="125" y="546"/>
                  </a:lnTo>
                  <a:lnTo>
                    <a:pt x="127" y="548"/>
                  </a:lnTo>
                  <a:lnTo>
                    <a:pt x="129" y="548"/>
                  </a:lnTo>
                  <a:lnTo>
                    <a:pt x="131" y="550"/>
                  </a:lnTo>
                  <a:lnTo>
                    <a:pt x="129" y="552"/>
                  </a:lnTo>
                  <a:lnTo>
                    <a:pt x="127" y="554"/>
                  </a:lnTo>
                  <a:lnTo>
                    <a:pt x="125" y="554"/>
                  </a:lnTo>
                  <a:lnTo>
                    <a:pt x="124" y="554"/>
                  </a:lnTo>
                  <a:lnTo>
                    <a:pt x="122" y="554"/>
                  </a:lnTo>
                  <a:lnTo>
                    <a:pt x="120" y="554"/>
                  </a:lnTo>
                  <a:lnTo>
                    <a:pt x="118" y="554"/>
                  </a:lnTo>
                  <a:lnTo>
                    <a:pt x="116" y="554"/>
                  </a:lnTo>
                  <a:lnTo>
                    <a:pt x="116" y="552"/>
                  </a:lnTo>
                  <a:lnTo>
                    <a:pt x="114" y="552"/>
                  </a:lnTo>
                  <a:lnTo>
                    <a:pt x="114" y="550"/>
                  </a:lnTo>
                  <a:close/>
                  <a:moveTo>
                    <a:pt x="153" y="572"/>
                  </a:moveTo>
                  <a:lnTo>
                    <a:pt x="151" y="571"/>
                  </a:lnTo>
                  <a:lnTo>
                    <a:pt x="151" y="569"/>
                  </a:lnTo>
                  <a:lnTo>
                    <a:pt x="151" y="567"/>
                  </a:lnTo>
                  <a:lnTo>
                    <a:pt x="153" y="565"/>
                  </a:lnTo>
                  <a:lnTo>
                    <a:pt x="153" y="563"/>
                  </a:lnTo>
                  <a:lnTo>
                    <a:pt x="155" y="563"/>
                  </a:lnTo>
                  <a:lnTo>
                    <a:pt x="155" y="561"/>
                  </a:lnTo>
                  <a:lnTo>
                    <a:pt x="157" y="561"/>
                  </a:lnTo>
                  <a:lnTo>
                    <a:pt x="159" y="561"/>
                  </a:lnTo>
                  <a:lnTo>
                    <a:pt x="161" y="561"/>
                  </a:lnTo>
                  <a:lnTo>
                    <a:pt x="162" y="563"/>
                  </a:lnTo>
                  <a:lnTo>
                    <a:pt x="162" y="565"/>
                  </a:lnTo>
                  <a:lnTo>
                    <a:pt x="162" y="567"/>
                  </a:lnTo>
                  <a:lnTo>
                    <a:pt x="161" y="569"/>
                  </a:lnTo>
                  <a:lnTo>
                    <a:pt x="161" y="571"/>
                  </a:lnTo>
                  <a:lnTo>
                    <a:pt x="159" y="571"/>
                  </a:lnTo>
                  <a:lnTo>
                    <a:pt x="159" y="572"/>
                  </a:lnTo>
                  <a:lnTo>
                    <a:pt x="157" y="572"/>
                  </a:lnTo>
                  <a:lnTo>
                    <a:pt x="155" y="572"/>
                  </a:lnTo>
                  <a:lnTo>
                    <a:pt x="153" y="572"/>
                  </a:lnTo>
                  <a:close/>
                  <a:moveTo>
                    <a:pt x="188" y="556"/>
                  </a:moveTo>
                  <a:lnTo>
                    <a:pt x="190" y="556"/>
                  </a:lnTo>
                  <a:lnTo>
                    <a:pt x="192" y="556"/>
                  </a:lnTo>
                  <a:lnTo>
                    <a:pt x="192" y="558"/>
                  </a:lnTo>
                  <a:lnTo>
                    <a:pt x="194" y="559"/>
                  </a:lnTo>
                  <a:lnTo>
                    <a:pt x="194" y="561"/>
                  </a:lnTo>
                  <a:lnTo>
                    <a:pt x="194" y="563"/>
                  </a:lnTo>
                  <a:lnTo>
                    <a:pt x="192" y="565"/>
                  </a:lnTo>
                  <a:lnTo>
                    <a:pt x="192" y="567"/>
                  </a:lnTo>
                  <a:lnTo>
                    <a:pt x="190" y="567"/>
                  </a:lnTo>
                  <a:lnTo>
                    <a:pt x="188" y="567"/>
                  </a:lnTo>
                  <a:lnTo>
                    <a:pt x="186" y="567"/>
                  </a:lnTo>
                  <a:lnTo>
                    <a:pt x="185" y="567"/>
                  </a:lnTo>
                  <a:lnTo>
                    <a:pt x="185" y="565"/>
                  </a:lnTo>
                  <a:lnTo>
                    <a:pt x="183" y="565"/>
                  </a:lnTo>
                  <a:lnTo>
                    <a:pt x="183" y="563"/>
                  </a:lnTo>
                  <a:lnTo>
                    <a:pt x="183" y="561"/>
                  </a:lnTo>
                  <a:lnTo>
                    <a:pt x="183" y="559"/>
                  </a:lnTo>
                  <a:lnTo>
                    <a:pt x="183" y="558"/>
                  </a:lnTo>
                  <a:lnTo>
                    <a:pt x="185" y="558"/>
                  </a:lnTo>
                  <a:lnTo>
                    <a:pt x="185" y="556"/>
                  </a:lnTo>
                  <a:lnTo>
                    <a:pt x="186" y="556"/>
                  </a:lnTo>
                  <a:lnTo>
                    <a:pt x="188" y="556"/>
                  </a:lnTo>
                  <a:close/>
                  <a:moveTo>
                    <a:pt x="188" y="528"/>
                  </a:moveTo>
                  <a:lnTo>
                    <a:pt x="190" y="528"/>
                  </a:lnTo>
                  <a:lnTo>
                    <a:pt x="192" y="528"/>
                  </a:lnTo>
                  <a:lnTo>
                    <a:pt x="192" y="530"/>
                  </a:lnTo>
                  <a:lnTo>
                    <a:pt x="194" y="530"/>
                  </a:lnTo>
                  <a:lnTo>
                    <a:pt x="194" y="532"/>
                  </a:lnTo>
                  <a:lnTo>
                    <a:pt x="194" y="534"/>
                  </a:lnTo>
                  <a:lnTo>
                    <a:pt x="194" y="535"/>
                  </a:lnTo>
                  <a:lnTo>
                    <a:pt x="192" y="535"/>
                  </a:lnTo>
                  <a:lnTo>
                    <a:pt x="192" y="537"/>
                  </a:lnTo>
                  <a:lnTo>
                    <a:pt x="190" y="537"/>
                  </a:lnTo>
                  <a:lnTo>
                    <a:pt x="188" y="537"/>
                  </a:lnTo>
                  <a:lnTo>
                    <a:pt x="186" y="537"/>
                  </a:lnTo>
                  <a:lnTo>
                    <a:pt x="186" y="535"/>
                  </a:lnTo>
                  <a:lnTo>
                    <a:pt x="185" y="535"/>
                  </a:lnTo>
                  <a:lnTo>
                    <a:pt x="185" y="534"/>
                  </a:lnTo>
                  <a:lnTo>
                    <a:pt x="185" y="532"/>
                  </a:lnTo>
                  <a:lnTo>
                    <a:pt x="185" y="530"/>
                  </a:lnTo>
                  <a:lnTo>
                    <a:pt x="186" y="528"/>
                  </a:lnTo>
                  <a:lnTo>
                    <a:pt x="188" y="528"/>
                  </a:lnTo>
                  <a:close/>
                  <a:moveTo>
                    <a:pt x="7" y="602"/>
                  </a:moveTo>
                  <a:lnTo>
                    <a:pt x="7" y="602"/>
                  </a:lnTo>
                  <a:lnTo>
                    <a:pt x="7" y="600"/>
                  </a:lnTo>
                  <a:lnTo>
                    <a:pt x="9" y="598"/>
                  </a:lnTo>
                  <a:lnTo>
                    <a:pt x="9" y="596"/>
                  </a:lnTo>
                  <a:lnTo>
                    <a:pt x="9" y="595"/>
                  </a:lnTo>
                  <a:lnTo>
                    <a:pt x="11" y="595"/>
                  </a:lnTo>
                  <a:lnTo>
                    <a:pt x="13" y="593"/>
                  </a:lnTo>
                  <a:lnTo>
                    <a:pt x="15" y="593"/>
                  </a:lnTo>
                  <a:lnTo>
                    <a:pt x="16" y="593"/>
                  </a:lnTo>
                  <a:lnTo>
                    <a:pt x="18" y="593"/>
                  </a:lnTo>
                  <a:lnTo>
                    <a:pt x="20" y="595"/>
                  </a:lnTo>
                  <a:lnTo>
                    <a:pt x="20" y="596"/>
                  </a:lnTo>
                  <a:lnTo>
                    <a:pt x="20" y="598"/>
                  </a:lnTo>
                  <a:lnTo>
                    <a:pt x="20" y="600"/>
                  </a:lnTo>
                  <a:lnTo>
                    <a:pt x="18" y="600"/>
                  </a:lnTo>
                  <a:lnTo>
                    <a:pt x="18" y="602"/>
                  </a:lnTo>
                  <a:lnTo>
                    <a:pt x="16" y="602"/>
                  </a:lnTo>
                  <a:lnTo>
                    <a:pt x="13" y="604"/>
                  </a:lnTo>
                  <a:lnTo>
                    <a:pt x="11" y="604"/>
                  </a:lnTo>
                  <a:lnTo>
                    <a:pt x="7" y="602"/>
                  </a:lnTo>
                  <a:close/>
                  <a:moveTo>
                    <a:pt x="16" y="607"/>
                  </a:moveTo>
                  <a:lnTo>
                    <a:pt x="16" y="607"/>
                  </a:lnTo>
                  <a:lnTo>
                    <a:pt x="18" y="609"/>
                  </a:lnTo>
                  <a:lnTo>
                    <a:pt x="20" y="611"/>
                  </a:lnTo>
                  <a:lnTo>
                    <a:pt x="20" y="613"/>
                  </a:lnTo>
                  <a:lnTo>
                    <a:pt x="20" y="615"/>
                  </a:lnTo>
                  <a:lnTo>
                    <a:pt x="20" y="617"/>
                  </a:lnTo>
                  <a:lnTo>
                    <a:pt x="20" y="619"/>
                  </a:lnTo>
                  <a:lnTo>
                    <a:pt x="20" y="620"/>
                  </a:lnTo>
                  <a:lnTo>
                    <a:pt x="20" y="624"/>
                  </a:lnTo>
                  <a:lnTo>
                    <a:pt x="20" y="628"/>
                  </a:lnTo>
                  <a:lnTo>
                    <a:pt x="20" y="631"/>
                  </a:lnTo>
                  <a:lnTo>
                    <a:pt x="18" y="635"/>
                  </a:lnTo>
                  <a:lnTo>
                    <a:pt x="18" y="639"/>
                  </a:lnTo>
                  <a:lnTo>
                    <a:pt x="16" y="641"/>
                  </a:lnTo>
                  <a:lnTo>
                    <a:pt x="15" y="643"/>
                  </a:lnTo>
                  <a:lnTo>
                    <a:pt x="13" y="643"/>
                  </a:lnTo>
                  <a:lnTo>
                    <a:pt x="11" y="643"/>
                  </a:lnTo>
                  <a:lnTo>
                    <a:pt x="9" y="643"/>
                  </a:lnTo>
                  <a:lnTo>
                    <a:pt x="7" y="643"/>
                  </a:lnTo>
                  <a:lnTo>
                    <a:pt x="7" y="641"/>
                  </a:lnTo>
                  <a:lnTo>
                    <a:pt x="5" y="641"/>
                  </a:lnTo>
                  <a:lnTo>
                    <a:pt x="4" y="639"/>
                  </a:lnTo>
                  <a:lnTo>
                    <a:pt x="2" y="637"/>
                  </a:lnTo>
                  <a:lnTo>
                    <a:pt x="2" y="635"/>
                  </a:lnTo>
                  <a:lnTo>
                    <a:pt x="2" y="633"/>
                  </a:lnTo>
                  <a:lnTo>
                    <a:pt x="0" y="631"/>
                  </a:lnTo>
                  <a:lnTo>
                    <a:pt x="0" y="630"/>
                  </a:lnTo>
                  <a:lnTo>
                    <a:pt x="0" y="628"/>
                  </a:lnTo>
                  <a:lnTo>
                    <a:pt x="0" y="626"/>
                  </a:lnTo>
                  <a:lnTo>
                    <a:pt x="0" y="624"/>
                  </a:lnTo>
                  <a:lnTo>
                    <a:pt x="0" y="622"/>
                  </a:lnTo>
                  <a:lnTo>
                    <a:pt x="2" y="620"/>
                  </a:lnTo>
                  <a:lnTo>
                    <a:pt x="2" y="619"/>
                  </a:lnTo>
                  <a:lnTo>
                    <a:pt x="2" y="617"/>
                  </a:lnTo>
                  <a:lnTo>
                    <a:pt x="4" y="615"/>
                  </a:lnTo>
                  <a:lnTo>
                    <a:pt x="5" y="613"/>
                  </a:lnTo>
                  <a:lnTo>
                    <a:pt x="7" y="611"/>
                  </a:lnTo>
                  <a:lnTo>
                    <a:pt x="9" y="611"/>
                  </a:lnTo>
                  <a:lnTo>
                    <a:pt x="11" y="609"/>
                  </a:lnTo>
                  <a:lnTo>
                    <a:pt x="13" y="609"/>
                  </a:lnTo>
                  <a:lnTo>
                    <a:pt x="13" y="607"/>
                  </a:lnTo>
                  <a:lnTo>
                    <a:pt x="16" y="607"/>
                  </a:lnTo>
                  <a:close/>
                  <a:moveTo>
                    <a:pt x="670" y="332"/>
                  </a:moveTo>
                  <a:lnTo>
                    <a:pt x="670" y="334"/>
                  </a:lnTo>
                  <a:lnTo>
                    <a:pt x="669" y="334"/>
                  </a:lnTo>
                  <a:lnTo>
                    <a:pt x="667" y="334"/>
                  </a:lnTo>
                  <a:lnTo>
                    <a:pt x="665" y="332"/>
                  </a:lnTo>
                  <a:lnTo>
                    <a:pt x="663" y="330"/>
                  </a:lnTo>
                  <a:lnTo>
                    <a:pt x="663" y="328"/>
                  </a:lnTo>
                  <a:lnTo>
                    <a:pt x="663" y="327"/>
                  </a:lnTo>
                  <a:lnTo>
                    <a:pt x="663" y="325"/>
                  </a:lnTo>
                  <a:lnTo>
                    <a:pt x="665" y="325"/>
                  </a:lnTo>
                  <a:lnTo>
                    <a:pt x="667" y="325"/>
                  </a:lnTo>
                  <a:lnTo>
                    <a:pt x="669" y="325"/>
                  </a:lnTo>
                  <a:lnTo>
                    <a:pt x="669" y="327"/>
                  </a:lnTo>
                  <a:lnTo>
                    <a:pt x="670" y="327"/>
                  </a:lnTo>
                  <a:lnTo>
                    <a:pt x="670" y="328"/>
                  </a:lnTo>
                  <a:lnTo>
                    <a:pt x="672" y="328"/>
                  </a:lnTo>
                  <a:lnTo>
                    <a:pt x="672" y="330"/>
                  </a:lnTo>
                  <a:lnTo>
                    <a:pt x="672" y="332"/>
                  </a:lnTo>
                  <a:lnTo>
                    <a:pt x="670" y="332"/>
                  </a:lnTo>
                  <a:close/>
                  <a:moveTo>
                    <a:pt x="654" y="314"/>
                  </a:moveTo>
                  <a:lnTo>
                    <a:pt x="656" y="314"/>
                  </a:lnTo>
                  <a:lnTo>
                    <a:pt x="656" y="316"/>
                  </a:lnTo>
                  <a:lnTo>
                    <a:pt x="657" y="316"/>
                  </a:lnTo>
                  <a:lnTo>
                    <a:pt x="659" y="316"/>
                  </a:lnTo>
                  <a:lnTo>
                    <a:pt x="659" y="317"/>
                  </a:lnTo>
                  <a:lnTo>
                    <a:pt x="661" y="317"/>
                  </a:lnTo>
                  <a:lnTo>
                    <a:pt x="661" y="319"/>
                  </a:lnTo>
                  <a:lnTo>
                    <a:pt x="661" y="321"/>
                  </a:lnTo>
                  <a:lnTo>
                    <a:pt x="659" y="321"/>
                  </a:lnTo>
                  <a:lnTo>
                    <a:pt x="659" y="323"/>
                  </a:lnTo>
                  <a:lnTo>
                    <a:pt x="657" y="323"/>
                  </a:lnTo>
                  <a:lnTo>
                    <a:pt x="656" y="323"/>
                  </a:lnTo>
                  <a:lnTo>
                    <a:pt x="654" y="323"/>
                  </a:lnTo>
                  <a:lnTo>
                    <a:pt x="652" y="323"/>
                  </a:lnTo>
                  <a:lnTo>
                    <a:pt x="650" y="323"/>
                  </a:lnTo>
                  <a:lnTo>
                    <a:pt x="650" y="321"/>
                  </a:lnTo>
                  <a:lnTo>
                    <a:pt x="648" y="321"/>
                  </a:lnTo>
                  <a:lnTo>
                    <a:pt x="648" y="319"/>
                  </a:lnTo>
                  <a:lnTo>
                    <a:pt x="648" y="317"/>
                  </a:lnTo>
                  <a:lnTo>
                    <a:pt x="650" y="316"/>
                  </a:lnTo>
                  <a:lnTo>
                    <a:pt x="652" y="316"/>
                  </a:lnTo>
                  <a:lnTo>
                    <a:pt x="654" y="316"/>
                  </a:lnTo>
                  <a:lnTo>
                    <a:pt x="654" y="314"/>
                  </a:lnTo>
                  <a:close/>
                  <a:moveTo>
                    <a:pt x="441" y="417"/>
                  </a:moveTo>
                  <a:lnTo>
                    <a:pt x="441" y="417"/>
                  </a:lnTo>
                  <a:lnTo>
                    <a:pt x="443" y="417"/>
                  </a:lnTo>
                  <a:lnTo>
                    <a:pt x="443" y="415"/>
                  </a:lnTo>
                  <a:lnTo>
                    <a:pt x="445" y="415"/>
                  </a:lnTo>
                  <a:lnTo>
                    <a:pt x="445" y="417"/>
                  </a:lnTo>
                  <a:lnTo>
                    <a:pt x="447" y="417"/>
                  </a:lnTo>
                  <a:lnTo>
                    <a:pt x="449" y="421"/>
                  </a:lnTo>
                  <a:lnTo>
                    <a:pt x="451" y="426"/>
                  </a:lnTo>
                  <a:lnTo>
                    <a:pt x="451" y="428"/>
                  </a:lnTo>
                  <a:lnTo>
                    <a:pt x="451" y="430"/>
                  </a:lnTo>
                  <a:lnTo>
                    <a:pt x="449" y="432"/>
                  </a:lnTo>
                  <a:lnTo>
                    <a:pt x="447" y="432"/>
                  </a:lnTo>
                  <a:lnTo>
                    <a:pt x="445" y="432"/>
                  </a:lnTo>
                  <a:lnTo>
                    <a:pt x="445" y="430"/>
                  </a:lnTo>
                  <a:lnTo>
                    <a:pt x="443" y="430"/>
                  </a:lnTo>
                  <a:lnTo>
                    <a:pt x="443" y="428"/>
                  </a:lnTo>
                  <a:lnTo>
                    <a:pt x="441" y="428"/>
                  </a:lnTo>
                  <a:lnTo>
                    <a:pt x="441" y="426"/>
                  </a:lnTo>
                  <a:lnTo>
                    <a:pt x="441" y="425"/>
                  </a:lnTo>
                  <a:lnTo>
                    <a:pt x="439" y="425"/>
                  </a:lnTo>
                  <a:lnTo>
                    <a:pt x="439" y="423"/>
                  </a:lnTo>
                  <a:lnTo>
                    <a:pt x="439" y="421"/>
                  </a:lnTo>
                  <a:lnTo>
                    <a:pt x="441" y="419"/>
                  </a:lnTo>
                  <a:lnTo>
                    <a:pt x="441" y="417"/>
                  </a:lnTo>
                  <a:close/>
                  <a:moveTo>
                    <a:pt x="421" y="419"/>
                  </a:moveTo>
                  <a:lnTo>
                    <a:pt x="421" y="417"/>
                  </a:lnTo>
                  <a:lnTo>
                    <a:pt x="423" y="417"/>
                  </a:lnTo>
                  <a:lnTo>
                    <a:pt x="425" y="415"/>
                  </a:lnTo>
                  <a:lnTo>
                    <a:pt x="427" y="415"/>
                  </a:lnTo>
                  <a:lnTo>
                    <a:pt x="428" y="415"/>
                  </a:lnTo>
                  <a:lnTo>
                    <a:pt x="428" y="417"/>
                  </a:lnTo>
                  <a:lnTo>
                    <a:pt x="430" y="417"/>
                  </a:lnTo>
                  <a:lnTo>
                    <a:pt x="432" y="417"/>
                  </a:lnTo>
                  <a:lnTo>
                    <a:pt x="434" y="419"/>
                  </a:lnTo>
                  <a:lnTo>
                    <a:pt x="436" y="421"/>
                  </a:lnTo>
                  <a:lnTo>
                    <a:pt x="436" y="423"/>
                  </a:lnTo>
                  <a:lnTo>
                    <a:pt x="438" y="426"/>
                  </a:lnTo>
                  <a:lnTo>
                    <a:pt x="436" y="426"/>
                  </a:lnTo>
                  <a:lnTo>
                    <a:pt x="436" y="428"/>
                  </a:lnTo>
                  <a:lnTo>
                    <a:pt x="434" y="428"/>
                  </a:lnTo>
                  <a:lnTo>
                    <a:pt x="432" y="428"/>
                  </a:lnTo>
                  <a:lnTo>
                    <a:pt x="430" y="428"/>
                  </a:lnTo>
                  <a:lnTo>
                    <a:pt x="428" y="426"/>
                  </a:lnTo>
                  <a:lnTo>
                    <a:pt x="427" y="426"/>
                  </a:lnTo>
                  <a:lnTo>
                    <a:pt x="425" y="425"/>
                  </a:lnTo>
                  <a:lnTo>
                    <a:pt x="423" y="425"/>
                  </a:lnTo>
                  <a:lnTo>
                    <a:pt x="421" y="423"/>
                  </a:lnTo>
                  <a:lnTo>
                    <a:pt x="421" y="421"/>
                  </a:lnTo>
                  <a:lnTo>
                    <a:pt x="421" y="419"/>
                  </a:lnTo>
                  <a:close/>
                  <a:moveTo>
                    <a:pt x="419" y="421"/>
                  </a:moveTo>
                  <a:lnTo>
                    <a:pt x="419" y="423"/>
                  </a:lnTo>
                  <a:lnTo>
                    <a:pt x="417" y="423"/>
                  </a:lnTo>
                  <a:lnTo>
                    <a:pt x="415" y="425"/>
                  </a:lnTo>
                  <a:lnTo>
                    <a:pt x="412" y="425"/>
                  </a:lnTo>
                  <a:lnTo>
                    <a:pt x="406" y="425"/>
                  </a:lnTo>
                  <a:lnTo>
                    <a:pt x="404" y="425"/>
                  </a:lnTo>
                  <a:lnTo>
                    <a:pt x="403" y="423"/>
                  </a:lnTo>
                  <a:lnTo>
                    <a:pt x="401" y="421"/>
                  </a:lnTo>
                  <a:lnTo>
                    <a:pt x="403" y="419"/>
                  </a:lnTo>
                  <a:lnTo>
                    <a:pt x="403" y="417"/>
                  </a:lnTo>
                  <a:lnTo>
                    <a:pt x="404" y="417"/>
                  </a:lnTo>
                  <a:lnTo>
                    <a:pt x="406" y="417"/>
                  </a:lnTo>
                  <a:lnTo>
                    <a:pt x="406" y="415"/>
                  </a:lnTo>
                  <a:lnTo>
                    <a:pt x="408" y="415"/>
                  </a:lnTo>
                  <a:lnTo>
                    <a:pt x="410" y="415"/>
                  </a:lnTo>
                  <a:lnTo>
                    <a:pt x="412" y="415"/>
                  </a:lnTo>
                  <a:lnTo>
                    <a:pt x="414" y="415"/>
                  </a:lnTo>
                  <a:lnTo>
                    <a:pt x="415" y="417"/>
                  </a:lnTo>
                  <a:lnTo>
                    <a:pt x="417" y="417"/>
                  </a:lnTo>
                  <a:lnTo>
                    <a:pt x="419" y="419"/>
                  </a:lnTo>
                  <a:lnTo>
                    <a:pt x="419" y="421"/>
                  </a:lnTo>
                  <a:close/>
                  <a:moveTo>
                    <a:pt x="408" y="393"/>
                  </a:moveTo>
                  <a:lnTo>
                    <a:pt x="406" y="395"/>
                  </a:lnTo>
                  <a:lnTo>
                    <a:pt x="403" y="397"/>
                  </a:lnTo>
                  <a:lnTo>
                    <a:pt x="399" y="397"/>
                  </a:lnTo>
                  <a:lnTo>
                    <a:pt x="397" y="397"/>
                  </a:lnTo>
                  <a:lnTo>
                    <a:pt x="395" y="397"/>
                  </a:lnTo>
                  <a:lnTo>
                    <a:pt x="395" y="395"/>
                  </a:lnTo>
                  <a:lnTo>
                    <a:pt x="393" y="393"/>
                  </a:lnTo>
                  <a:lnTo>
                    <a:pt x="391" y="393"/>
                  </a:lnTo>
                  <a:lnTo>
                    <a:pt x="393" y="391"/>
                  </a:lnTo>
                  <a:lnTo>
                    <a:pt x="395" y="389"/>
                  </a:lnTo>
                  <a:lnTo>
                    <a:pt x="397" y="388"/>
                  </a:lnTo>
                  <a:lnTo>
                    <a:pt x="399" y="388"/>
                  </a:lnTo>
                  <a:lnTo>
                    <a:pt x="401" y="388"/>
                  </a:lnTo>
                  <a:lnTo>
                    <a:pt x="403" y="388"/>
                  </a:lnTo>
                  <a:lnTo>
                    <a:pt x="404" y="389"/>
                  </a:lnTo>
                  <a:lnTo>
                    <a:pt x="406" y="391"/>
                  </a:lnTo>
                  <a:lnTo>
                    <a:pt x="408" y="393"/>
                  </a:lnTo>
                  <a:close/>
                  <a:moveTo>
                    <a:pt x="419" y="382"/>
                  </a:moveTo>
                  <a:lnTo>
                    <a:pt x="419" y="384"/>
                  </a:lnTo>
                  <a:lnTo>
                    <a:pt x="421" y="384"/>
                  </a:lnTo>
                  <a:lnTo>
                    <a:pt x="421" y="388"/>
                  </a:lnTo>
                  <a:lnTo>
                    <a:pt x="423" y="391"/>
                  </a:lnTo>
                  <a:lnTo>
                    <a:pt x="421" y="393"/>
                  </a:lnTo>
                  <a:lnTo>
                    <a:pt x="419" y="393"/>
                  </a:lnTo>
                  <a:lnTo>
                    <a:pt x="419" y="395"/>
                  </a:lnTo>
                  <a:lnTo>
                    <a:pt x="417" y="395"/>
                  </a:lnTo>
                  <a:lnTo>
                    <a:pt x="417" y="393"/>
                  </a:lnTo>
                  <a:lnTo>
                    <a:pt x="415" y="393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4" y="389"/>
                  </a:lnTo>
                  <a:lnTo>
                    <a:pt x="414" y="388"/>
                  </a:lnTo>
                  <a:lnTo>
                    <a:pt x="414" y="386"/>
                  </a:lnTo>
                  <a:lnTo>
                    <a:pt x="415" y="384"/>
                  </a:lnTo>
                  <a:lnTo>
                    <a:pt x="417" y="384"/>
                  </a:lnTo>
                  <a:lnTo>
                    <a:pt x="419" y="382"/>
                  </a:lnTo>
                  <a:close/>
                  <a:moveTo>
                    <a:pt x="432" y="384"/>
                  </a:moveTo>
                  <a:lnTo>
                    <a:pt x="434" y="384"/>
                  </a:lnTo>
                  <a:lnTo>
                    <a:pt x="436" y="384"/>
                  </a:lnTo>
                  <a:lnTo>
                    <a:pt x="438" y="384"/>
                  </a:lnTo>
                  <a:lnTo>
                    <a:pt x="439" y="384"/>
                  </a:lnTo>
                  <a:lnTo>
                    <a:pt x="441" y="384"/>
                  </a:lnTo>
                  <a:lnTo>
                    <a:pt x="443" y="386"/>
                  </a:lnTo>
                  <a:lnTo>
                    <a:pt x="445" y="386"/>
                  </a:lnTo>
                  <a:lnTo>
                    <a:pt x="445" y="388"/>
                  </a:lnTo>
                  <a:lnTo>
                    <a:pt x="447" y="388"/>
                  </a:lnTo>
                  <a:lnTo>
                    <a:pt x="447" y="389"/>
                  </a:lnTo>
                  <a:lnTo>
                    <a:pt x="449" y="391"/>
                  </a:lnTo>
                  <a:lnTo>
                    <a:pt x="449" y="395"/>
                  </a:lnTo>
                  <a:lnTo>
                    <a:pt x="451" y="397"/>
                  </a:lnTo>
                  <a:lnTo>
                    <a:pt x="445" y="395"/>
                  </a:lnTo>
                  <a:lnTo>
                    <a:pt x="441" y="395"/>
                  </a:lnTo>
                  <a:lnTo>
                    <a:pt x="436" y="393"/>
                  </a:lnTo>
                  <a:lnTo>
                    <a:pt x="434" y="393"/>
                  </a:lnTo>
                  <a:lnTo>
                    <a:pt x="434" y="391"/>
                  </a:lnTo>
                  <a:lnTo>
                    <a:pt x="432" y="391"/>
                  </a:lnTo>
                  <a:lnTo>
                    <a:pt x="430" y="389"/>
                  </a:lnTo>
                  <a:lnTo>
                    <a:pt x="430" y="388"/>
                  </a:lnTo>
                  <a:lnTo>
                    <a:pt x="430" y="386"/>
                  </a:lnTo>
                  <a:lnTo>
                    <a:pt x="432" y="384"/>
                  </a:lnTo>
                  <a:close/>
                  <a:moveTo>
                    <a:pt x="428" y="375"/>
                  </a:moveTo>
                  <a:lnTo>
                    <a:pt x="428" y="375"/>
                  </a:lnTo>
                  <a:lnTo>
                    <a:pt x="428" y="373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32" y="367"/>
                  </a:lnTo>
                  <a:lnTo>
                    <a:pt x="434" y="367"/>
                  </a:lnTo>
                  <a:lnTo>
                    <a:pt x="439" y="365"/>
                  </a:lnTo>
                  <a:lnTo>
                    <a:pt x="445" y="362"/>
                  </a:lnTo>
                  <a:lnTo>
                    <a:pt x="447" y="362"/>
                  </a:lnTo>
                  <a:lnTo>
                    <a:pt x="449" y="362"/>
                  </a:lnTo>
                  <a:lnTo>
                    <a:pt x="451" y="362"/>
                  </a:lnTo>
                  <a:lnTo>
                    <a:pt x="451" y="364"/>
                  </a:lnTo>
                  <a:lnTo>
                    <a:pt x="452" y="364"/>
                  </a:lnTo>
                  <a:lnTo>
                    <a:pt x="452" y="365"/>
                  </a:lnTo>
                  <a:lnTo>
                    <a:pt x="454" y="365"/>
                  </a:lnTo>
                  <a:lnTo>
                    <a:pt x="452" y="367"/>
                  </a:lnTo>
                  <a:lnTo>
                    <a:pt x="452" y="369"/>
                  </a:lnTo>
                  <a:lnTo>
                    <a:pt x="452" y="371"/>
                  </a:lnTo>
                  <a:lnTo>
                    <a:pt x="451" y="371"/>
                  </a:lnTo>
                  <a:lnTo>
                    <a:pt x="447" y="373"/>
                  </a:lnTo>
                  <a:lnTo>
                    <a:pt x="443" y="373"/>
                  </a:lnTo>
                  <a:lnTo>
                    <a:pt x="441" y="373"/>
                  </a:lnTo>
                  <a:lnTo>
                    <a:pt x="439" y="373"/>
                  </a:lnTo>
                  <a:lnTo>
                    <a:pt x="438" y="375"/>
                  </a:lnTo>
                  <a:lnTo>
                    <a:pt x="436" y="375"/>
                  </a:lnTo>
                  <a:lnTo>
                    <a:pt x="432" y="375"/>
                  </a:lnTo>
                  <a:lnTo>
                    <a:pt x="430" y="375"/>
                  </a:lnTo>
                  <a:lnTo>
                    <a:pt x="428" y="375"/>
                  </a:lnTo>
                  <a:close/>
                  <a:moveTo>
                    <a:pt x="425" y="360"/>
                  </a:moveTo>
                  <a:lnTo>
                    <a:pt x="425" y="360"/>
                  </a:lnTo>
                  <a:lnTo>
                    <a:pt x="425" y="358"/>
                  </a:lnTo>
                  <a:lnTo>
                    <a:pt x="425" y="356"/>
                  </a:lnTo>
                  <a:lnTo>
                    <a:pt x="427" y="354"/>
                  </a:lnTo>
                  <a:lnTo>
                    <a:pt x="428" y="354"/>
                  </a:lnTo>
                  <a:lnTo>
                    <a:pt x="430" y="352"/>
                  </a:lnTo>
                  <a:lnTo>
                    <a:pt x="432" y="351"/>
                  </a:lnTo>
                  <a:lnTo>
                    <a:pt x="434" y="349"/>
                  </a:lnTo>
                  <a:lnTo>
                    <a:pt x="436" y="347"/>
                  </a:lnTo>
                  <a:lnTo>
                    <a:pt x="436" y="345"/>
                  </a:lnTo>
                  <a:lnTo>
                    <a:pt x="438" y="343"/>
                  </a:lnTo>
                  <a:lnTo>
                    <a:pt x="439" y="343"/>
                  </a:lnTo>
                  <a:lnTo>
                    <a:pt x="441" y="343"/>
                  </a:lnTo>
                  <a:lnTo>
                    <a:pt x="443" y="343"/>
                  </a:lnTo>
                  <a:lnTo>
                    <a:pt x="445" y="343"/>
                  </a:lnTo>
                  <a:lnTo>
                    <a:pt x="447" y="343"/>
                  </a:lnTo>
                  <a:lnTo>
                    <a:pt x="447" y="345"/>
                  </a:lnTo>
                  <a:lnTo>
                    <a:pt x="449" y="347"/>
                  </a:lnTo>
                  <a:lnTo>
                    <a:pt x="449" y="349"/>
                  </a:lnTo>
                  <a:lnTo>
                    <a:pt x="447" y="351"/>
                  </a:lnTo>
                  <a:lnTo>
                    <a:pt x="445" y="356"/>
                  </a:lnTo>
                  <a:lnTo>
                    <a:pt x="441" y="360"/>
                  </a:lnTo>
                  <a:lnTo>
                    <a:pt x="439" y="362"/>
                  </a:lnTo>
                  <a:lnTo>
                    <a:pt x="438" y="362"/>
                  </a:lnTo>
                  <a:lnTo>
                    <a:pt x="434" y="364"/>
                  </a:lnTo>
                  <a:lnTo>
                    <a:pt x="430" y="364"/>
                  </a:lnTo>
                  <a:lnTo>
                    <a:pt x="428" y="364"/>
                  </a:lnTo>
                  <a:lnTo>
                    <a:pt x="427" y="362"/>
                  </a:lnTo>
                  <a:lnTo>
                    <a:pt x="425" y="360"/>
                  </a:lnTo>
                  <a:close/>
                  <a:moveTo>
                    <a:pt x="318" y="323"/>
                  </a:moveTo>
                  <a:lnTo>
                    <a:pt x="318" y="323"/>
                  </a:lnTo>
                  <a:lnTo>
                    <a:pt x="318" y="325"/>
                  </a:lnTo>
                  <a:lnTo>
                    <a:pt x="318" y="327"/>
                  </a:lnTo>
                  <a:lnTo>
                    <a:pt x="316" y="327"/>
                  </a:lnTo>
                  <a:lnTo>
                    <a:pt x="316" y="328"/>
                  </a:lnTo>
                  <a:lnTo>
                    <a:pt x="314" y="328"/>
                  </a:lnTo>
                  <a:lnTo>
                    <a:pt x="314" y="330"/>
                  </a:lnTo>
                  <a:lnTo>
                    <a:pt x="312" y="330"/>
                  </a:lnTo>
                  <a:lnTo>
                    <a:pt x="310" y="330"/>
                  </a:lnTo>
                  <a:lnTo>
                    <a:pt x="308" y="332"/>
                  </a:lnTo>
                  <a:lnTo>
                    <a:pt x="306" y="332"/>
                  </a:lnTo>
                  <a:lnTo>
                    <a:pt x="305" y="332"/>
                  </a:lnTo>
                  <a:lnTo>
                    <a:pt x="305" y="330"/>
                  </a:lnTo>
                  <a:lnTo>
                    <a:pt x="303" y="330"/>
                  </a:lnTo>
                  <a:lnTo>
                    <a:pt x="301" y="330"/>
                  </a:lnTo>
                  <a:lnTo>
                    <a:pt x="301" y="328"/>
                  </a:lnTo>
                  <a:lnTo>
                    <a:pt x="301" y="327"/>
                  </a:lnTo>
                  <a:lnTo>
                    <a:pt x="301" y="325"/>
                  </a:lnTo>
                  <a:lnTo>
                    <a:pt x="301" y="323"/>
                  </a:lnTo>
                  <a:lnTo>
                    <a:pt x="303" y="323"/>
                  </a:lnTo>
                  <a:lnTo>
                    <a:pt x="303" y="321"/>
                  </a:lnTo>
                  <a:lnTo>
                    <a:pt x="305" y="321"/>
                  </a:lnTo>
                  <a:lnTo>
                    <a:pt x="306" y="319"/>
                  </a:lnTo>
                  <a:lnTo>
                    <a:pt x="308" y="319"/>
                  </a:lnTo>
                  <a:lnTo>
                    <a:pt x="310" y="319"/>
                  </a:lnTo>
                  <a:lnTo>
                    <a:pt x="312" y="319"/>
                  </a:lnTo>
                  <a:lnTo>
                    <a:pt x="314" y="319"/>
                  </a:lnTo>
                  <a:lnTo>
                    <a:pt x="314" y="321"/>
                  </a:lnTo>
                  <a:lnTo>
                    <a:pt x="316" y="321"/>
                  </a:lnTo>
                  <a:lnTo>
                    <a:pt x="318" y="323"/>
                  </a:lnTo>
                  <a:close/>
                  <a:moveTo>
                    <a:pt x="395" y="64"/>
                  </a:moveTo>
                  <a:lnTo>
                    <a:pt x="397" y="62"/>
                  </a:lnTo>
                  <a:lnTo>
                    <a:pt x="399" y="61"/>
                  </a:lnTo>
                  <a:lnTo>
                    <a:pt x="401" y="57"/>
                  </a:lnTo>
                  <a:lnTo>
                    <a:pt x="404" y="55"/>
                  </a:lnTo>
                  <a:lnTo>
                    <a:pt x="406" y="53"/>
                  </a:lnTo>
                  <a:lnTo>
                    <a:pt x="408" y="51"/>
                  </a:lnTo>
                  <a:lnTo>
                    <a:pt x="406" y="48"/>
                  </a:lnTo>
                  <a:lnTo>
                    <a:pt x="404" y="42"/>
                  </a:lnTo>
                  <a:lnTo>
                    <a:pt x="404" y="40"/>
                  </a:lnTo>
                  <a:lnTo>
                    <a:pt x="404" y="38"/>
                  </a:lnTo>
                  <a:lnTo>
                    <a:pt x="404" y="36"/>
                  </a:lnTo>
                  <a:lnTo>
                    <a:pt x="404" y="35"/>
                  </a:lnTo>
                  <a:lnTo>
                    <a:pt x="406" y="35"/>
                  </a:lnTo>
                  <a:lnTo>
                    <a:pt x="408" y="35"/>
                  </a:lnTo>
                  <a:lnTo>
                    <a:pt x="412" y="33"/>
                  </a:lnTo>
                  <a:lnTo>
                    <a:pt x="417" y="31"/>
                  </a:lnTo>
                  <a:lnTo>
                    <a:pt x="419" y="29"/>
                  </a:lnTo>
                  <a:lnTo>
                    <a:pt x="421" y="29"/>
                  </a:lnTo>
                  <a:lnTo>
                    <a:pt x="421" y="27"/>
                  </a:lnTo>
                  <a:lnTo>
                    <a:pt x="423" y="25"/>
                  </a:lnTo>
                  <a:lnTo>
                    <a:pt x="425" y="24"/>
                  </a:lnTo>
                  <a:lnTo>
                    <a:pt x="427" y="24"/>
                  </a:lnTo>
                  <a:lnTo>
                    <a:pt x="427" y="22"/>
                  </a:lnTo>
                  <a:lnTo>
                    <a:pt x="428" y="22"/>
                  </a:lnTo>
                  <a:lnTo>
                    <a:pt x="430" y="22"/>
                  </a:lnTo>
                  <a:lnTo>
                    <a:pt x="434" y="22"/>
                  </a:lnTo>
                  <a:lnTo>
                    <a:pt x="436" y="22"/>
                  </a:lnTo>
                  <a:lnTo>
                    <a:pt x="438" y="22"/>
                  </a:lnTo>
                  <a:lnTo>
                    <a:pt x="443" y="20"/>
                  </a:lnTo>
                  <a:lnTo>
                    <a:pt x="447" y="20"/>
                  </a:lnTo>
                  <a:lnTo>
                    <a:pt x="449" y="18"/>
                  </a:lnTo>
                  <a:lnTo>
                    <a:pt x="449" y="16"/>
                  </a:lnTo>
                  <a:lnTo>
                    <a:pt x="451" y="16"/>
                  </a:lnTo>
                  <a:lnTo>
                    <a:pt x="451" y="14"/>
                  </a:lnTo>
                  <a:lnTo>
                    <a:pt x="451" y="12"/>
                  </a:lnTo>
                  <a:lnTo>
                    <a:pt x="451" y="11"/>
                  </a:lnTo>
                  <a:lnTo>
                    <a:pt x="451" y="9"/>
                  </a:lnTo>
                  <a:lnTo>
                    <a:pt x="451" y="7"/>
                  </a:lnTo>
                  <a:lnTo>
                    <a:pt x="451" y="5"/>
                  </a:lnTo>
                  <a:lnTo>
                    <a:pt x="451" y="3"/>
                  </a:lnTo>
                  <a:lnTo>
                    <a:pt x="452" y="3"/>
                  </a:lnTo>
                  <a:lnTo>
                    <a:pt x="452" y="1"/>
                  </a:lnTo>
                  <a:lnTo>
                    <a:pt x="454" y="1"/>
                  </a:lnTo>
                  <a:lnTo>
                    <a:pt x="458" y="0"/>
                  </a:lnTo>
                  <a:lnTo>
                    <a:pt x="460" y="1"/>
                  </a:lnTo>
                  <a:lnTo>
                    <a:pt x="462" y="1"/>
                  </a:lnTo>
                  <a:lnTo>
                    <a:pt x="464" y="1"/>
                  </a:lnTo>
                  <a:lnTo>
                    <a:pt x="465" y="3"/>
                  </a:lnTo>
                  <a:lnTo>
                    <a:pt x="465" y="5"/>
                  </a:lnTo>
                  <a:lnTo>
                    <a:pt x="467" y="7"/>
                  </a:lnTo>
                  <a:lnTo>
                    <a:pt x="467" y="9"/>
                  </a:lnTo>
                  <a:lnTo>
                    <a:pt x="467" y="11"/>
                  </a:lnTo>
                  <a:lnTo>
                    <a:pt x="469" y="16"/>
                  </a:lnTo>
                  <a:lnTo>
                    <a:pt x="469" y="22"/>
                  </a:lnTo>
                  <a:lnTo>
                    <a:pt x="469" y="24"/>
                  </a:lnTo>
                  <a:lnTo>
                    <a:pt x="469" y="25"/>
                  </a:lnTo>
                  <a:lnTo>
                    <a:pt x="469" y="27"/>
                  </a:lnTo>
                  <a:lnTo>
                    <a:pt x="469" y="29"/>
                  </a:lnTo>
                  <a:lnTo>
                    <a:pt x="471" y="29"/>
                  </a:lnTo>
                  <a:lnTo>
                    <a:pt x="471" y="31"/>
                  </a:lnTo>
                  <a:lnTo>
                    <a:pt x="473" y="33"/>
                  </a:lnTo>
                  <a:lnTo>
                    <a:pt x="475" y="35"/>
                  </a:lnTo>
                  <a:lnTo>
                    <a:pt x="478" y="36"/>
                  </a:lnTo>
                  <a:lnTo>
                    <a:pt x="482" y="40"/>
                  </a:lnTo>
                  <a:lnTo>
                    <a:pt x="484" y="42"/>
                  </a:lnTo>
                  <a:lnTo>
                    <a:pt x="484" y="44"/>
                  </a:lnTo>
                  <a:lnTo>
                    <a:pt x="486" y="46"/>
                  </a:lnTo>
                  <a:lnTo>
                    <a:pt x="488" y="48"/>
                  </a:lnTo>
                  <a:lnTo>
                    <a:pt x="488" y="49"/>
                  </a:lnTo>
                  <a:lnTo>
                    <a:pt x="488" y="51"/>
                  </a:lnTo>
                  <a:lnTo>
                    <a:pt x="488" y="53"/>
                  </a:lnTo>
                  <a:lnTo>
                    <a:pt x="488" y="55"/>
                  </a:lnTo>
                  <a:lnTo>
                    <a:pt x="488" y="57"/>
                  </a:lnTo>
                  <a:lnTo>
                    <a:pt x="486" y="59"/>
                  </a:lnTo>
                  <a:lnTo>
                    <a:pt x="484" y="61"/>
                  </a:lnTo>
                  <a:lnTo>
                    <a:pt x="482" y="62"/>
                  </a:lnTo>
                  <a:lnTo>
                    <a:pt x="480" y="64"/>
                  </a:lnTo>
                  <a:lnTo>
                    <a:pt x="478" y="66"/>
                  </a:lnTo>
                  <a:lnTo>
                    <a:pt x="476" y="68"/>
                  </a:lnTo>
                  <a:lnTo>
                    <a:pt x="476" y="70"/>
                  </a:lnTo>
                  <a:lnTo>
                    <a:pt x="476" y="72"/>
                  </a:lnTo>
                  <a:lnTo>
                    <a:pt x="476" y="75"/>
                  </a:lnTo>
                  <a:lnTo>
                    <a:pt x="478" y="81"/>
                  </a:lnTo>
                  <a:lnTo>
                    <a:pt x="478" y="83"/>
                  </a:lnTo>
                  <a:lnTo>
                    <a:pt x="478" y="85"/>
                  </a:lnTo>
                  <a:lnTo>
                    <a:pt x="478" y="86"/>
                  </a:lnTo>
                  <a:lnTo>
                    <a:pt x="476" y="86"/>
                  </a:lnTo>
                  <a:lnTo>
                    <a:pt x="476" y="88"/>
                  </a:lnTo>
                  <a:lnTo>
                    <a:pt x="475" y="90"/>
                  </a:lnTo>
                  <a:lnTo>
                    <a:pt x="473" y="90"/>
                  </a:lnTo>
                  <a:lnTo>
                    <a:pt x="471" y="90"/>
                  </a:lnTo>
                  <a:lnTo>
                    <a:pt x="469" y="92"/>
                  </a:lnTo>
                  <a:lnTo>
                    <a:pt x="465" y="92"/>
                  </a:lnTo>
                  <a:lnTo>
                    <a:pt x="460" y="92"/>
                  </a:lnTo>
                  <a:lnTo>
                    <a:pt x="458" y="92"/>
                  </a:lnTo>
                  <a:lnTo>
                    <a:pt x="454" y="92"/>
                  </a:lnTo>
                  <a:lnTo>
                    <a:pt x="452" y="92"/>
                  </a:lnTo>
                  <a:lnTo>
                    <a:pt x="451" y="94"/>
                  </a:lnTo>
                  <a:lnTo>
                    <a:pt x="449" y="94"/>
                  </a:lnTo>
                  <a:lnTo>
                    <a:pt x="447" y="94"/>
                  </a:lnTo>
                  <a:lnTo>
                    <a:pt x="447" y="96"/>
                  </a:lnTo>
                  <a:lnTo>
                    <a:pt x="445" y="96"/>
                  </a:lnTo>
                  <a:lnTo>
                    <a:pt x="441" y="97"/>
                  </a:lnTo>
                  <a:lnTo>
                    <a:pt x="438" y="99"/>
                  </a:lnTo>
                  <a:lnTo>
                    <a:pt x="434" y="101"/>
                  </a:lnTo>
                  <a:lnTo>
                    <a:pt x="430" y="103"/>
                  </a:lnTo>
                  <a:lnTo>
                    <a:pt x="427" y="103"/>
                  </a:lnTo>
                  <a:lnTo>
                    <a:pt x="425" y="105"/>
                  </a:lnTo>
                  <a:lnTo>
                    <a:pt x="423" y="105"/>
                  </a:lnTo>
                  <a:lnTo>
                    <a:pt x="421" y="105"/>
                  </a:lnTo>
                  <a:lnTo>
                    <a:pt x="417" y="105"/>
                  </a:lnTo>
                  <a:lnTo>
                    <a:pt x="415" y="107"/>
                  </a:lnTo>
                  <a:lnTo>
                    <a:pt x="414" y="107"/>
                  </a:lnTo>
                  <a:lnTo>
                    <a:pt x="412" y="107"/>
                  </a:lnTo>
                  <a:lnTo>
                    <a:pt x="410" y="107"/>
                  </a:lnTo>
                  <a:lnTo>
                    <a:pt x="408" y="105"/>
                  </a:lnTo>
                  <a:lnTo>
                    <a:pt x="406" y="105"/>
                  </a:lnTo>
                  <a:lnTo>
                    <a:pt x="404" y="105"/>
                  </a:lnTo>
                  <a:lnTo>
                    <a:pt x="403" y="103"/>
                  </a:lnTo>
                  <a:lnTo>
                    <a:pt x="401" y="101"/>
                  </a:lnTo>
                  <a:lnTo>
                    <a:pt x="401" y="99"/>
                  </a:lnTo>
                  <a:lnTo>
                    <a:pt x="401" y="97"/>
                  </a:lnTo>
                  <a:lnTo>
                    <a:pt x="399" y="97"/>
                  </a:lnTo>
                  <a:lnTo>
                    <a:pt x="399" y="96"/>
                  </a:lnTo>
                  <a:lnTo>
                    <a:pt x="401" y="96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403" y="90"/>
                  </a:lnTo>
                  <a:lnTo>
                    <a:pt x="403" y="88"/>
                  </a:lnTo>
                  <a:lnTo>
                    <a:pt x="404" y="85"/>
                  </a:lnTo>
                  <a:lnTo>
                    <a:pt x="406" y="83"/>
                  </a:lnTo>
                  <a:lnTo>
                    <a:pt x="408" y="81"/>
                  </a:lnTo>
                  <a:lnTo>
                    <a:pt x="406" y="81"/>
                  </a:lnTo>
                  <a:lnTo>
                    <a:pt x="404" y="81"/>
                  </a:lnTo>
                  <a:lnTo>
                    <a:pt x="401" y="81"/>
                  </a:lnTo>
                  <a:lnTo>
                    <a:pt x="397" y="81"/>
                  </a:lnTo>
                  <a:lnTo>
                    <a:pt x="395" y="81"/>
                  </a:lnTo>
                  <a:lnTo>
                    <a:pt x="393" y="81"/>
                  </a:lnTo>
                  <a:lnTo>
                    <a:pt x="393" y="79"/>
                  </a:lnTo>
                  <a:lnTo>
                    <a:pt x="391" y="79"/>
                  </a:lnTo>
                  <a:lnTo>
                    <a:pt x="391" y="77"/>
                  </a:lnTo>
                  <a:lnTo>
                    <a:pt x="391" y="75"/>
                  </a:lnTo>
                  <a:lnTo>
                    <a:pt x="391" y="73"/>
                  </a:lnTo>
                  <a:lnTo>
                    <a:pt x="391" y="72"/>
                  </a:lnTo>
                  <a:lnTo>
                    <a:pt x="391" y="70"/>
                  </a:lnTo>
                  <a:lnTo>
                    <a:pt x="393" y="68"/>
                  </a:lnTo>
                  <a:lnTo>
                    <a:pt x="393" y="66"/>
                  </a:lnTo>
                  <a:lnTo>
                    <a:pt x="395" y="64"/>
                  </a:lnTo>
                  <a:close/>
                  <a:moveTo>
                    <a:pt x="432" y="116"/>
                  </a:moveTo>
                  <a:lnTo>
                    <a:pt x="434" y="112"/>
                  </a:lnTo>
                  <a:lnTo>
                    <a:pt x="434" y="110"/>
                  </a:lnTo>
                  <a:lnTo>
                    <a:pt x="436" y="109"/>
                  </a:lnTo>
                  <a:lnTo>
                    <a:pt x="436" y="107"/>
                  </a:lnTo>
                  <a:lnTo>
                    <a:pt x="438" y="107"/>
                  </a:lnTo>
                  <a:lnTo>
                    <a:pt x="439" y="105"/>
                  </a:lnTo>
                  <a:lnTo>
                    <a:pt x="441" y="105"/>
                  </a:lnTo>
                  <a:lnTo>
                    <a:pt x="447" y="105"/>
                  </a:lnTo>
                  <a:lnTo>
                    <a:pt x="451" y="105"/>
                  </a:lnTo>
                  <a:lnTo>
                    <a:pt x="454" y="103"/>
                  </a:lnTo>
                  <a:lnTo>
                    <a:pt x="458" y="101"/>
                  </a:lnTo>
                  <a:lnTo>
                    <a:pt x="460" y="99"/>
                  </a:lnTo>
                  <a:lnTo>
                    <a:pt x="462" y="99"/>
                  </a:lnTo>
                  <a:lnTo>
                    <a:pt x="464" y="99"/>
                  </a:lnTo>
                  <a:lnTo>
                    <a:pt x="465" y="99"/>
                  </a:lnTo>
                  <a:lnTo>
                    <a:pt x="467" y="97"/>
                  </a:lnTo>
                  <a:lnTo>
                    <a:pt x="469" y="97"/>
                  </a:lnTo>
                  <a:lnTo>
                    <a:pt x="471" y="97"/>
                  </a:lnTo>
                  <a:lnTo>
                    <a:pt x="473" y="97"/>
                  </a:lnTo>
                  <a:lnTo>
                    <a:pt x="475" y="99"/>
                  </a:lnTo>
                  <a:lnTo>
                    <a:pt x="476" y="99"/>
                  </a:lnTo>
                  <a:lnTo>
                    <a:pt x="478" y="101"/>
                  </a:lnTo>
                  <a:lnTo>
                    <a:pt x="480" y="101"/>
                  </a:lnTo>
                  <a:lnTo>
                    <a:pt x="482" y="103"/>
                  </a:lnTo>
                  <a:lnTo>
                    <a:pt x="482" y="105"/>
                  </a:lnTo>
                  <a:lnTo>
                    <a:pt x="482" y="107"/>
                  </a:lnTo>
                  <a:lnTo>
                    <a:pt x="482" y="109"/>
                  </a:lnTo>
                  <a:lnTo>
                    <a:pt x="482" y="112"/>
                  </a:lnTo>
                  <a:lnTo>
                    <a:pt x="480" y="114"/>
                  </a:lnTo>
                  <a:lnTo>
                    <a:pt x="478" y="120"/>
                  </a:lnTo>
                  <a:lnTo>
                    <a:pt x="476" y="125"/>
                  </a:lnTo>
                  <a:lnTo>
                    <a:pt x="476" y="127"/>
                  </a:lnTo>
                  <a:lnTo>
                    <a:pt x="475" y="129"/>
                  </a:lnTo>
                  <a:lnTo>
                    <a:pt x="475" y="131"/>
                  </a:lnTo>
                  <a:lnTo>
                    <a:pt x="475" y="133"/>
                  </a:lnTo>
                  <a:lnTo>
                    <a:pt x="475" y="134"/>
                  </a:lnTo>
                  <a:lnTo>
                    <a:pt x="476" y="134"/>
                  </a:lnTo>
                  <a:lnTo>
                    <a:pt x="476" y="136"/>
                  </a:lnTo>
                  <a:lnTo>
                    <a:pt x="478" y="136"/>
                  </a:lnTo>
                  <a:lnTo>
                    <a:pt x="478" y="138"/>
                  </a:lnTo>
                  <a:lnTo>
                    <a:pt x="480" y="138"/>
                  </a:lnTo>
                  <a:lnTo>
                    <a:pt x="480" y="136"/>
                  </a:lnTo>
                  <a:lnTo>
                    <a:pt x="482" y="136"/>
                  </a:lnTo>
                  <a:lnTo>
                    <a:pt x="482" y="134"/>
                  </a:lnTo>
                  <a:lnTo>
                    <a:pt x="484" y="134"/>
                  </a:lnTo>
                  <a:lnTo>
                    <a:pt x="484" y="129"/>
                  </a:lnTo>
                  <a:lnTo>
                    <a:pt x="484" y="125"/>
                  </a:lnTo>
                  <a:lnTo>
                    <a:pt x="484" y="123"/>
                  </a:lnTo>
                  <a:lnTo>
                    <a:pt x="486" y="121"/>
                  </a:lnTo>
                  <a:lnTo>
                    <a:pt x="488" y="120"/>
                  </a:lnTo>
                  <a:lnTo>
                    <a:pt x="489" y="118"/>
                  </a:lnTo>
                  <a:lnTo>
                    <a:pt x="493" y="116"/>
                  </a:lnTo>
                  <a:lnTo>
                    <a:pt x="499" y="112"/>
                  </a:lnTo>
                  <a:lnTo>
                    <a:pt x="500" y="112"/>
                  </a:lnTo>
                  <a:lnTo>
                    <a:pt x="502" y="110"/>
                  </a:lnTo>
                  <a:lnTo>
                    <a:pt x="504" y="112"/>
                  </a:lnTo>
                  <a:lnTo>
                    <a:pt x="508" y="116"/>
                  </a:lnTo>
                  <a:lnTo>
                    <a:pt x="512" y="118"/>
                  </a:lnTo>
                  <a:lnTo>
                    <a:pt x="513" y="120"/>
                  </a:lnTo>
                  <a:lnTo>
                    <a:pt x="515" y="120"/>
                  </a:lnTo>
                  <a:lnTo>
                    <a:pt x="515" y="121"/>
                  </a:lnTo>
                  <a:lnTo>
                    <a:pt x="517" y="121"/>
                  </a:lnTo>
                  <a:lnTo>
                    <a:pt x="517" y="123"/>
                  </a:lnTo>
                  <a:lnTo>
                    <a:pt x="519" y="125"/>
                  </a:lnTo>
                  <a:lnTo>
                    <a:pt x="521" y="127"/>
                  </a:lnTo>
                  <a:lnTo>
                    <a:pt x="521" y="129"/>
                  </a:lnTo>
                  <a:lnTo>
                    <a:pt x="523" y="133"/>
                  </a:lnTo>
                  <a:lnTo>
                    <a:pt x="523" y="134"/>
                  </a:lnTo>
                  <a:lnTo>
                    <a:pt x="523" y="136"/>
                  </a:lnTo>
                  <a:lnTo>
                    <a:pt x="523" y="138"/>
                  </a:lnTo>
                  <a:lnTo>
                    <a:pt x="523" y="140"/>
                  </a:lnTo>
                  <a:lnTo>
                    <a:pt x="523" y="144"/>
                  </a:lnTo>
                  <a:lnTo>
                    <a:pt x="521" y="149"/>
                  </a:lnTo>
                  <a:lnTo>
                    <a:pt x="523" y="151"/>
                  </a:lnTo>
                  <a:lnTo>
                    <a:pt x="523" y="153"/>
                  </a:lnTo>
                  <a:lnTo>
                    <a:pt x="523" y="155"/>
                  </a:lnTo>
                  <a:lnTo>
                    <a:pt x="521" y="157"/>
                  </a:lnTo>
                  <a:lnTo>
                    <a:pt x="521" y="158"/>
                  </a:lnTo>
                  <a:lnTo>
                    <a:pt x="521" y="160"/>
                  </a:lnTo>
                  <a:lnTo>
                    <a:pt x="519" y="162"/>
                  </a:lnTo>
                  <a:lnTo>
                    <a:pt x="519" y="164"/>
                  </a:lnTo>
                  <a:lnTo>
                    <a:pt x="517" y="164"/>
                  </a:lnTo>
                  <a:lnTo>
                    <a:pt x="515" y="166"/>
                  </a:lnTo>
                  <a:lnTo>
                    <a:pt x="513" y="166"/>
                  </a:lnTo>
                  <a:lnTo>
                    <a:pt x="512" y="166"/>
                  </a:lnTo>
                  <a:lnTo>
                    <a:pt x="510" y="168"/>
                  </a:lnTo>
                  <a:lnTo>
                    <a:pt x="508" y="168"/>
                  </a:lnTo>
                  <a:lnTo>
                    <a:pt x="506" y="168"/>
                  </a:lnTo>
                  <a:lnTo>
                    <a:pt x="506" y="170"/>
                  </a:lnTo>
                  <a:lnTo>
                    <a:pt x="506" y="171"/>
                  </a:lnTo>
                  <a:lnTo>
                    <a:pt x="506" y="173"/>
                  </a:lnTo>
                  <a:lnTo>
                    <a:pt x="508" y="175"/>
                  </a:lnTo>
                  <a:lnTo>
                    <a:pt x="508" y="177"/>
                  </a:lnTo>
                  <a:lnTo>
                    <a:pt x="510" y="177"/>
                  </a:lnTo>
                  <a:lnTo>
                    <a:pt x="510" y="179"/>
                  </a:lnTo>
                  <a:lnTo>
                    <a:pt x="512" y="179"/>
                  </a:lnTo>
                  <a:lnTo>
                    <a:pt x="513" y="181"/>
                  </a:lnTo>
                  <a:lnTo>
                    <a:pt x="517" y="182"/>
                  </a:lnTo>
                  <a:lnTo>
                    <a:pt x="519" y="182"/>
                  </a:lnTo>
                  <a:lnTo>
                    <a:pt x="519" y="184"/>
                  </a:lnTo>
                  <a:lnTo>
                    <a:pt x="521" y="184"/>
                  </a:lnTo>
                  <a:lnTo>
                    <a:pt x="521" y="186"/>
                  </a:lnTo>
                  <a:lnTo>
                    <a:pt x="521" y="188"/>
                  </a:lnTo>
                  <a:lnTo>
                    <a:pt x="521" y="190"/>
                  </a:lnTo>
                  <a:lnTo>
                    <a:pt x="521" y="192"/>
                  </a:lnTo>
                  <a:lnTo>
                    <a:pt x="517" y="199"/>
                  </a:lnTo>
                  <a:lnTo>
                    <a:pt x="513" y="206"/>
                  </a:lnTo>
                  <a:lnTo>
                    <a:pt x="512" y="208"/>
                  </a:lnTo>
                  <a:lnTo>
                    <a:pt x="510" y="210"/>
                  </a:lnTo>
                  <a:lnTo>
                    <a:pt x="508" y="212"/>
                  </a:lnTo>
                  <a:lnTo>
                    <a:pt x="508" y="214"/>
                  </a:lnTo>
                  <a:lnTo>
                    <a:pt x="504" y="214"/>
                  </a:lnTo>
                  <a:lnTo>
                    <a:pt x="502" y="214"/>
                  </a:lnTo>
                  <a:lnTo>
                    <a:pt x="500" y="214"/>
                  </a:lnTo>
                  <a:lnTo>
                    <a:pt x="499" y="214"/>
                  </a:lnTo>
                  <a:lnTo>
                    <a:pt x="497" y="214"/>
                  </a:lnTo>
                  <a:lnTo>
                    <a:pt x="493" y="214"/>
                  </a:lnTo>
                  <a:lnTo>
                    <a:pt x="489" y="216"/>
                  </a:lnTo>
                  <a:lnTo>
                    <a:pt x="486" y="218"/>
                  </a:lnTo>
                  <a:lnTo>
                    <a:pt x="484" y="218"/>
                  </a:lnTo>
                  <a:lnTo>
                    <a:pt x="482" y="218"/>
                  </a:lnTo>
                  <a:lnTo>
                    <a:pt x="480" y="218"/>
                  </a:lnTo>
                  <a:lnTo>
                    <a:pt x="478" y="218"/>
                  </a:lnTo>
                  <a:lnTo>
                    <a:pt x="475" y="216"/>
                  </a:lnTo>
                  <a:lnTo>
                    <a:pt x="473" y="214"/>
                  </a:lnTo>
                  <a:lnTo>
                    <a:pt x="471" y="214"/>
                  </a:lnTo>
                  <a:lnTo>
                    <a:pt x="471" y="212"/>
                  </a:lnTo>
                  <a:lnTo>
                    <a:pt x="469" y="212"/>
                  </a:lnTo>
                  <a:lnTo>
                    <a:pt x="469" y="210"/>
                  </a:lnTo>
                  <a:lnTo>
                    <a:pt x="467" y="208"/>
                  </a:lnTo>
                  <a:lnTo>
                    <a:pt x="467" y="205"/>
                  </a:lnTo>
                  <a:lnTo>
                    <a:pt x="465" y="203"/>
                  </a:lnTo>
                  <a:lnTo>
                    <a:pt x="464" y="201"/>
                  </a:lnTo>
                  <a:lnTo>
                    <a:pt x="462" y="201"/>
                  </a:lnTo>
                  <a:lnTo>
                    <a:pt x="462" y="199"/>
                  </a:lnTo>
                  <a:lnTo>
                    <a:pt x="456" y="199"/>
                  </a:lnTo>
                  <a:lnTo>
                    <a:pt x="452" y="199"/>
                  </a:lnTo>
                  <a:lnTo>
                    <a:pt x="451" y="199"/>
                  </a:lnTo>
                  <a:lnTo>
                    <a:pt x="449" y="197"/>
                  </a:lnTo>
                  <a:lnTo>
                    <a:pt x="447" y="197"/>
                  </a:lnTo>
                  <a:lnTo>
                    <a:pt x="445" y="197"/>
                  </a:lnTo>
                  <a:lnTo>
                    <a:pt x="445" y="195"/>
                  </a:lnTo>
                  <a:lnTo>
                    <a:pt x="443" y="195"/>
                  </a:lnTo>
                  <a:lnTo>
                    <a:pt x="441" y="194"/>
                  </a:lnTo>
                  <a:lnTo>
                    <a:pt x="438" y="194"/>
                  </a:lnTo>
                  <a:lnTo>
                    <a:pt x="436" y="192"/>
                  </a:lnTo>
                  <a:lnTo>
                    <a:pt x="434" y="192"/>
                  </a:lnTo>
                  <a:lnTo>
                    <a:pt x="434" y="190"/>
                  </a:lnTo>
                  <a:lnTo>
                    <a:pt x="432" y="190"/>
                  </a:lnTo>
                  <a:lnTo>
                    <a:pt x="430" y="188"/>
                  </a:lnTo>
                  <a:lnTo>
                    <a:pt x="428" y="186"/>
                  </a:lnTo>
                  <a:lnTo>
                    <a:pt x="427" y="184"/>
                  </a:lnTo>
                  <a:lnTo>
                    <a:pt x="427" y="182"/>
                  </a:lnTo>
                  <a:lnTo>
                    <a:pt x="425" y="181"/>
                  </a:lnTo>
                  <a:lnTo>
                    <a:pt x="425" y="179"/>
                  </a:lnTo>
                  <a:lnTo>
                    <a:pt x="423" y="177"/>
                  </a:lnTo>
                  <a:lnTo>
                    <a:pt x="423" y="175"/>
                  </a:lnTo>
                  <a:lnTo>
                    <a:pt x="423" y="173"/>
                  </a:lnTo>
                  <a:lnTo>
                    <a:pt x="421" y="171"/>
                  </a:lnTo>
                  <a:lnTo>
                    <a:pt x="421" y="164"/>
                  </a:lnTo>
                  <a:lnTo>
                    <a:pt x="421" y="155"/>
                  </a:lnTo>
                  <a:lnTo>
                    <a:pt x="419" y="155"/>
                  </a:lnTo>
                  <a:lnTo>
                    <a:pt x="419" y="153"/>
                  </a:lnTo>
                  <a:lnTo>
                    <a:pt x="417" y="153"/>
                  </a:lnTo>
                  <a:lnTo>
                    <a:pt x="414" y="151"/>
                  </a:lnTo>
                  <a:lnTo>
                    <a:pt x="412" y="149"/>
                  </a:lnTo>
                  <a:lnTo>
                    <a:pt x="408" y="147"/>
                  </a:lnTo>
                  <a:lnTo>
                    <a:pt x="406" y="146"/>
                  </a:lnTo>
                  <a:lnTo>
                    <a:pt x="404" y="146"/>
                  </a:lnTo>
                  <a:lnTo>
                    <a:pt x="404" y="144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6" y="138"/>
                  </a:lnTo>
                  <a:lnTo>
                    <a:pt x="408" y="136"/>
                  </a:lnTo>
                  <a:lnTo>
                    <a:pt x="412" y="134"/>
                  </a:lnTo>
                  <a:lnTo>
                    <a:pt x="414" y="133"/>
                  </a:lnTo>
                  <a:lnTo>
                    <a:pt x="414" y="131"/>
                  </a:lnTo>
                  <a:lnTo>
                    <a:pt x="415" y="131"/>
                  </a:lnTo>
                  <a:lnTo>
                    <a:pt x="417" y="129"/>
                  </a:lnTo>
                  <a:lnTo>
                    <a:pt x="419" y="129"/>
                  </a:lnTo>
                  <a:lnTo>
                    <a:pt x="419" y="127"/>
                  </a:lnTo>
                  <a:lnTo>
                    <a:pt x="423" y="127"/>
                  </a:lnTo>
                  <a:lnTo>
                    <a:pt x="425" y="127"/>
                  </a:lnTo>
                  <a:lnTo>
                    <a:pt x="428" y="125"/>
                  </a:lnTo>
                  <a:lnTo>
                    <a:pt x="430" y="125"/>
                  </a:lnTo>
                  <a:lnTo>
                    <a:pt x="432" y="125"/>
                  </a:lnTo>
                  <a:lnTo>
                    <a:pt x="432" y="120"/>
                  </a:lnTo>
                  <a:lnTo>
                    <a:pt x="432" y="116"/>
                  </a:lnTo>
                  <a:close/>
                  <a:moveTo>
                    <a:pt x="373" y="94"/>
                  </a:moveTo>
                  <a:lnTo>
                    <a:pt x="375" y="94"/>
                  </a:lnTo>
                  <a:lnTo>
                    <a:pt x="377" y="92"/>
                  </a:lnTo>
                  <a:lnTo>
                    <a:pt x="379" y="94"/>
                  </a:lnTo>
                  <a:lnTo>
                    <a:pt x="380" y="94"/>
                  </a:lnTo>
                  <a:lnTo>
                    <a:pt x="382" y="94"/>
                  </a:lnTo>
                  <a:lnTo>
                    <a:pt x="384" y="94"/>
                  </a:lnTo>
                  <a:lnTo>
                    <a:pt x="386" y="96"/>
                  </a:lnTo>
                  <a:lnTo>
                    <a:pt x="388" y="96"/>
                  </a:lnTo>
                  <a:lnTo>
                    <a:pt x="390" y="97"/>
                  </a:lnTo>
                  <a:lnTo>
                    <a:pt x="393" y="99"/>
                  </a:lnTo>
                  <a:lnTo>
                    <a:pt x="397" y="101"/>
                  </a:lnTo>
                  <a:lnTo>
                    <a:pt x="399" y="103"/>
                  </a:lnTo>
                  <a:lnTo>
                    <a:pt x="401" y="105"/>
                  </a:lnTo>
                  <a:lnTo>
                    <a:pt x="403" y="107"/>
                  </a:lnTo>
                  <a:lnTo>
                    <a:pt x="406" y="109"/>
                  </a:lnTo>
                  <a:lnTo>
                    <a:pt x="408" y="110"/>
                  </a:lnTo>
                  <a:lnTo>
                    <a:pt x="408" y="112"/>
                  </a:lnTo>
                  <a:lnTo>
                    <a:pt x="410" y="114"/>
                  </a:lnTo>
                  <a:lnTo>
                    <a:pt x="412" y="116"/>
                  </a:lnTo>
                  <a:lnTo>
                    <a:pt x="414" y="118"/>
                  </a:lnTo>
                  <a:lnTo>
                    <a:pt x="414" y="120"/>
                  </a:lnTo>
                  <a:lnTo>
                    <a:pt x="415" y="120"/>
                  </a:lnTo>
                  <a:lnTo>
                    <a:pt x="415" y="121"/>
                  </a:lnTo>
                  <a:lnTo>
                    <a:pt x="414" y="123"/>
                  </a:lnTo>
                  <a:lnTo>
                    <a:pt x="414" y="125"/>
                  </a:lnTo>
                  <a:lnTo>
                    <a:pt x="412" y="125"/>
                  </a:lnTo>
                  <a:lnTo>
                    <a:pt x="412" y="127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10" y="131"/>
                  </a:lnTo>
                  <a:lnTo>
                    <a:pt x="408" y="131"/>
                  </a:lnTo>
                  <a:lnTo>
                    <a:pt x="408" y="133"/>
                  </a:lnTo>
                  <a:lnTo>
                    <a:pt x="406" y="133"/>
                  </a:lnTo>
                  <a:lnTo>
                    <a:pt x="404" y="133"/>
                  </a:lnTo>
                  <a:lnTo>
                    <a:pt x="403" y="133"/>
                  </a:lnTo>
                  <a:lnTo>
                    <a:pt x="401" y="133"/>
                  </a:lnTo>
                  <a:lnTo>
                    <a:pt x="399" y="133"/>
                  </a:lnTo>
                  <a:lnTo>
                    <a:pt x="397" y="133"/>
                  </a:lnTo>
                  <a:lnTo>
                    <a:pt x="393" y="131"/>
                  </a:lnTo>
                  <a:lnTo>
                    <a:pt x="391" y="131"/>
                  </a:lnTo>
                  <a:lnTo>
                    <a:pt x="390" y="129"/>
                  </a:lnTo>
                  <a:lnTo>
                    <a:pt x="388" y="127"/>
                  </a:lnTo>
                  <a:lnTo>
                    <a:pt x="386" y="127"/>
                  </a:lnTo>
                  <a:lnTo>
                    <a:pt x="384" y="125"/>
                  </a:lnTo>
                  <a:lnTo>
                    <a:pt x="382" y="123"/>
                  </a:lnTo>
                  <a:lnTo>
                    <a:pt x="380" y="121"/>
                  </a:lnTo>
                  <a:lnTo>
                    <a:pt x="379" y="118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3" y="110"/>
                  </a:lnTo>
                  <a:lnTo>
                    <a:pt x="371" y="109"/>
                  </a:lnTo>
                  <a:lnTo>
                    <a:pt x="369" y="107"/>
                  </a:lnTo>
                  <a:lnTo>
                    <a:pt x="369" y="105"/>
                  </a:lnTo>
                  <a:lnTo>
                    <a:pt x="369" y="103"/>
                  </a:lnTo>
                  <a:lnTo>
                    <a:pt x="367" y="101"/>
                  </a:lnTo>
                  <a:lnTo>
                    <a:pt x="367" y="99"/>
                  </a:lnTo>
                  <a:lnTo>
                    <a:pt x="367" y="97"/>
                  </a:lnTo>
                  <a:lnTo>
                    <a:pt x="367" y="96"/>
                  </a:lnTo>
                  <a:lnTo>
                    <a:pt x="369" y="94"/>
                  </a:lnTo>
                  <a:lnTo>
                    <a:pt x="371" y="94"/>
                  </a:lnTo>
                  <a:lnTo>
                    <a:pt x="373" y="94"/>
                  </a:lnTo>
                  <a:close/>
                  <a:moveTo>
                    <a:pt x="539" y="203"/>
                  </a:moveTo>
                  <a:lnTo>
                    <a:pt x="539" y="201"/>
                  </a:lnTo>
                  <a:lnTo>
                    <a:pt x="539" y="199"/>
                  </a:lnTo>
                  <a:lnTo>
                    <a:pt x="539" y="197"/>
                  </a:lnTo>
                  <a:lnTo>
                    <a:pt x="541" y="195"/>
                  </a:lnTo>
                  <a:lnTo>
                    <a:pt x="541" y="194"/>
                  </a:lnTo>
                  <a:lnTo>
                    <a:pt x="541" y="192"/>
                  </a:lnTo>
                  <a:lnTo>
                    <a:pt x="543" y="192"/>
                  </a:lnTo>
                  <a:lnTo>
                    <a:pt x="543" y="190"/>
                  </a:lnTo>
                  <a:lnTo>
                    <a:pt x="541" y="184"/>
                  </a:lnTo>
                  <a:lnTo>
                    <a:pt x="541" y="179"/>
                  </a:lnTo>
                  <a:lnTo>
                    <a:pt x="541" y="177"/>
                  </a:lnTo>
                  <a:lnTo>
                    <a:pt x="543" y="175"/>
                  </a:lnTo>
                  <a:lnTo>
                    <a:pt x="543" y="173"/>
                  </a:lnTo>
                  <a:lnTo>
                    <a:pt x="543" y="171"/>
                  </a:lnTo>
                  <a:lnTo>
                    <a:pt x="545" y="170"/>
                  </a:lnTo>
                  <a:lnTo>
                    <a:pt x="545" y="168"/>
                  </a:lnTo>
                  <a:lnTo>
                    <a:pt x="547" y="168"/>
                  </a:lnTo>
                  <a:lnTo>
                    <a:pt x="547" y="166"/>
                  </a:lnTo>
                  <a:lnTo>
                    <a:pt x="548" y="166"/>
                  </a:lnTo>
                  <a:lnTo>
                    <a:pt x="550" y="166"/>
                  </a:lnTo>
                  <a:lnTo>
                    <a:pt x="552" y="166"/>
                  </a:lnTo>
                  <a:lnTo>
                    <a:pt x="552" y="168"/>
                  </a:lnTo>
                  <a:lnTo>
                    <a:pt x="554" y="168"/>
                  </a:lnTo>
                  <a:lnTo>
                    <a:pt x="556" y="170"/>
                  </a:lnTo>
                  <a:lnTo>
                    <a:pt x="556" y="171"/>
                  </a:lnTo>
                  <a:lnTo>
                    <a:pt x="558" y="171"/>
                  </a:lnTo>
                  <a:lnTo>
                    <a:pt x="558" y="173"/>
                  </a:lnTo>
                  <a:lnTo>
                    <a:pt x="558" y="171"/>
                  </a:lnTo>
                  <a:lnTo>
                    <a:pt x="560" y="170"/>
                  </a:lnTo>
                  <a:lnTo>
                    <a:pt x="560" y="168"/>
                  </a:lnTo>
                  <a:lnTo>
                    <a:pt x="561" y="164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3" y="160"/>
                  </a:lnTo>
                  <a:lnTo>
                    <a:pt x="565" y="160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9" y="158"/>
                  </a:lnTo>
                  <a:lnTo>
                    <a:pt x="571" y="158"/>
                  </a:lnTo>
                  <a:lnTo>
                    <a:pt x="572" y="158"/>
                  </a:lnTo>
                  <a:lnTo>
                    <a:pt x="574" y="158"/>
                  </a:lnTo>
                  <a:lnTo>
                    <a:pt x="574" y="160"/>
                  </a:lnTo>
                  <a:lnTo>
                    <a:pt x="576" y="160"/>
                  </a:lnTo>
                  <a:lnTo>
                    <a:pt x="576" y="162"/>
                  </a:lnTo>
                  <a:lnTo>
                    <a:pt x="578" y="164"/>
                  </a:lnTo>
                  <a:lnTo>
                    <a:pt x="578" y="166"/>
                  </a:lnTo>
                  <a:lnTo>
                    <a:pt x="578" y="168"/>
                  </a:lnTo>
                  <a:lnTo>
                    <a:pt x="576" y="171"/>
                  </a:lnTo>
                  <a:lnTo>
                    <a:pt x="576" y="173"/>
                  </a:lnTo>
                  <a:lnTo>
                    <a:pt x="574" y="179"/>
                  </a:lnTo>
                  <a:lnTo>
                    <a:pt x="574" y="184"/>
                  </a:lnTo>
                  <a:lnTo>
                    <a:pt x="574" y="188"/>
                  </a:lnTo>
                  <a:lnTo>
                    <a:pt x="574" y="190"/>
                  </a:lnTo>
                  <a:lnTo>
                    <a:pt x="576" y="190"/>
                  </a:lnTo>
                  <a:lnTo>
                    <a:pt x="578" y="190"/>
                  </a:lnTo>
                  <a:lnTo>
                    <a:pt x="580" y="190"/>
                  </a:lnTo>
                  <a:lnTo>
                    <a:pt x="582" y="188"/>
                  </a:lnTo>
                  <a:lnTo>
                    <a:pt x="584" y="186"/>
                  </a:lnTo>
                  <a:lnTo>
                    <a:pt x="585" y="184"/>
                  </a:lnTo>
                  <a:lnTo>
                    <a:pt x="587" y="184"/>
                  </a:lnTo>
                  <a:lnTo>
                    <a:pt x="589" y="182"/>
                  </a:lnTo>
                  <a:lnTo>
                    <a:pt x="591" y="182"/>
                  </a:lnTo>
                  <a:lnTo>
                    <a:pt x="593" y="182"/>
                  </a:lnTo>
                  <a:lnTo>
                    <a:pt x="595" y="182"/>
                  </a:lnTo>
                  <a:lnTo>
                    <a:pt x="597" y="182"/>
                  </a:lnTo>
                  <a:lnTo>
                    <a:pt x="597" y="184"/>
                  </a:lnTo>
                  <a:lnTo>
                    <a:pt x="598" y="184"/>
                  </a:lnTo>
                  <a:lnTo>
                    <a:pt x="600" y="186"/>
                  </a:lnTo>
                  <a:lnTo>
                    <a:pt x="602" y="190"/>
                  </a:lnTo>
                  <a:lnTo>
                    <a:pt x="604" y="192"/>
                  </a:lnTo>
                  <a:lnTo>
                    <a:pt x="606" y="194"/>
                  </a:lnTo>
                  <a:lnTo>
                    <a:pt x="606" y="195"/>
                  </a:lnTo>
                  <a:lnTo>
                    <a:pt x="606" y="197"/>
                  </a:lnTo>
                  <a:lnTo>
                    <a:pt x="604" y="199"/>
                  </a:lnTo>
                  <a:lnTo>
                    <a:pt x="604" y="201"/>
                  </a:lnTo>
                  <a:lnTo>
                    <a:pt x="604" y="203"/>
                  </a:lnTo>
                  <a:lnTo>
                    <a:pt x="602" y="205"/>
                  </a:lnTo>
                  <a:lnTo>
                    <a:pt x="602" y="206"/>
                  </a:lnTo>
                  <a:lnTo>
                    <a:pt x="604" y="206"/>
                  </a:lnTo>
                  <a:lnTo>
                    <a:pt x="606" y="208"/>
                  </a:lnTo>
                  <a:lnTo>
                    <a:pt x="608" y="208"/>
                  </a:lnTo>
                  <a:lnTo>
                    <a:pt x="611" y="208"/>
                  </a:lnTo>
                  <a:lnTo>
                    <a:pt x="615" y="208"/>
                  </a:lnTo>
                  <a:lnTo>
                    <a:pt x="617" y="208"/>
                  </a:lnTo>
                  <a:lnTo>
                    <a:pt x="619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4" y="208"/>
                  </a:lnTo>
                  <a:lnTo>
                    <a:pt x="624" y="210"/>
                  </a:lnTo>
                  <a:lnTo>
                    <a:pt x="626" y="210"/>
                  </a:lnTo>
                  <a:lnTo>
                    <a:pt x="626" y="214"/>
                  </a:lnTo>
                  <a:lnTo>
                    <a:pt x="626" y="218"/>
                  </a:lnTo>
                  <a:lnTo>
                    <a:pt x="626" y="219"/>
                  </a:lnTo>
                  <a:lnTo>
                    <a:pt x="626" y="223"/>
                  </a:lnTo>
                  <a:lnTo>
                    <a:pt x="626" y="225"/>
                  </a:lnTo>
                  <a:lnTo>
                    <a:pt x="626" y="227"/>
                  </a:lnTo>
                  <a:lnTo>
                    <a:pt x="626" y="231"/>
                  </a:lnTo>
                  <a:lnTo>
                    <a:pt x="624" y="232"/>
                  </a:lnTo>
                  <a:lnTo>
                    <a:pt x="624" y="234"/>
                  </a:lnTo>
                  <a:lnTo>
                    <a:pt x="624" y="236"/>
                  </a:lnTo>
                  <a:lnTo>
                    <a:pt x="622" y="238"/>
                  </a:lnTo>
                  <a:lnTo>
                    <a:pt x="622" y="240"/>
                  </a:lnTo>
                  <a:lnTo>
                    <a:pt x="621" y="242"/>
                  </a:lnTo>
                  <a:lnTo>
                    <a:pt x="619" y="243"/>
                  </a:lnTo>
                  <a:lnTo>
                    <a:pt x="619" y="245"/>
                  </a:lnTo>
                  <a:lnTo>
                    <a:pt x="617" y="245"/>
                  </a:lnTo>
                  <a:lnTo>
                    <a:pt x="615" y="247"/>
                  </a:lnTo>
                  <a:lnTo>
                    <a:pt x="613" y="249"/>
                  </a:lnTo>
                  <a:lnTo>
                    <a:pt x="611" y="251"/>
                  </a:lnTo>
                  <a:lnTo>
                    <a:pt x="609" y="251"/>
                  </a:lnTo>
                  <a:lnTo>
                    <a:pt x="608" y="251"/>
                  </a:lnTo>
                  <a:lnTo>
                    <a:pt x="606" y="253"/>
                  </a:lnTo>
                  <a:lnTo>
                    <a:pt x="604" y="253"/>
                  </a:lnTo>
                  <a:lnTo>
                    <a:pt x="602" y="253"/>
                  </a:lnTo>
                  <a:lnTo>
                    <a:pt x="600" y="253"/>
                  </a:lnTo>
                  <a:lnTo>
                    <a:pt x="598" y="253"/>
                  </a:lnTo>
                  <a:lnTo>
                    <a:pt x="597" y="253"/>
                  </a:lnTo>
                  <a:lnTo>
                    <a:pt x="595" y="253"/>
                  </a:lnTo>
                  <a:lnTo>
                    <a:pt x="593" y="253"/>
                  </a:lnTo>
                  <a:lnTo>
                    <a:pt x="591" y="253"/>
                  </a:lnTo>
                  <a:lnTo>
                    <a:pt x="589" y="255"/>
                  </a:lnTo>
                  <a:lnTo>
                    <a:pt x="587" y="255"/>
                  </a:lnTo>
                  <a:lnTo>
                    <a:pt x="582" y="256"/>
                  </a:lnTo>
                  <a:lnTo>
                    <a:pt x="576" y="258"/>
                  </a:lnTo>
                  <a:lnTo>
                    <a:pt x="574" y="260"/>
                  </a:lnTo>
                  <a:lnTo>
                    <a:pt x="571" y="260"/>
                  </a:lnTo>
                  <a:lnTo>
                    <a:pt x="569" y="260"/>
                  </a:lnTo>
                  <a:lnTo>
                    <a:pt x="565" y="260"/>
                  </a:lnTo>
                  <a:lnTo>
                    <a:pt x="563" y="262"/>
                  </a:lnTo>
                  <a:lnTo>
                    <a:pt x="561" y="262"/>
                  </a:lnTo>
                  <a:lnTo>
                    <a:pt x="558" y="262"/>
                  </a:lnTo>
                  <a:lnTo>
                    <a:pt x="556" y="262"/>
                  </a:lnTo>
                  <a:lnTo>
                    <a:pt x="552" y="264"/>
                  </a:lnTo>
                  <a:lnTo>
                    <a:pt x="550" y="266"/>
                  </a:lnTo>
                  <a:lnTo>
                    <a:pt x="545" y="269"/>
                  </a:lnTo>
                  <a:lnTo>
                    <a:pt x="541" y="273"/>
                  </a:lnTo>
                  <a:lnTo>
                    <a:pt x="539" y="275"/>
                  </a:lnTo>
                  <a:lnTo>
                    <a:pt x="537" y="275"/>
                  </a:lnTo>
                  <a:lnTo>
                    <a:pt x="536" y="277"/>
                  </a:lnTo>
                  <a:lnTo>
                    <a:pt x="534" y="277"/>
                  </a:lnTo>
                  <a:lnTo>
                    <a:pt x="530" y="277"/>
                  </a:lnTo>
                  <a:lnTo>
                    <a:pt x="530" y="279"/>
                  </a:lnTo>
                  <a:lnTo>
                    <a:pt x="528" y="279"/>
                  </a:lnTo>
                  <a:lnTo>
                    <a:pt x="526" y="277"/>
                  </a:lnTo>
                  <a:lnTo>
                    <a:pt x="524" y="277"/>
                  </a:lnTo>
                  <a:lnTo>
                    <a:pt x="523" y="277"/>
                  </a:lnTo>
                  <a:lnTo>
                    <a:pt x="519" y="277"/>
                  </a:lnTo>
                  <a:lnTo>
                    <a:pt x="517" y="277"/>
                  </a:lnTo>
                  <a:lnTo>
                    <a:pt x="515" y="275"/>
                  </a:lnTo>
                  <a:lnTo>
                    <a:pt x="513" y="275"/>
                  </a:lnTo>
                  <a:lnTo>
                    <a:pt x="512" y="273"/>
                  </a:lnTo>
                  <a:lnTo>
                    <a:pt x="510" y="271"/>
                  </a:lnTo>
                  <a:lnTo>
                    <a:pt x="510" y="269"/>
                  </a:lnTo>
                  <a:lnTo>
                    <a:pt x="510" y="267"/>
                  </a:lnTo>
                  <a:lnTo>
                    <a:pt x="510" y="266"/>
                  </a:lnTo>
                  <a:lnTo>
                    <a:pt x="512" y="266"/>
                  </a:lnTo>
                  <a:lnTo>
                    <a:pt x="512" y="264"/>
                  </a:lnTo>
                  <a:lnTo>
                    <a:pt x="513" y="262"/>
                  </a:lnTo>
                  <a:lnTo>
                    <a:pt x="513" y="260"/>
                  </a:lnTo>
                  <a:lnTo>
                    <a:pt x="515" y="258"/>
                  </a:lnTo>
                  <a:lnTo>
                    <a:pt x="517" y="255"/>
                  </a:lnTo>
                  <a:lnTo>
                    <a:pt x="519" y="255"/>
                  </a:lnTo>
                  <a:lnTo>
                    <a:pt x="519" y="253"/>
                  </a:lnTo>
                  <a:lnTo>
                    <a:pt x="519" y="249"/>
                  </a:lnTo>
                  <a:lnTo>
                    <a:pt x="519" y="245"/>
                  </a:lnTo>
                  <a:lnTo>
                    <a:pt x="521" y="242"/>
                  </a:lnTo>
                  <a:lnTo>
                    <a:pt x="521" y="240"/>
                  </a:lnTo>
                  <a:lnTo>
                    <a:pt x="523" y="236"/>
                  </a:lnTo>
                  <a:lnTo>
                    <a:pt x="523" y="234"/>
                  </a:lnTo>
                  <a:lnTo>
                    <a:pt x="524" y="231"/>
                  </a:lnTo>
                  <a:lnTo>
                    <a:pt x="526" y="229"/>
                  </a:lnTo>
                  <a:lnTo>
                    <a:pt x="528" y="227"/>
                  </a:lnTo>
                  <a:lnTo>
                    <a:pt x="530" y="225"/>
                  </a:lnTo>
                  <a:lnTo>
                    <a:pt x="532" y="223"/>
                  </a:lnTo>
                  <a:lnTo>
                    <a:pt x="534" y="221"/>
                  </a:lnTo>
                  <a:lnTo>
                    <a:pt x="537" y="219"/>
                  </a:lnTo>
                  <a:lnTo>
                    <a:pt x="541" y="218"/>
                  </a:lnTo>
                  <a:lnTo>
                    <a:pt x="541" y="212"/>
                  </a:lnTo>
                  <a:lnTo>
                    <a:pt x="539" y="206"/>
                  </a:lnTo>
                  <a:lnTo>
                    <a:pt x="539" y="205"/>
                  </a:lnTo>
                  <a:lnTo>
                    <a:pt x="539" y="203"/>
                  </a:lnTo>
                  <a:close/>
                  <a:moveTo>
                    <a:pt x="366" y="136"/>
                  </a:moveTo>
                  <a:lnTo>
                    <a:pt x="367" y="136"/>
                  </a:lnTo>
                  <a:lnTo>
                    <a:pt x="369" y="136"/>
                  </a:lnTo>
                  <a:lnTo>
                    <a:pt x="369" y="140"/>
                  </a:lnTo>
                  <a:lnTo>
                    <a:pt x="369" y="142"/>
                  </a:lnTo>
                  <a:lnTo>
                    <a:pt x="369" y="144"/>
                  </a:lnTo>
                  <a:lnTo>
                    <a:pt x="367" y="144"/>
                  </a:lnTo>
                  <a:lnTo>
                    <a:pt x="367" y="146"/>
                  </a:lnTo>
                  <a:lnTo>
                    <a:pt x="366" y="146"/>
                  </a:lnTo>
                  <a:lnTo>
                    <a:pt x="364" y="144"/>
                  </a:lnTo>
                  <a:lnTo>
                    <a:pt x="364" y="140"/>
                  </a:lnTo>
                  <a:lnTo>
                    <a:pt x="364" y="138"/>
                  </a:lnTo>
                  <a:lnTo>
                    <a:pt x="364" y="136"/>
                  </a:lnTo>
                  <a:lnTo>
                    <a:pt x="366" y="136"/>
                  </a:lnTo>
                  <a:close/>
                  <a:moveTo>
                    <a:pt x="373" y="146"/>
                  </a:moveTo>
                  <a:lnTo>
                    <a:pt x="373" y="146"/>
                  </a:lnTo>
                  <a:lnTo>
                    <a:pt x="375" y="146"/>
                  </a:lnTo>
                  <a:lnTo>
                    <a:pt x="377" y="147"/>
                  </a:lnTo>
                  <a:lnTo>
                    <a:pt x="377" y="149"/>
                  </a:lnTo>
                  <a:lnTo>
                    <a:pt x="377" y="151"/>
                  </a:lnTo>
                  <a:lnTo>
                    <a:pt x="375" y="151"/>
                  </a:lnTo>
                  <a:lnTo>
                    <a:pt x="373" y="151"/>
                  </a:lnTo>
                  <a:lnTo>
                    <a:pt x="371" y="151"/>
                  </a:lnTo>
                  <a:lnTo>
                    <a:pt x="369" y="151"/>
                  </a:lnTo>
                  <a:lnTo>
                    <a:pt x="369" y="149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6"/>
                  </a:lnTo>
                  <a:close/>
                  <a:moveTo>
                    <a:pt x="379" y="127"/>
                  </a:moveTo>
                  <a:lnTo>
                    <a:pt x="380" y="127"/>
                  </a:lnTo>
                  <a:lnTo>
                    <a:pt x="382" y="127"/>
                  </a:lnTo>
                  <a:lnTo>
                    <a:pt x="384" y="129"/>
                  </a:lnTo>
                  <a:lnTo>
                    <a:pt x="384" y="131"/>
                  </a:lnTo>
                  <a:lnTo>
                    <a:pt x="384" y="133"/>
                  </a:lnTo>
                  <a:lnTo>
                    <a:pt x="382" y="133"/>
                  </a:lnTo>
                  <a:lnTo>
                    <a:pt x="380" y="133"/>
                  </a:lnTo>
                  <a:lnTo>
                    <a:pt x="379" y="133"/>
                  </a:lnTo>
                  <a:lnTo>
                    <a:pt x="375" y="133"/>
                  </a:lnTo>
                  <a:lnTo>
                    <a:pt x="373" y="133"/>
                  </a:lnTo>
                  <a:lnTo>
                    <a:pt x="371" y="133"/>
                  </a:lnTo>
                  <a:lnTo>
                    <a:pt x="371" y="131"/>
                  </a:lnTo>
                  <a:lnTo>
                    <a:pt x="371" y="129"/>
                  </a:lnTo>
                  <a:lnTo>
                    <a:pt x="373" y="127"/>
                  </a:lnTo>
                  <a:lnTo>
                    <a:pt x="375" y="127"/>
                  </a:lnTo>
                  <a:lnTo>
                    <a:pt x="379" y="127"/>
                  </a:lnTo>
                  <a:close/>
                  <a:moveTo>
                    <a:pt x="384" y="147"/>
                  </a:moveTo>
                  <a:lnTo>
                    <a:pt x="386" y="147"/>
                  </a:lnTo>
                  <a:lnTo>
                    <a:pt x="386" y="149"/>
                  </a:lnTo>
                  <a:lnTo>
                    <a:pt x="388" y="149"/>
                  </a:lnTo>
                  <a:lnTo>
                    <a:pt x="388" y="151"/>
                  </a:lnTo>
                  <a:lnTo>
                    <a:pt x="388" y="153"/>
                  </a:lnTo>
                  <a:lnTo>
                    <a:pt x="386" y="153"/>
                  </a:lnTo>
                  <a:lnTo>
                    <a:pt x="384" y="155"/>
                  </a:lnTo>
                  <a:lnTo>
                    <a:pt x="382" y="155"/>
                  </a:lnTo>
                  <a:lnTo>
                    <a:pt x="380" y="153"/>
                  </a:lnTo>
                  <a:lnTo>
                    <a:pt x="380" y="151"/>
                  </a:lnTo>
                  <a:lnTo>
                    <a:pt x="380" y="149"/>
                  </a:lnTo>
                  <a:lnTo>
                    <a:pt x="382" y="149"/>
                  </a:lnTo>
                  <a:lnTo>
                    <a:pt x="382" y="147"/>
                  </a:lnTo>
                  <a:lnTo>
                    <a:pt x="384" y="147"/>
                  </a:lnTo>
                  <a:close/>
                  <a:moveTo>
                    <a:pt x="397" y="149"/>
                  </a:moveTo>
                  <a:lnTo>
                    <a:pt x="397" y="149"/>
                  </a:lnTo>
                  <a:lnTo>
                    <a:pt x="399" y="149"/>
                  </a:lnTo>
                  <a:lnTo>
                    <a:pt x="399" y="151"/>
                  </a:lnTo>
                  <a:lnTo>
                    <a:pt x="401" y="151"/>
                  </a:lnTo>
                  <a:lnTo>
                    <a:pt x="401" y="153"/>
                  </a:lnTo>
                  <a:lnTo>
                    <a:pt x="401" y="155"/>
                  </a:lnTo>
                  <a:lnTo>
                    <a:pt x="401" y="157"/>
                  </a:lnTo>
                  <a:lnTo>
                    <a:pt x="401" y="158"/>
                  </a:lnTo>
                  <a:lnTo>
                    <a:pt x="399" y="158"/>
                  </a:lnTo>
                  <a:lnTo>
                    <a:pt x="397" y="160"/>
                  </a:lnTo>
                  <a:lnTo>
                    <a:pt x="395" y="160"/>
                  </a:lnTo>
                  <a:lnTo>
                    <a:pt x="395" y="158"/>
                  </a:lnTo>
                  <a:lnTo>
                    <a:pt x="393" y="158"/>
                  </a:lnTo>
                  <a:lnTo>
                    <a:pt x="393" y="157"/>
                  </a:lnTo>
                  <a:lnTo>
                    <a:pt x="393" y="155"/>
                  </a:lnTo>
                  <a:lnTo>
                    <a:pt x="393" y="153"/>
                  </a:lnTo>
                  <a:lnTo>
                    <a:pt x="393" y="151"/>
                  </a:lnTo>
                  <a:lnTo>
                    <a:pt x="395" y="151"/>
                  </a:lnTo>
                  <a:lnTo>
                    <a:pt x="395" y="149"/>
                  </a:lnTo>
                  <a:lnTo>
                    <a:pt x="397" y="149"/>
                  </a:lnTo>
                  <a:close/>
                  <a:moveTo>
                    <a:pt x="489" y="59"/>
                  </a:moveTo>
                  <a:lnTo>
                    <a:pt x="491" y="59"/>
                  </a:lnTo>
                  <a:lnTo>
                    <a:pt x="493" y="59"/>
                  </a:lnTo>
                  <a:lnTo>
                    <a:pt x="493" y="61"/>
                  </a:lnTo>
                  <a:lnTo>
                    <a:pt x="493" y="62"/>
                  </a:lnTo>
                  <a:lnTo>
                    <a:pt x="493" y="64"/>
                  </a:lnTo>
                  <a:lnTo>
                    <a:pt x="493" y="66"/>
                  </a:lnTo>
                  <a:lnTo>
                    <a:pt x="491" y="66"/>
                  </a:lnTo>
                  <a:lnTo>
                    <a:pt x="489" y="66"/>
                  </a:lnTo>
                  <a:lnTo>
                    <a:pt x="488" y="66"/>
                  </a:lnTo>
                  <a:lnTo>
                    <a:pt x="488" y="64"/>
                  </a:lnTo>
                  <a:lnTo>
                    <a:pt x="488" y="62"/>
                  </a:lnTo>
                  <a:lnTo>
                    <a:pt x="488" y="61"/>
                  </a:lnTo>
                  <a:lnTo>
                    <a:pt x="488" y="59"/>
                  </a:lnTo>
                  <a:lnTo>
                    <a:pt x="489" y="59"/>
                  </a:lnTo>
                  <a:close/>
                  <a:moveTo>
                    <a:pt x="421" y="7"/>
                  </a:moveTo>
                  <a:lnTo>
                    <a:pt x="421" y="7"/>
                  </a:lnTo>
                  <a:lnTo>
                    <a:pt x="423" y="7"/>
                  </a:lnTo>
                  <a:lnTo>
                    <a:pt x="423" y="9"/>
                  </a:lnTo>
                  <a:lnTo>
                    <a:pt x="425" y="11"/>
                  </a:lnTo>
                  <a:lnTo>
                    <a:pt x="425" y="12"/>
                  </a:lnTo>
                  <a:lnTo>
                    <a:pt x="423" y="12"/>
                  </a:lnTo>
                  <a:lnTo>
                    <a:pt x="423" y="14"/>
                  </a:lnTo>
                  <a:lnTo>
                    <a:pt x="421" y="14"/>
                  </a:lnTo>
                  <a:lnTo>
                    <a:pt x="419" y="14"/>
                  </a:lnTo>
                  <a:lnTo>
                    <a:pt x="417" y="14"/>
                  </a:lnTo>
                  <a:lnTo>
                    <a:pt x="417" y="12"/>
                  </a:lnTo>
                  <a:lnTo>
                    <a:pt x="417" y="11"/>
                  </a:lnTo>
                  <a:lnTo>
                    <a:pt x="417" y="9"/>
                  </a:lnTo>
                  <a:lnTo>
                    <a:pt x="419" y="7"/>
                  </a:lnTo>
                  <a:lnTo>
                    <a:pt x="421" y="7"/>
                  </a:lnTo>
                  <a:close/>
                  <a:moveTo>
                    <a:pt x="379" y="1"/>
                  </a:moveTo>
                  <a:lnTo>
                    <a:pt x="382" y="1"/>
                  </a:lnTo>
                  <a:lnTo>
                    <a:pt x="384" y="1"/>
                  </a:lnTo>
                  <a:lnTo>
                    <a:pt x="386" y="3"/>
                  </a:lnTo>
                  <a:lnTo>
                    <a:pt x="386" y="5"/>
                  </a:lnTo>
                  <a:lnTo>
                    <a:pt x="386" y="7"/>
                  </a:lnTo>
                  <a:lnTo>
                    <a:pt x="384" y="9"/>
                  </a:lnTo>
                  <a:lnTo>
                    <a:pt x="380" y="9"/>
                  </a:lnTo>
                  <a:lnTo>
                    <a:pt x="377" y="9"/>
                  </a:lnTo>
                  <a:lnTo>
                    <a:pt x="375" y="9"/>
                  </a:lnTo>
                  <a:lnTo>
                    <a:pt x="373" y="7"/>
                  </a:lnTo>
                  <a:lnTo>
                    <a:pt x="371" y="7"/>
                  </a:lnTo>
                  <a:lnTo>
                    <a:pt x="371" y="5"/>
                  </a:lnTo>
                  <a:lnTo>
                    <a:pt x="371" y="3"/>
                  </a:lnTo>
                  <a:lnTo>
                    <a:pt x="373" y="3"/>
                  </a:lnTo>
                  <a:lnTo>
                    <a:pt x="377" y="1"/>
                  </a:lnTo>
                  <a:lnTo>
                    <a:pt x="379" y="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8" name="Freeform 34"/>
            <p:cNvSpPr>
              <a:spLocks/>
            </p:cNvSpPr>
            <p:nvPr/>
          </p:nvSpPr>
          <p:spPr bwMode="auto">
            <a:xfrm>
              <a:off x="4905509" y="1853843"/>
              <a:ext cx="493615" cy="422389"/>
            </a:xfrm>
            <a:custGeom>
              <a:avLst/>
              <a:gdLst>
                <a:gd name="T0" fmla="*/ 841 w 946"/>
                <a:gd name="T1" fmla="*/ 299 h 830"/>
                <a:gd name="T2" fmla="*/ 863 w 946"/>
                <a:gd name="T3" fmla="*/ 310 h 830"/>
                <a:gd name="T4" fmla="*/ 813 w 946"/>
                <a:gd name="T5" fmla="*/ 357 h 830"/>
                <a:gd name="T6" fmla="*/ 741 w 946"/>
                <a:gd name="T7" fmla="*/ 408 h 830"/>
                <a:gd name="T8" fmla="*/ 759 w 946"/>
                <a:gd name="T9" fmla="*/ 364 h 830"/>
                <a:gd name="T10" fmla="*/ 830 w 946"/>
                <a:gd name="T11" fmla="*/ 283 h 830"/>
                <a:gd name="T12" fmla="*/ 863 w 946"/>
                <a:gd name="T13" fmla="*/ 242 h 830"/>
                <a:gd name="T14" fmla="*/ 891 w 946"/>
                <a:gd name="T15" fmla="*/ 207 h 830"/>
                <a:gd name="T16" fmla="*/ 891 w 946"/>
                <a:gd name="T17" fmla="*/ 163 h 830"/>
                <a:gd name="T18" fmla="*/ 887 w 946"/>
                <a:gd name="T19" fmla="*/ 146 h 830"/>
                <a:gd name="T20" fmla="*/ 883 w 946"/>
                <a:gd name="T21" fmla="*/ 102 h 830"/>
                <a:gd name="T22" fmla="*/ 863 w 946"/>
                <a:gd name="T23" fmla="*/ 92 h 830"/>
                <a:gd name="T24" fmla="*/ 828 w 946"/>
                <a:gd name="T25" fmla="*/ 65 h 830"/>
                <a:gd name="T26" fmla="*/ 765 w 946"/>
                <a:gd name="T27" fmla="*/ 92 h 830"/>
                <a:gd name="T28" fmla="*/ 747 w 946"/>
                <a:gd name="T29" fmla="*/ 55 h 830"/>
                <a:gd name="T30" fmla="*/ 697 w 946"/>
                <a:gd name="T31" fmla="*/ 54 h 830"/>
                <a:gd name="T32" fmla="*/ 704 w 946"/>
                <a:gd name="T33" fmla="*/ 15 h 830"/>
                <a:gd name="T34" fmla="*/ 669 w 946"/>
                <a:gd name="T35" fmla="*/ 9 h 830"/>
                <a:gd name="T36" fmla="*/ 638 w 946"/>
                <a:gd name="T37" fmla="*/ 33 h 830"/>
                <a:gd name="T38" fmla="*/ 623 w 946"/>
                <a:gd name="T39" fmla="*/ 94 h 830"/>
                <a:gd name="T40" fmla="*/ 615 w 946"/>
                <a:gd name="T41" fmla="*/ 109 h 830"/>
                <a:gd name="T42" fmla="*/ 588 w 946"/>
                <a:gd name="T43" fmla="*/ 137 h 830"/>
                <a:gd name="T44" fmla="*/ 514 w 946"/>
                <a:gd name="T45" fmla="*/ 150 h 830"/>
                <a:gd name="T46" fmla="*/ 453 w 946"/>
                <a:gd name="T47" fmla="*/ 135 h 830"/>
                <a:gd name="T48" fmla="*/ 427 w 946"/>
                <a:gd name="T49" fmla="*/ 161 h 830"/>
                <a:gd name="T50" fmla="*/ 372 w 946"/>
                <a:gd name="T51" fmla="*/ 174 h 830"/>
                <a:gd name="T52" fmla="*/ 325 w 946"/>
                <a:gd name="T53" fmla="*/ 216 h 830"/>
                <a:gd name="T54" fmla="*/ 307 w 946"/>
                <a:gd name="T55" fmla="*/ 238 h 830"/>
                <a:gd name="T56" fmla="*/ 307 w 946"/>
                <a:gd name="T57" fmla="*/ 307 h 830"/>
                <a:gd name="T58" fmla="*/ 285 w 946"/>
                <a:gd name="T59" fmla="*/ 298 h 830"/>
                <a:gd name="T60" fmla="*/ 165 w 946"/>
                <a:gd name="T61" fmla="*/ 286 h 830"/>
                <a:gd name="T62" fmla="*/ 126 w 946"/>
                <a:gd name="T63" fmla="*/ 349 h 830"/>
                <a:gd name="T64" fmla="*/ 159 w 946"/>
                <a:gd name="T65" fmla="*/ 427 h 830"/>
                <a:gd name="T66" fmla="*/ 157 w 946"/>
                <a:gd name="T67" fmla="*/ 525 h 830"/>
                <a:gd name="T68" fmla="*/ 157 w 946"/>
                <a:gd name="T69" fmla="*/ 625 h 830"/>
                <a:gd name="T70" fmla="*/ 122 w 946"/>
                <a:gd name="T71" fmla="*/ 575 h 830"/>
                <a:gd name="T72" fmla="*/ 142 w 946"/>
                <a:gd name="T73" fmla="*/ 508 h 830"/>
                <a:gd name="T74" fmla="*/ 118 w 946"/>
                <a:gd name="T75" fmla="*/ 497 h 830"/>
                <a:gd name="T76" fmla="*/ 150 w 946"/>
                <a:gd name="T77" fmla="*/ 442 h 830"/>
                <a:gd name="T78" fmla="*/ 58 w 946"/>
                <a:gd name="T79" fmla="*/ 364 h 830"/>
                <a:gd name="T80" fmla="*/ 63 w 946"/>
                <a:gd name="T81" fmla="*/ 419 h 830"/>
                <a:gd name="T82" fmla="*/ 74 w 946"/>
                <a:gd name="T83" fmla="*/ 480 h 830"/>
                <a:gd name="T84" fmla="*/ 28 w 946"/>
                <a:gd name="T85" fmla="*/ 547 h 830"/>
                <a:gd name="T86" fmla="*/ 13 w 946"/>
                <a:gd name="T87" fmla="*/ 601 h 830"/>
                <a:gd name="T88" fmla="*/ 82 w 946"/>
                <a:gd name="T89" fmla="*/ 638 h 830"/>
                <a:gd name="T90" fmla="*/ 85 w 946"/>
                <a:gd name="T91" fmla="*/ 721 h 830"/>
                <a:gd name="T92" fmla="*/ 128 w 946"/>
                <a:gd name="T93" fmla="*/ 815 h 830"/>
                <a:gd name="T94" fmla="*/ 191 w 946"/>
                <a:gd name="T95" fmla="*/ 758 h 830"/>
                <a:gd name="T96" fmla="*/ 240 w 946"/>
                <a:gd name="T97" fmla="*/ 826 h 830"/>
                <a:gd name="T98" fmla="*/ 401 w 946"/>
                <a:gd name="T99" fmla="*/ 759 h 830"/>
                <a:gd name="T100" fmla="*/ 444 w 946"/>
                <a:gd name="T101" fmla="*/ 700 h 830"/>
                <a:gd name="T102" fmla="*/ 590 w 946"/>
                <a:gd name="T103" fmla="*/ 638 h 830"/>
                <a:gd name="T104" fmla="*/ 697 w 946"/>
                <a:gd name="T105" fmla="*/ 691 h 830"/>
                <a:gd name="T106" fmla="*/ 758 w 946"/>
                <a:gd name="T107" fmla="*/ 684 h 830"/>
                <a:gd name="T108" fmla="*/ 820 w 946"/>
                <a:gd name="T109" fmla="*/ 650 h 830"/>
                <a:gd name="T110" fmla="*/ 900 w 946"/>
                <a:gd name="T111" fmla="*/ 573 h 830"/>
                <a:gd name="T112" fmla="*/ 922 w 946"/>
                <a:gd name="T113" fmla="*/ 471 h 830"/>
                <a:gd name="T114" fmla="*/ 868 w 946"/>
                <a:gd name="T115" fmla="*/ 384 h 830"/>
                <a:gd name="T116" fmla="*/ 865 w 946"/>
                <a:gd name="T117" fmla="*/ 318 h 8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6"/>
                <a:gd name="T178" fmla="*/ 0 h 830"/>
                <a:gd name="T179" fmla="*/ 946 w 946"/>
                <a:gd name="T180" fmla="*/ 830 h 8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6" h="830">
                  <a:moveTo>
                    <a:pt x="874" y="303"/>
                  </a:moveTo>
                  <a:lnTo>
                    <a:pt x="874" y="303"/>
                  </a:lnTo>
                  <a:lnTo>
                    <a:pt x="872" y="301"/>
                  </a:lnTo>
                  <a:lnTo>
                    <a:pt x="872" y="294"/>
                  </a:lnTo>
                  <a:lnTo>
                    <a:pt x="867" y="286"/>
                  </a:lnTo>
                  <a:lnTo>
                    <a:pt x="861" y="294"/>
                  </a:lnTo>
                  <a:lnTo>
                    <a:pt x="854" y="299"/>
                  </a:lnTo>
                  <a:lnTo>
                    <a:pt x="850" y="296"/>
                  </a:lnTo>
                  <a:lnTo>
                    <a:pt x="844" y="294"/>
                  </a:lnTo>
                  <a:lnTo>
                    <a:pt x="841" y="299"/>
                  </a:lnTo>
                  <a:lnTo>
                    <a:pt x="833" y="305"/>
                  </a:lnTo>
                  <a:lnTo>
                    <a:pt x="830" y="312"/>
                  </a:lnTo>
                  <a:lnTo>
                    <a:pt x="828" y="318"/>
                  </a:lnTo>
                  <a:lnTo>
                    <a:pt x="833" y="320"/>
                  </a:lnTo>
                  <a:lnTo>
                    <a:pt x="839" y="318"/>
                  </a:lnTo>
                  <a:lnTo>
                    <a:pt x="846" y="314"/>
                  </a:lnTo>
                  <a:lnTo>
                    <a:pt x="854" y="309"/>
                  </a:lnTo>
                  <a:lnTo>
                    <a:pt x="859" y="309"/>
                  </a:lnTo>
                  <a:lnTo>
                    <a:pt x="863" y="309"/>
                  </a:lnTo>
                  <a:lnTo>
                    <a:pt x="863" y="310"/>
                  </a:lnTo>
                  <a:lnTo>
                    <a:pt x="865" y="312"/>
                  </a:lnTo>
                  <a:lnTo>
                    <a:pt x="861" y="320"/>
                  </a:lnTo>
                  <a:lnTo>
                    <a:pt x="856" y="329"/>
                  </a:lnTo>
                  <a:lnTo>
                    <a:pt x="850" y="334"/>
                  </a:lnTo>
                  <a:lnTo>
                    <a:pt x="844" y="344"/>
                  </a:lnTo>
                  <a:lnTo>
                    <a:pt x="832" y="338"/>
                  </a:lnTo>
                  <a:lnTo>
                    <a:pt x="822" y="333"/>
                  </a:lnTo>
                  <a:lnTo>
                    <a:pt x="820" y="344"/>
                  </a:lnTo>
                  <a:lnTo>
                    <a:pt x="820" y="355"/>
                  </a:lnTo>
                  <a:lnTo>
                    <a:pt x="813" y="357"/>
                  </a:lnTo>
                  <a:lnTo>
                    <a:pt x="806" y="357"/>
                  </a:lnTo>
                  <a:lnTo>
                    <a:pt x="804" y="366"/>
                  </a:lnTo>
                  <a:lnTo>
                    <a:pt x="800" y="375"/>
                  </a:lnTo>
                  <a:lnTo>
                    <a:pt x="780" y="375"/>
                  </a:lnTo>
                  <a:lnTo>
                    <a:pt x="765" y="375"/>
                  </a:lnTo>
                  <a:lnTo>
                    <a:pt x="759" y="384"/>
                  </a:lnTo>
                  <a:lnTo>
                    <a:pt x="754" y="395"/>
                  </a:lnTo>
                  <a:lnTo>
                    <a:pt x="752" y="401"/>
                  </a:lnTo>
                  <a:lnTo>
                    <a:pt x="747" y="405"/>
                  </a:lnTo>
                  <a:lnTo>
                    <a:pt x="741" y="408"/>
                  </a:lnTo>
                  <a:lnTo>
                    <a:pt x="734" y="410"/>
                  </a:lnTo>
                  <a:lnTo>
                    <a:pt x="732" y="408"/>
                  </a:lnTo>
                  <a:lnTo>
                    <a:pt x="730" y="407"/>
                  </a:lnTo>
                  <a:lnTo>
                    <a:pt x="732" y="403"/>
                  </a:lnTo>
                  <a:lnTo>
                    <a:pt x="735" y="399"/>
                  </a:lnTo>
                  <a:lnTo>
                    <a:pt x="743" y="390"/>
                  </a:lnTo>
                  <a:lnTo>
                    <a:pt x="748" y="386"/>
                  </a:lnTo>
                  <a:lnTo>
                    <a:pt x="748" y="381"/>
                  </a:lnTo>
                  <a:lnTo>
                    <a:pt x="747" y="375"/>
                  </a:lnTo>
                  <a:lnTo>
                    <a:pt x="759" y="364"/>
                  </a:lnTo>
                  <a:lnTo>
                    <a:pt x="774" y="355"/>
                  </a:lnTo>
                  <a:lnTo>
                    <a:pt x="774" y="346"/>
                  </a:lnTo>
                  <a:lnTo>
                    <a:pt x="774" y="336"/>
                  </a:lnTo>
                  <a:lnTo>
                    <a:pt x="787" y="333"/>
                  </a:lnTo>
                  <a:lnTo>
                    <a:pt x="802" y="329"/>
                  </a:lnTo>
                  <a:lnTo>
                    <a:pt x="806" y="318"/>
                  </a:lnTo>
                  <a:lnTo>
                    <a:pt x="809" y="307"/>
                  </a:lnTo>
                  <a:lnTo>
                    <a:pt x="820" y="299"/>
                  </a:lnTo>
                  <a:lnTo>
                    <a:pt x="832" y="292"/>
                  </a:lnTo>
                  <a:lnTo>
                    <a:pt x="830" y="283"/>
                  </a:lnTo>
                  <a:lnTo>
                    <a:pt x="826" y="270"/>
                  </a:lnTo>
                  <a:lnTo>
                    <a:pt x="830" y="266"/>
                  </a:lnTo>
                  <a:lnTo>
                    <a:pt x="835" y="266"/>
                  </a:lnTo>
                  <a:lnTo>
                    <a:pt x="841" y="262"/>
                  </a:lnTo>
                  <a:lnTo>
                    <a:pt x="846" y="253"/>
                  </a:lnTo>
                  <a:lnTo>
                    <a:pt x="850" y="251"/>
                  </a:lnTo>
                  <a:lnTo>
                    <a:pt x="856" y="251"/>
                  </a:lnTo>
                  <a:lnTo>
                    <a:pt x="857" y="249"/>
                  </a:lnTo>
                  <a:lnTo>
                    <a:pt x="859" y="248"/>
                  </a:lnTo>
                  <a:lnTo>
                    <a:pt x="863" y="242"/>
                  </a:lnTo>
                  <a:lnTo>
                    <a:pt x="863" y="233"/>
                  </a:lnTo>
                  <a:lnTo>
                    <a:pt x="868" y="231"/>
                  </a:lnTo>
                  <a:lnTo>
                    <a:pt x="874" y="229"/>
                  </a:lnTo>
                  <a:lnTo>
                    <a:pt x="878" y="227"/>
                  </a:lnTo>
                  <a:lnTo>
                    <a:pt x="880" y="225"/>
                  </a:lnTo>
                  <a:lnTo>
                    <a:pt x="881" y="222"/>
                  </a:lnTo>
                  <a:lnTo>
                    <a:pt x="881" y="214"/>
                  </a:lnTo>
                  <a:lnTo>
                    <a:pt x="883" y="211"/>
                  </a:lnTo>
                  <a:lnTo>
                    <a:pt x="887" y="209"/>
                  </a:lnTo>
                  <a:lnTo>
                    <a:pt x="891" y="207"/>
                  </a:lnTo>
                  <a:lnTo>
                    <a:pt x="894" y="207"/>
                  </a:lnTo>
                  <a:lnTo>
                    <a:pt x="896" y="205"/>
                  </a:lnTo>
                  <a:lnTo>
                    <a:pt x="900" y="200"/>
                  </a:lnTo>
                  <a:lnTo>
                    <a:pt x="902" y="192"/>
                  </a:lnTo>
                  <a:lnTo>
                    <a:pt x="904" y="179"/>
                  </a:lnTo>
                  <a:lnTo>
                    <a:pt x="904" y="174"/>
                  </a:lnTo>
                  <a:lnTo>
                    <a:pt x="902" y="168"/>
                  </a:lnTo>
                  <a:lnTo>
                    <a:pt x="900" y="164"/>
                  </a:lnTo>
                  <a:lnTo>
                    <a:pt x="896" y="163"/>
                  </a:lnTo>
                  <a:lnTo>
                    <a:pt x="891" y="163"/>
                  </a:lnTo>
                  <a:lnTo>
                    <a:pt x="883" y="161"/>
                  </a:lnTo>
                  <a:lnTo>
                    <a:pt x="876" y="155"/>
                  </a:lnTo>
                  <a:lnTo>
                    <a:pt x="870" y="148"/>
                  </a:lnTo>
                  <a:lnTo>
                    <a:pt x="870" y="144"/>
                  </a:lnTo>
                  <a:lnTo>
                    <a:pt x="868" y="142"/>
                  </a:lnTo>
                  <a:lnTo>
                    <a:pt x="868" y="139"/>
                  </a:lnTo>
                  <a:lnTo>
                    <a:pt x="870" y="137"/>
                  </a:lnTo>
                  <a:lnTo>
                    <a:pt x="878" y="139"/>
                  </a:lnTo>
                  <a:lnTo>
                    <a:pt x="885" y="140"/>
                  </a:lnTo>
                  <a:lnTo>
                    <a:pt x="887" y="146"/>
                  </a:lnTo>
                  <a:lnTo>
                    <a:pt x="889" y="150"/>
                  </a:lnTo>
                  <a:lnTo>
                    <a:pt x="891" y="150"/>
                  </a:lnTo>
                  <a:lnTo>
                    <a:pt x="894" y="150"/>
                  </a:lnTo>
                  <a:lnTo>
                    <a:pt x="894" y="139"/>
                  </a:lnTo>
                  <a:lnTo>
                    <a:pt x="894" y="133"/>
                  </a:lnTo>
                  <a:lnTo>
                    <a:pt x="892" y="128"/>
                  </a:lnTo>
                  <a:lnTo>
                    <a:pt x="887" y="124"/>
                  </a:lnTo>
                  <a:lnTo>
                    <a:pt x="887" y="116"/>
                  </a:lnTo>
                  <a:lnTo>
                    <a:pt x="885" y="109"/>
                  </a:lnTo>
                  <a:lnTo>
                    <a:pt x="883" y="102"/>
                  </a:lnTo>
                  <a:lnTo>
                    <a:pt x="878" y="100"/>
                  </a:lnTo>
                  <a:lnTo>
                    <a:pt x="874" y="107"/>
                  </a:lnTo>
                  <a:lnTo>
                    <a:pt x="872" y="115"/>
                  </a:lnTo>
                  <a:lnTo>
                    <a:pt x="867" y="111"/>
                  </a:lnTo>
                  <a:lnTo>
                    <a:pt x="865" y="107"/>
                  </a:lnTo>
                  <a:lnTo>
                    <a:pt x="863" y="105"/>
                  </a:lnTo>
                  <a:lnTo>
                    <a:pt x="865" y="102"/>
                  </a:lnTo>
                  <a:lnTo>
                    <a:pt x="865" y="96"/>
                  </a:lnTo>
                  <a:lnTo>
                    <a:pt x="865" y="92"/>
                  </a:lnTo>
                  <a:lnTo>
                    <a:pt x="863" y="92"/>
                  </a:lnTo>
                  <a:lnTo>
                    <a:pt x="859" y="92"/>
                  </a:lnTo>
                  <a:lnTo>
                    <a:pt x="850" y="96"/>
                  </a:lnTo>
                  <a:lnTo>
                    <a:pt x="844" y="96"/>
                  </a:lnTo>
                  <a:lnTo>
                    <a:pt x="843" y="91"/>
                  </a:lnTo>
                  <a:lnTo>
                    <a:pt x="844" y="83"/>
                  </a:lnTo>
                  <a:lnTo>
                    <a:pt x="839" y="78"/>
                  </a:lnTo>
                  <a:lnTo>
                    <a:pt x="835" y="74"/>
                  </a:lnTo>
                  <a:lnTo>
                    <a:pt x="833" y="70"/>
                  </a:lnTo>
                  <a:lnTo>
                    <a:pt x="832" y="67"/>
                  </a:lnTo>
                  <a:lnTo>
                    <a:pt x="828" y="65"/>
                  </a:lnTo>
                  <a:lnTo>
                    <a:pt x="822" y="67"/>
                  </a:lnTo>
                  <a:lnTo>
                    <a:pt x="809" y="72"/>
                  </a:lnTo>
                  <a:lnTo>
                    <a:pt x="795" y="76"/>
                  </a:lnTo>
                  <a:lnTo>
                    <a:pt x="776" y="72"/>
                  </a:lnTo>
                  <a:lnTo>
                    <a:pt x="761" y="72"/>
                  </a:lnTo>
                  <a:lnTo>
                    <a:pt x="759" y="74"/>
                  </a:lnTo>
                  <a:lnTo>
                    <a:pt x="761" y="78"/>
                  </a:lnTo>
                  <a:lnTo>
                    <a:pt x="763" y="81"/>
                  </a:lnTo>
                  <a:lnTo>
                    <a:pt x="767" y="87"/>
                  </a:lnTo>
                  <a:lnTo>
                    <a:pt x="765" y="92"/>
                  </a:lnTo>
                  <a:lnTo>
                    <a:pt x="761" y="94"/>
                  </a:lnTo>
                  <a:lnTo>
                    <a:pt x="758" y="96"/>
                  </a:lnTo>
                  <a:lnTo>
                    <a:pt x="750" y="98"/>
                  </a:lnTo>
                  <a:lnTo>
                    <a:pt x="745" y="96"/>
                  </a:lnTo>
                  <a:lnTo>
                    <a:pt x="741" y="94"/>
                  </a:lnTo>
                  <a:lnTo>
                    <a:pt x="737" y="92"/>
                  </a:lnTo>
                  <a:lnTo>
                    <a:pt x="735" y="89"/>
                  </a:lnTo>
                  <a:lnTo>
                    <a:pt x="745" y="74"/>
                  </a:lnTo>
                  <a:lnTo>
                    <a:pt x="750" y="57"/>
                  </a:lnTo>
                  <a:lnTo>
                    <a:pt x="747" y="55"/>
                  </a:lnTo>
                  <a:lnTo>
                    <a:pt x="743" y="54"/>
                  </a:lnTo>
                  <a:lnTo>
                    <a:pt x="739" y="55"/>
                  </a:lnTo>
                  <a:lnTo>
                    <a:pt x="735" y="55"/>
                  </a:lnTo>
                  <a:lnTo>
                    <a:pt x="724" y="57"/>
                  </a:lnTo>
                  <a:lnTo>
                    <a:pt x="715" y="59"/>
                  </a:lnTo>
                  <a:lnTo>
                    <a:pt x="711" y="55"/>
                  </a:lnTo>
                  <a:lnTo>
                    <a:pt x="710" y="52"/>
                  </a:lnTo>
                  <a:lnTo>
                    <a:pt x="704" y="52"/>
                  </a:lnTo>
                  <a:lnTo>
                    <a:pt x="700" y="54"/>
                  </a:lnTo>
                  <a:lnTo>
                    <a:pt x="697" y="54"/>
                  </a:lnTo>
                  <a:lnTo>
                    <a:pt x="695" y="52"/>
                  </a:lnTo>
                  <a:lnTo>
                    <a:pt x="693" y="50"/>
                  </a:lnTo>
                  <a:lnTo>
                    <a:pt x="693" y="46"/>
                  </a:lnTo>
                  <a:lnTo>
                    <a:pt x="695" y="41"/>
                  </a:lnTo>
                  <a:lnTo>
                    <a:pt x="702" y="35"/>
                  </a:lnTo>
                  <a:lnTo>
                    <a:pt x="711" y="31"/>
                  </a:lnTo>
                  <a:lnTo>
                    <a:pt x="719" y="28"/>
                  </a:lnTo>
                  <a:lnTo>
                    <a:pt x="715" y="20"/>
                  </a:lnTo>
                  <a:lnTo>
                    <a:pt x="708" y="15"/>
                  </a:lnTo>
                  <a:lnTo>
                    <a:pt x="704" y="15"/>
                  </a:lnTo>
                  <a:lnTo>
                    <a:pt x="702" y="15"/>
                  </a:lnTo>
                  <a:lnTo>
                    <a:pt x="699" y="15"/>
                  </a:lnTo>
                  <a:lnTo>
                    <a:pt x="695" y="11"/>
                  </a:lnTo>
                  <a:lnTo>
                    <a:pt x="693" y="6"/>
                  </a:lnTo>
                  <a:lnTo>
                    <a:pt x="689" y="2"/>
                  </a:lnTo>
                  <a:lnTo>
                    <a:pt x="686" y="0"/>
                  </a:lnTo>
                  <a:lnTo>
                    <a:pt x="680" y="0"/>
                  </a:lnTo>
                  <a:lnTo>
                    <a:pt x="675" y="0"/>
                  </a:lnTo>
                  <a:lnTo>
                    <a:pt x="671" y="4"/>
                  </a:lnTo>
                  <a:lnTo>
                    <a:pt x="669" y="9"/>
                  </a:lnTo>
                  <a:lnTo>
                    <a:pt x="665" y="13"/>
                  </a:lnTo>
                  <a:lnTo>
                    <a:pt x="662" y="15"/>
                  </a:lnTo>
                  <a:lnTo>
                    <a:pt x="658" y="17"/>
                  </a:lnTo>
                  <a:lnTo>
                    <a:pt x="656" y="19"/>
                  </a:lnTo>
                  <a:lnTo>
                    <a:pt x="656" y="20"/>
                  </a:lnTo>
                  <a:lnTo>
                    <a:pt x="654" y="26"/>
                  </a:lnTo>
                  <a:lnTo>
                    <a:pt x="652" y="31"/>
                  </a:lnTo>
                  <a:lnTo>
                    <a:pt x="647" y="33"/>
                  </a:lnTo>
                  <a:lnTo>
                    <a:pt x="641" y="33"/>
                  </a:lnTo>
                  <a:lnTo>
                    <a:pt x="638" y="33"/>
                  </a:lnTo>
                  <a:lnTo>
                    <a:pt x="634" y="37"/>
                  </a:lnTo>
                  <a:lnTo>
                    <a:pt x="632" y="43"/>
                  </a:lnTo>
                  <a:lnTo>
                    <a:pt x="630" y="50"/>
                  </a:lnTo>
                  <a:lnTo>
                    <a:pt x="626" y="61"/>
                  </a:lnTo>
                  <a:lnTo>
                    <a:pt x="625" y="72"/>
                  </a:lnTo>
                  <a:lnTo>
                    <a:pt x="619" y="76"/>
                  </a:lnTo>
                  <a:lnTo>
                    <a:pt x="619" y="79"/>
                  </a:lnTo>
                  <a:lnTo>
                    <a:pt x="623" y="85"/>
                  </a:lnTo>
                  <a:lnTo>
                    <a:pt x="625" y="91"/>
                  </a:lnTo>
                  <a:lnTo>
                    <a:pt x="623" y="94"/>
                  </a:lnTo>
                  <a:lnTo>
                    <a:pt x="623" y="100"/>
                  </a:lnTo>
                  <a:lnTo>
                    <a:pt x="630" y="104"/>
                  </a:lnTo>
                  <a:lnTo>
                    <a:pt x="639" y="109"/>
                  </a:lnTo>
                  <a:lnTo>
                    <a:pt x="641" y="111"/>
                  </a:lnTo>
                  <a:lnTo>
                    <a:pt x="643" y="115"/>
                  </a:lnTo>
                  <a:lnTo>
                    <a:pt x="643" y="116"/>
                  </a:lnTo>
                  <a:lnTo>
                    <a:pt x="641" y="120"/>
                  </a:lnTo>
                  <a:lnTo>
                    <a:pt x="634" y="116"/>
                  </a:lnTo>
                  <a:lnTo>
                    <a:pt x="623" y="111"/>
                  </a:lnTo>
                  <a:lnTo>
                    <a:pt x="615" y="109"/>
                  </a:lnTo>
                  <a:lnTo>
                    <a:pt x="604" y="105"/>
                  </a:lnTo>
                  <a:lnTo>
                    <a:pt x="591" y="105"/>
                  </a:lnTo>
                  <a:lnTo>
                    <a:pt x="575" y="105"/>
                  </a:lnTo>
                  <a:lnTo>
                    <a:pt x="578" y="115"/>
                  </a:lnTo>
                  <a:lnTo>
                    <a:pt x="586" y="122"/>
                  </a:lnTo>
                  <a:lnTo>
                    <a:pt x="590" y="128"/>
                  </a:lnTo>
                  <a:lnTo>
                    <a:pt x="593" y="131"/>
                  </a:lnTo>
                  <a:lnTo>
                    <a:pt x="593" y="137"/>
                  </a:lnTo>
                  <a:lnTo>
                    <a:pt x="593" y="140"/>
                  </a:lnTo>
                  <a:lnTo>
                    <a:pt x="588" y="137"/>
                  </a:lnTo>
                  <a:lnTo>
                    <a:pt x="582" y="131"/>
                  </a:lnTo>
                  <a:lnTo>
                    <a:pt x="575" y="129"/>
                  </a:lnTo>
                  <a:lnTo>
                    <a:pt x="569" y="128"/>
                  </a:lnTo>
                  <a:lnTo>
                    <a:pt x="564" y="128"/>
                  </a:lnTo>
                  <a:lnTo>
                    <a:pt x="558" y="131"/>
                  </a:lnTo>
                  <a:lnTo>
                    <a:pt x="553" y="137"/>
                  </a:lnTo>
                  <a:lnTo>
                    <a:pt x="549" y="144"/>
                  </a:lnTo>
                  <a:lnTo>
                    <a:pt x="540" y="148"/>
                  </a:lnTo>
                  <a:lnTo>
                    <a:pt x="529" y="153"/>
                  </a:lnTo>
                  <a:lnTo>
                    <a:pt x="514" y="150"/>
                  </a:lnTo>
                  <a:lnTo>
                    <a:pt x="505" y="150"/>
                  </a:lnTo>
                  <a:lnTo>
                    <a:pt x="508" y="144"/>
                  </a:lnTo>
                  <a:lnTo>
                    <a:pt x="510" y="137"/>
                  </a:lnTo>
                  <a:lnTo>
                    <a:pt x="490" y="133"/>
                  </a:lnTo>
                  <a:lnTo>
                    <a:pt x="469" y="129"/>
                  </a:lnTo>
                  <a:lnTo>
                    <a:pt x="466" y="135"/>
                  </a:lnTo>
                  <a:lnTo>
                    <a:pt x="462" y="139"/>
                  </a:lnTo>
                  <a:lnTo>
                    <a:pt x="458" y="137"/>
                  </a:lnTo>
                  <a:lnTo>
                    <a:pt x="457" y="135"/>
                  </a:lnTo>
                  <a:lnTo>
                    <a:pt x="453" y="135"/>
                  </a:lnTo>
                  <a:lnTo>
                    <a:pt x="449" y="137"/>
                  </a:lnTo>
                  <a:lnTo>
                    <a:pt x="449" y="140"/>
                  </a:lnTo>
                  <a:lnTo>
                    <a:pt x="449" y="142"/>
                  </a:lnTo>
                  <a:lnTo>
                    <a:pt x="453" y="142"/>
                  </a:lnTo>
                  <a:lnTo>
                    <a:pt x="455" y="144"/>
                  </a:lnTo>
                  <a:lnTo>
                    <a:pt x="460" y="146"/>
                  </a:lnTo>
                  <a:lnTo>
                    <a:pt x="462" y="148"/>
                  </a:lnTo>
                  <a:lnTo>
                    <a:pt x="451" y="155"/>
                  </a:lnTo>
                  <a:lnTo>
                    <a:pt x="433" y="164"/>
                  </a:lnTo>
                  <a:lnTo>
                    <a:pt x="427" y="161"/>
                  </a:lnTo>
                  <a:lnTo>
                    <a:pt x="423" y="161"/>
                  </a:lnTo>
                  <a:lnTo>
                    <a:pt x="418" y="163"/>
                  </a:lnTo>
                  <a:lnTo>
                    <a:pt x="412" y="166"/>
                  </a:lnTo>
                  <a:lnTo>
                    <a:pt x="405" y="166"/>
                  </a:lnTo>
                  <a:lnTo>
                    <a:pt x="399" y="163"/>
                  </a:lnTo>
                  <a:lnTo>
                    <a:pt x="396" y="163"/>
                  </a:lnTo>
                  <a:lnTo>
                    <a:pt x="392" y="163"/>
                  </a:lnTo>
                  <a:lnTo>
                    <a:pt x="386" y="166"/>
                  </a:lnTo>
                  <a:lnTo>
                    <a:pt x="381" y="172"/>
                  </a:lnTo>
                  <a:lnTo>
                    <a:pt x="372" y="174"/>
                  </a:lnTo>
                  <a:lnTo>
                    <a:pt x="362" y="170"/>
                  </a:lnTo>
                  <a:lnTo>
                    <a:pt x="359" y="172"/>
                  </a:lnTo>
                  <a:lnTo>
                    <a:pt x="351" y="174"/>
                  </a:lnTo>
                  <a:lnTo>
                    <a:pt x="346" y="181"/>
                  </a:lnTo>
                  <a:lnTo>
                    <a:pt x="336" y="192"/>
                  </a:lnTo>
                  <a:lnTo>
                    <a:pt x="327" y="192"/>
                  </a:lnTo>
                  <a:lnTo>
                    <a:pt x="322" y="194"/>
                  </a:lnTo>
                  <a:lnTo>
                    <a:pt x="325" y="205"/>
                  </a:lnTo>
                  <a:lnTo>
                    <a:pt x="327" y="214"/>
                  </a:lnTo>
                  <a:lnTo>
                    <a:pt x="325" y="216"/>
                  </a:lnTo>
                  <a:lnTo>
                    <a:pt x="320" y="220"/>
                  </a:lnTo>
                  <a:lnTo>
                    <a:pt x="316" y="224"/>
                  </a:lnTo>
                  <a:lnTo>
                    <a:pt x="311" y="224"/>
                  </a:lnTo>
                  <a:lnTo>
                    <a:pt x="305" y="216"/>
                  </a:lnTo>
                  <a:lnTo>
                    <a:pt x="300" y="211"/>
                  </a:lnTo>
                  <a:lnTo>
                    <a:pt x="298" y="214"/>
                  </a:lnTo>
                  <a:lnTo>
                    <a:pt x="298" y="218"/>
                  </a:lnTo>
                  <a:lnTo>
                    <a:pt x="300" y="224"/>
                  </a:lnTo>
                  <a:lnTo>
                    <a:pt x="301" y="227"/>
                  </a:lnTo>
                  <a:lnTo>
                    <a:pt x="307" y="238"/>
                  </a:lnTo>
                  <a:lnTo>
                    <a:pt x="311" y="249"/>
                  </a:lnTo>
                  <a:lnTo>
                    <a:pt x="307" y="257"/>
                  </a:lnTo>
                  <a:lnTo>
                    <a:pt x="305" y="26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7"/>
                  </a:lnTo>
                  <a:lnTo>
                    <a:pt x="305" y="283"/>
                  </a:lnTo>
                  <a:lnTo>
                    <a:pt x="309" y="292"/>
                  </a:lnTo>
                  <a:lnTo>
                    <a:pt x="312" y="299"/>
                  </a:lnTo>
                  <a:lnTo>
                    <a:pt x="307" y="307"/>
                  </a:lnTo>
                  <a:lnTo>
                    <a:pt x="301" y="312"/>
                  </a:lnTo>
                  <a:lnTo>
                    <a:pt x="294" y="316"/>
                  </a:lnTo>
                  <a:lnTo>
                    <a:pt x="288" y="316"/>
                  </a:lnTo>
                  <a:lnTo>
                    <a:pt x="283" y="316"/>
                  </a:lnTo>
                  <a:lnTo>
                    <a:pt x="281" y="316"/>
                  </a:lnTo>
                  <a:lnTo>
                    <a:pt x="277" y="312"/>
                  </a:lnTo>
                  <a:lnTo>
                    <a:pt x="279" y="309"/>
                  </a:lnTo>
                  <a:lnTo>
                    <a:pt x="283" y="303"/>
                  </a:lnTo>
                  <a:lnTo>
                    <a:pt x="285" y="299"/>
                  </a:lnTo>
                  <a:lnTo>
                    <a:pt x="285" y="298"/>
                  </a:lnTo>
                  <a:lnTo>
                    <a:pt x="281" y="294"/>
                  </a:lnTo>
                  <a:lnTo>
                    <a:pt x="268" y="296"/>
                  </a:lnTo>
                  <a:lnTo>
                    <a:pt x="257" y="299"/>
                  </a:lnTo>
                  <a:lnTo>
                    <a:pt x="242" y="296"/>
                  </a:lnTo>
                  <a:lnTo>
                    <a:pt x="227" y="296"/>
                  </a:lnTo>
                  <a:lnTo>
                    <a:pt x="213" y="294"/>
                  </a:lnTo>
                  <a:lnTo>
                    <a:pt x="196" y="294"/>
                  </a:lnTo>
                  <a:lnTo>
                    <a:pt x="185" y="292"/>
                  </a:lnTo>
                  <a:lnTo>
                    <a:pt x="172" y="288"/>
                  </a:lnTo>
                  <a:lnTo>
                    <a:pt x="165" y="286"/>
                  </a:lnTo>
                  <a:lnTo>
                    <a:pt x="157" y="286"/>
                  </a:lnTo>
                  <a:lnTo>
                    <a:pt x="150" y="286"/>
                  </a:lnTo>
                  <a:lnTo>
                    <a:pt x="142" y="288"/>
                  </a:lnTo>
                  <a:lnTo>
                    <a:pt x="137" y="294"/>
                  </a:lnTo>
                  <a:lnTo>
                    <a:pt x="133" y="298"/>
                  </a:lnTo>
                  <a:lnTo>
                    <a:pt x="130" y="305"/>
                  </a:lnTo>
                  <a:lnTo>
                    <a:pt x="130" y="310"/>
                  </a:lnTo>
                  <a:lnTo>
                    <a:pt x="130" y="323"/>
                  </a:lnTo>
                  <a:lnTo>
                    <a:pt x="130" y="336"/>
                  </a:lnTo>
                  <a:lnTo>
                    <a:pt x="126" y="349"/>
                  </a:lnTo>
                  <a:lnTo>
                    <a:pt x="122" y="360"/>
                  </a:lnTo>
                  <a:lnTo>
                    <a:pt x="122" y="366"/>
                  </a:lnTo>
                  <a:lnTo>
                    <a:pt x="122" y="371"/>
                  </a:lnTo>
                  <a:lnTo>
                    <a:pt x="122" y="375"/>
                  </a:lnTo>
                  <a:lnTo>
                    <a:pt x="124" y="377"/>
                  </a:lnTo>
                  <a:lnTo>
                    <a:pt x="141" y="386"/>
                  </a:lnTo>
                  <a:lnTo>
                    <a:pt x="154" y="397"/>
                  </a:lnTo>
                  <a:lnTo>
                    <a:pt x="154" y="410"/>
                  </a:lnTo>
                  <a:lnTo>
                    <a:pt x="154" y="421"/>
                  </a:lnTo>
                  <a:lnTo>
                    <a:pt x="159" y="427"/>
                  </a:lnTo>
                  <a:lnTo>
                    <a:pt x="165" y="432"/>
                  </a:lnTo>
                  <a:lnTo>
                    <a:pt x="168" y="436"/>
                  </a:lnTo>
                  <a:lnTo>
                    <a:pt x="168" y="442"/>
                  </a:lnTo>
                  <a:lnTo>
                    <a:pt x="168" y="447"/>
                  </a:lnTo>
                  <a:lnTo>
                    <a:pt x="168" y="456"/>
                  </a:lnTo>
                  <a:lnTo>
                    <a:pt x="161" y="469"/>
                  </a:lnTo>
                  <a:lnTo>
                    <a:pt x="155" y="482"/>
                  </a:lnTo>
                  <a:lnTo>
                    <a:pt x="155" y="497"/>
                  </a:lnTo>
                  <a:lnTo>
                    <a:pt x="157" y="510"/>
                  </a:lnTo>
                  <a:lnTo>
                    <a:pt x="157" y="525"/>
                  </a:lnTo>
                  <a:lnTo>
                    <a:pt x="157" y="540"/>
                  </a:lnTo>
                  <a:lnTo>
                    <a:pt x="150" y="553"/>
                  </a:lnTo>
                  <a:lnTo>
                    <a:pt x="141" y="565"/>
                  </a:lnTo>
                  <a:lnTo>
                    <a:pt x="139" y="582"/>
                  </a:lnTo>
                  <a:lnTo>
                    <a:pt x="139" y="595"/>
                  </a:lnTo>
                  <a:lnTo>
                    <a:pt x="144" y="602"/>
                  </a:lnTo>
                  <a:lnTo>
                    <a:pt x="154" y="612"/>
                  </a:lnTo>
                  <a:lnTo>
                    <a:pt x="157" y="615"/>
                  </a:lnTo>
                  <a:lnTo>
                    <a:pt x="159" y="621"/>
                  </a:lnTo>
                  <a:lnTo>
                    <a:pt x="157" y="625"/>
                  </a:lnTo>
                  <a:lnTo>
                    <a:pt x="154" y="628"/>
                  </a:lnTo>
                  <a:lnTo>
                    <a:pt x="148" y="628"/>
                  </a:lnTo>
                  <a:lnTo>
                    <a:pt x="144" y="630"/>
                  </a:lnTo>
                  <a:lnTo>
                    <a:pt x="141" y="628"/>
                  </a:lnTo>
                  <a:lnTo>
                    <a:pt x="139" y="626"/>
                  </a:lnTo>
                  <a:lnTo>
                    <a:pt x="133" y="619"/>
                  </a:lnTo>
                  <a:lnTo>
                    <a:pt x="124" y="604"/>
                  </a:lnTo>
                  <a:lnTo>
                    <a:pt x="124" y="589"/>
                  </a:lnTo>
                  <a:lnTo>
                    <a:pt x="126" y="582"/>
                  </a:lnTo>
                  <a:lnTo>
                    <a:pt x="122" y="575"/>
                  </a:lnTo>
                  <a:lnTo>
                    <a:pt x="111" y="565"/>
                  </a:lnTo>
                  <a:lnTo>
                    <a:pt x="111" y="562"/>
                  </a:lnTo>
                  <a:lnTo>
                    <a:pt x="113" y="558"/>
                  </a:lnTo>
                  <a:lnTo>
                    <a:pt x="117" y="554"/>
                  </a:lnTo>
                  <a:lnTo>
                    <a:pt x="124" y="553"/>
                  </a:lnTo>
                  <a:lnTo>
                    <a:pt x="128" y="540"/>
                  </a:lnTo>
                  <a:lnTo>
                    <a:pt x="133" y="527"/>
                  </a:lnTo>
                  <a:lnTo>
                    <a:pt x="141" y="521"/>
                  </a:lnTo>
                  <a:lnTo>
                    <a:pt x="142" y="514"/>
                  </a:lnTo>
                  <a:lnTo>
                    <a:pt x="142" y="508"/>
                  </a:lnTo>
                  <a:lnTo>
                    <a:pt x="139" y="503"/>
                  </a:lnTo>
                  <a:lnTo>
                    <a:pt x="133" y="508"/>
                  </a:lnTo>
                  <a:lnTo>
                    <a:pt x="130" y="516"/>
                  </a:lnTo>
                  <a:lnTo>
                    <a:pt x="126" y="519"/>
                  </a:lnTo>
                  <a:lnTo>
                    <a:pt x="124" y="521"/>
                  </a:lnTo>
                  <a:lnTo>
                    <a:pt x="118" y="523"/>
                  </a:lnTo>
                  <a:lnTo>
                    <a:pt x="113" y="521"/>
                  </a:lnTo>
                  <a:lnTo>
                    <a:pt x="113" y="514"/>
                  </a:lnTo>
                  <a:lnTo>
                    <a:pt x="115" y="506"/>
                  </a:lnTo>
                  <a:lnTo>
                    <a:pt x="118" y="497"/>
                  </a:lnTo>
                  <a:lnTo>
                    <a:pt x="124" y="490"/>
                  </a:lnTo>
                  <a:lnTo>
                    <a:pt x="124" y="480"/>
                  </a:lnTo>
                  <a:lnTo>
                    <a:pt x="126" y="473"/>
                  </a:lnTo>
                  <a:lnTo>
                    <a:pt x="139" y="471"/>
                  </a:lnTo>
                  <a:lnTo>
                    <a:pt x="155" y="464"/>
                  </a:lnTo>
                  <a:lnTo>
                    <a:pt x="157" y="456"/>
                  </a:lnTo>
                  <a:lnTo>
                    <a:pt x="161" y="449"/>
                  </a:lnTo>
                  <a:lnTo>
                    <a:pt x="159" y="445"/>
                  </a:lnTo>
                  <a:lnTo>
                    <a:pt x="155" y="444"/>
                  </a:lnTo>
                  <a:lnTo>
                    <a:pt x="150" y="442"/>
                  </a:lnTo>
                  <a:lnTo>
                    <a:pt x="142" y="440"/>
                  </a:lnTo>
                  <a:lnTo>
                    <a:pt x="128" y="438"/>
                  </a:lnTo>
                  <a:lnTo>
                    <a:pt x="117" y="434"/>
                  </a:lnTo>
                  <a:lnTo>
                    <a:pt x="109" y="412"/>
                  </a:lnTo>
                  <a:lnTo>
                    <a:pt x="102" y="394"/>
                  </a:lnTo>
                  <a:lnTo>
                    <a:pt x="89" y="377"/>
                  </a:lnTo>
                  <a:lnTo>
                    <a:pt x="74" y="360"/>
                  </a:lnTo>
                  <a:lnTo>
                    <a:pt x="67" y="360"/>
                  </a:lnTo>
                  <a:lnTo>
                    <a:pt x="59" y="360"/>
                  </a:lnTo>
                  <a:lnTo>
                    <a:pt x="58" y="364"/>
                  </a:lnTo>
                  <a:lnTo>
                    <a:pt x="59" y="368"/>
                  </a:lnTo>
                  <a:lnTo>
                    <a:pt x="59" y="371"/>
                  </a:lnTo>
                  <a:lnTo>
                    <a:pt x="63" y="375"/>
                  </a:lnTo>
                  <a:lnTo>
                    <a:pt x="70" y="379"/>
                  </a:lnTo>
                  <a:lnTo>
                    <a:pt x="83" y="381"/>
                  </a:lnTo>
                  <a:lnTo>
                    <a:pt x="83" y="397"/>
                  </a:lnTo>
                  <a:lnTo>
                    <a:pt x="80" y="408"/>
                  </a:lnTo>
                  <a:lnTo>
                    <a:pt x="74" y="414"/>
                  </a:lnTo>
                  <a:lnTo>
                    <a:pt x="69" y="418"/>
                  </a:lnTo>
                  <a:lnTo>
                    <a:pt x="63" y="419"/>
                  </a:lnTo>
                  <a:lnTo>
                    <a:pt x="56" y="421"/>
                  </a:lnTo>
                  <a:lnTo>
                    <a:pt x="52" y="423"/>
                  </a:lnTo>
                  <a:lnTo>
                    <a:pt x="50" y="429"/>
                  </a:lnTo>
                  <a:lnTo>
                    <a:pt x="52" y="436"/>
                  </a:lnTo>
                  <a:lnTo>
                    <a:pt x="56" y="442"/>
                  </a:lnTo>
                  <a:lnTo>
                    <a:pt x="61" y="449"/>
                  </a:lnTo>
                  <a:lnTo>
                    <a:pt x="65" y="455"/>
                  </a:lnTo>
                  <a:lnTo>
                    <a:pt x="70" y="462"/>
                  </a:lnTo>
                  <a:lnTo>
                    <a:pt x="72" y="471"/>
                  </a:lnTo>
                  <a:lnTo>
                    <a:pt x="74" y="480"/>
                  </a:lnTo>
                  <a:lnTo>
                    <a:pt x="74" y="493"/>
                  </a:lnTo>
                  <a:lnTo>
                    <a:pt x="74" y="503"/>
                  </a:lnTo>
                  <a:lnTo>
                    <a:pt x="74" y="512"/>
                  </a:lnTo>
                  <a:lnTo>
                    <a:pt x="72" y="519"/>
                  </a:lnTo>
                  <a:lnTo>
                    <a:pt x="69" y="525"/>
                  </a:lnTo>
                  <a:lnTo>
                    <a:pt x="59" y="525"/>
                  </a:lnTo>
                  <a:lnTo>
                    <a:pt x="48" y="525"/>
                  </a:lnTo>
                  <a:lnTo>
                    <a:pt x="41" y="536"/>
                  </a:lnTo>
                  <a:lnTo>
                    <a:pt x="34" y="543"/>
                  </a:lnTo>
                  <a:lnTo>
                    <a:pt x="28" y="547"/>
                  </a:lnTo>
                  <a:lnTo>
                    <a:pt x="21" y="551"/>
                  </a:lnTo>
                  <a:lnTo>
                    <a:pt x="15" y="553"/>
                  </a:lnTo>
                  <a:lnTo>
                    <a:pt x="9" y="554"/>
                  </a:lnTo>
                  <a:lnTo>
                    <a:pt x="6" y="558"/>
                  </a:lnTo>
                  <a:lnTo>
                    <a:pt x="2" y="564"/>
                  </a:lnTo>
                  <a:lnTo>
                    <a:pt x="0" y="571"/>
                  </a:lnTo>
                  <a:lnTo>
                    <a:pt x="2" y="577"/>
                  </a:lnTo>
                  <a:lnTo>
                    <a:pt x="4" y="580"/>
                  </a:lnTo>
                  <a:lnTo>
                    <a:pt x="6" y="586"/>
                  </a:lnTo>
                  <a:lnTo>
                    <a:pt x="13" y="601"/>
                  </a:lnTo>
                  <a:lnTo>
                    <a:pt x="21" y="625"/>
                  </a:lnTo>
                  <a:lnTo>
                    <a:pt x="26" y="628"/>
                  </a:lnTo>
                  <a:lnTo>
                    <a:pt x="35" y="628"/>
                  </a:lnTo>
                  <a:lnTo>
                    <a:pt x="43" y="628"/>
                  </a:lnTo>
                  <a:lnTo>
                    <a:pt x="52" y="626"/>
                  </a:lnTo>
                  <a:lnTo>
                    <a:pt x="59" y="625"/>
                  </a:lnTo>
                  <a:lnTo>
                    <a:pt x="67" y="623"/>
                  </a:lnTo>
                  <a:lnTo>
                    <a:pt x="72" y="623"/>
                  </a:lnTo>
                  <a:lnTo>
                    <a:pt x="76" y="625"/>
                  </a:lnTo>
                  <a:lnTo>
                    <a:pt x="82" y="638"/>
                  </a:lnTo>
                  <a:lnTo>
                    <a:pt x="82" y="649"/>
                  </a:lnTo>
                  <a:lnTo>
                    <a:pt x="82" y="658"/>
                  </a:lnTo>
                  <a:lnTo>
                    <a:pt x="83" y="667"/>
                  </a:lnTo>
                  <a:lnTo>
                    <a:pt x="85" y="678"/>
                  </a:lnTo>
                  <a:lnTo>
                    <a:pt x="87" y="687"/>
                  </a:lnTo>
                  <a:lnTo>
                    <a:pt x="85" y="697"/>
                  </a:lnTo>
                  <a:lnTo>
                    <a:pt x="83" y="704"/>
                  </a:lnTo>
                  <a:lnTo>
                    <a:pt x="80" y="710"/>
                  </a:lnTo>
                  <a:lnTo>
                    <a:pt x="78" y="711"/>
                  </a:lnTo>
                  <a:lnTo>
                    <a:pt x="85" y="721"/>
                  </a:lnTo>
                  <a:lnTo>
                    <a:pt x="93" y="730"/>
                  </a:lnTo>
                  <a:lnTo>
                    <a:pt x="89" y="739"/>
                  </a:lnTo>
                  <a:lnTo>
                    <a:pt x="83" y="754"/>
                  </a:lnTo>
                  <a:lnTo>
                    <a:pt x="96" y="771"/>
                  </a:lnTo>
                  <a:lnTo>
                    <a:pt x="107" y="787"/>
                  </a:lnTo>
                  <a:lnTo>
                    <a:pt x="111" y="798"/>
                  </a:lnTo>
                  <a:lnTo>
                    <a:pt x="113" y="809"/>
                  </a:lnTo>
                  <a:lnTo>
                    <a:pt x="117" y="819"/>
                  </a:lnTo>
                  <a:lnTo>
                    <a:pt x="122" y="822"/>
                  </a:lnTo>
                  <a:lnTo>
                    <a:pt x="128" y="815"/>
                  </a:lnTo>
                  <a:lnTo>
                    <a:pt x="137" y="800"/>
                  </a:lnTo>
                  <a:lnTo>
                    <a:pt x="148" y="784"/>
                  </a:lnTo>
                  <a:lnTo>
                    <a:pt x="155" y="769"/>
                  </a:lnTo>
                  <a:lnTo>
                    <a:pt x="159" y="761"/>
                  </a:lnTo>
                  <a:lnTo>
                    <a:pt x="167" y="756"/>
                  </a:lnTo>
                  <a:lnTo>
                    <a:pt x="174" y="752"/>
                  </a:lnTo>
                  <a:lnTo>
                    <a:pt x="181" y="750"/>
                  </a:lnTo>
                  <a:lnTo>
                    <a:pt x="185" y="752"/>
                  </a:lnTo>
                  <a:lnTo>
                    <a:pt x="187" y="754"/>
                  </a:lnTo>
                  <a:lnTo>
                    <a:pt x="191" y="758"/>
                  </a:lnTo>
                  <a:lnTo>
                    <a:pt x="192" y="763"/>
                  </a:lnTo>
                  <a:lnTo>
                    <a:pt x="196" y="776"/>
                  </a:lnTo>
                  <a:lnTo>
                    <a:pt x="200" y="789"/>
                  </a:lnTo>
                  <a:lnTo>
                    <a:pt x="202" y="804"/>
                  </a:lnTo>
                  <a:lnTo>
                    <a:pt x="207" y="815"/>
                  </a:lnTo>
                  <a:lnTo>
                    <a:pt x="209" y="820"/>
                  </a:lnTo>
                  <a:lnTo>
                    <a:pt x="213" y="826"/>
                  </a:lnTo>
                  <a:lnTo>
                    <a:pt x="216" y="828"/>
                  </a:lnTo>
                  <a:lnTo>
                    <a:pt x="222" y="830"/>
                  </a:lnTo>
                  <a:lnTo>
                    <a:pt x="240" y="826"/>
                  </a:lnTo>
                  <a:lnTo>
                    <a:pt x="263" y="822"/>
                  </a:lnTo>
                  <a:lnTo>
                    <a:pt x="285" y="826"/>
                  </a:lnTo>
                  <a:lnTo>
                    <a:pt x="309" y="830"/>
                  </a:lnTo>
                  <a:lnTo>
                    <a:pt x="322" y="826"/>
                  </a:lnTo>
                  <a:lnTo>
                    <a:pt x="333" y="819"/>
                  </a:lnTo>
                  <a:lnTo>
                    <a:pt x="342" y="809"/>
                  </a:lnTo>
                  <a:lnTo>
                    <a:pt x="351" y="798"/>
                  </a:lnTo>
                  <a:lnTo>
                    <a:pt x="366" y="780"/>
                  </a:lnTo>
                  <a:lnTo>
                    <a:pt x="379" y="765"/>
                  </a:lnTo>
                  <a:lnTo>
                    <a:pt x="401" y="759"/>
                  </a:lnTo>
                  <a:lnTo>
                    <a:pt x="421" y="756"/>
                  </a:lnTo>
                  <a:lnTo>
                    <a:pt x="423" y="747"/>
                  </a:lnTo>
                  <a:lnTo>
                    <a:pt x="427" y="737"/>
                  </a:lnTo>
                  <a:lnTo>
                    <a:pt x="434" y="735"/>
                  </a:lnTo>
                  <a:lnTo>
                    <a:pt x="442" y="732"/>
                  </a:lnTo>
                  <a:lnTo>
                    <a:pt x="442" y="724"/>
                  </a:lnTo>
                  <a:lnTo>
                    <a:pt x="442" y="713"/>
                  </a:lnTo>
                  <a:lnTo>
                    <a:pt x="440" y="710"/>
                  </a:lnTo>
                  <a:lnTo>
                    <a:pt x="442" y="704"/>
                  </a:lnTo>
                  <a:lnTo>
                    <a:pt x="444" y="700"/>
                  </a:lnTo>
                  <a:lnTo>
                    <a:pt x="445" y="697"/>
                  </a:lnTo>
                  <a:lnTo>
                    <a:pt x="471" y="680"/>
                  </a:lnTo>
                  <a:lnTo>
                    <a:pt x="495" y="665"/>
                  </a:lnTo>
                  <a:lnTo>
                    <a:pt x="508" y="660"/>
                  </a:lnTo>
                  <a:lnTo>
                    <a:pt x="523" y="656"/>
                  </a:lnTo>
                  <a:lnTo>
                    <a:pt x="540" y="654"/>
                  </a:lnTo>
                  <a:lnTo>
                    <a:pt x="556" y="654"/>
                  </a:lnTo>
                  <a:lnTo>
                    <a:pt x="571" y="649"/>
                  </a:lnTo>
                  <a:lnTo>
                    <a:pt x="582" y="639"/>
                  </a:lnTo>
                  <a:lnTo>
                    <a:pt x="590" y="638"/>
                  </a:lnTo>
                  <a:lnTo>
                    <a:pt x="597" y="638"/>
                  </a:lnTo>
                  <a:lnTo>
                    <a:pt x="604" y="639"/>
                  </a:lnTo>
                  <a:lnTo>
                    <a:pt x="614" y="645"/>
                  </a:lnTo>
                  <a:lnTo>
                    <a:pt x="612" y="660"/>
                  </a:lnTo>
                  <a:lnTo>
                    <a:pt x="606" y="673"/>
                  </a:lnTo>
                  <a:lnTo>
                    <a:pt x="625" y="671"/>
                  </a:lnTo>
                  <a:lnTo>
                    <a:pt x="654" y="673"/>
                  </a:lnTo>
                  <a:lnTo>
                    <a:pt x="667" y="678"/>
                  </a:lnTo>
                  <a:lnTo>
                    <a:pt x="686" y="687"/>
                  </a:lnTo>
                  <a:lnTo>
                    <a:pt x="697" y="691"/>
                  </a:lnTo>
                  <a:lnTo>
                    <a:pt x="708" y="693"/>
                  </a:lnTo>
                  <a:lnTo>
                    <a:pt x="719" y="691"/>
                  </a:lnTo>
                  <a:lnTo>
                    <a:pt x="730" y="687"/>
                  </a:lnTo>
                  <a:lnTo>
                    <a:pt x="728" y="684"/>
                  </a:lnTo>
                  <a:lnTo>
                    <a:pt x="726" y="680"/>
                  </a:lnTo>
                  <a:lnTo>
                    <a:pt x="735" y="676"/>
                  </a:lnTo>
                  <a:lnTo>
                    <a:pt x="743" y="674"/>
                  </a:lnTo>
                  <a:lnTo>
                    <a:pt x="748" y="678"/>
                  </a:lnTo>
                  <a:lnTo>
                    <a:pt x="752" y="682"/>
                  </a:lnTo>
                  <a:lnTo>
                    <a:pt x="758" y="684"/>
                  </a:lnTo>
                  <a:lnTo>
                    <a:pt x="761" y="682"/>
                  </a:lnTo>
                  <a:lnTo>
                    <a:pt x="763" y="680"/>
                  </a:lnTo>
                  <a:lnTo>
                    <a:pt x="763" y="678"/>
                  </a:lnTo>
                  <a:lnTo>
                    <a:pt x="763" y="674"/>
                  </a:lnTo>
                  <a:lnTo>
                    <a:pt x="763" y="671"/>
                  </a:lnTo>
                  <a:lnTo>
                    <a:pt x="769" y="667"/>
                  </a:lnTo>
                  <a:lnTo>
                    <a:pt x="774" y="667"/>
                  </a:lnTo>
                  <a:lnTo>
                    <a:pt x="785" y="667"/>
                  </a:lnTo>
                  <a:lnTo>
                    <a:pt x="800" y="667"/>
                  </a:lnTo>
                  <a:lnTo>
                    <a:pt x="820" y="650"/>
                  </a:lnTo>
                  <a:lnTo>
                    <a:pt x="837" y="638"/>
                  </a:lnTo>
                  <a:lnTo>
                    <a:pt x="850" y="639"/>
                  </a:lnTo>
                  <a:lnTo>
                    <a:pt x="865" y="641"/>
                  </a:lnTo>
                  <a:lnTo>
                    <a:pt x="868" y="621"/>
                  </a:lnTo>
                  <a:lnTo>
                    <a:pt x="868" y="601"/>
                  </a:lnTo>
                  <a:lnTo>
                    <a:pt x="872" y="595"/>
                  </a:lnTo>
                  <a:lnTo>
                    <a:pt x="876" y="589"/>
                  </a:lnTo>
                  <a:lnTo>
                    <a:pt x="883" y="586"/>
                  </a:lnTo>
                  <a:lnTo>
                    <a:pt x="894" y="580"/>
                  </a:lnTo>
                  <a:lnTo>
                    <a:pt x="900" y="573"/>
                  </a:lnTo>
                  <a:lnTo>
                    <a:pt x="902" y="562"/>
                  </a:lnTo>
                  <a:lnTo>
                    <a:pt x="924" y="540"/>
                  </a:lnTo>
                  <a:lnTo>
                    <a:pt x="946" y="517"/>
                  </a:lnTo>
                  <a:lnTo>
                    <a:pt x="944" y="512"/>
                  </a:lnTo>
                  <a:lnTo>
                    <a:pt x="942" y="508"/>
                  </a:lnTo>
                  <a:lnTo>
                    <a:pt x="941" y="504"/>
                  </a:lnTo>
                  <a:lnTo>
                    <a:pt x="937" y="501"/>
                  </a:lnTo>
                  <a:lnTo>
                    <a:pt x="929" y="493"/>
                  </a:lnTo>
                  <a:lnTo>
                    <a:pt x="924" y="488"/>
                  </a:lnTo>
                  <a:lnTo>
                    <a:pt x="922" y="471"/>
                  </a:lnTo>
                  <a:lnTo>
                    <a:pt x="920" y="455"/>
                  </a:lnTo>
                  <a:lnTo>
                    <a:pt x="917" y="447"/>
                  </a:lnTo>
                  <a:lnTo>
                    <a:pt x="913" y="442"/>
                  </a:lnTo>
                  <a:lnTo>
                    <a:pt x="909" y="436"/>
                  </a:lnTo>
                  <a:lnTo>
                    <a:pt x="904" y="432"/>
                  </a:lnTo>
                  <a:lnTo>
                    <a:pt x="892" y="425"/>
                  </a:lnTo>
                  <a:lnTo>
                    <a:pt x="883" y="418"/>
                  </a:lnTo>
                  <a:lnTo>
                    <a:pt x="878" y="405"/>
                  </a:lnTo>
                  <a:lnTo>
                    <a:pt x="874" y="390"/>
                  </a:lnTo>
                  <a:lnTo>
                    <a:pt x="868" y="384"/>
                  </a:lnTo>
                  <a:lnTo>
                    <a:pt x="867" y="379"/>
                  </a:lnTo>
                  <a:lnTo>
                    <a:pt x="867" y="373"/>
                  </a:lnTo>
                  <a:lnTo>
                    <a:pt x="868" y="368"/>
                  </a:lnTo>
                  <a:lnTo>
                    <a:pt x="870" y="359"/>
                  </a:lnTo>
                  <a:lnTo>
                    <a:pt x="872" y="351"/>
                  </a:lnTo>
                  <a:lnTo>
                    <a:pt x="865" y="346"/>
                  </a:lnTo>
                  <a:lnTo>
                    <a:pt x="861" y="340"/>
                  </a:lnTo>
                  <a:lnTo>
                    <a:pt x="859" y="334"/>
                  </a:lnTo>
                  <a:lnTo>
                    <a:pt x="859" y="329"/>
                  </a:lnTo>
                  <a:lnTo>
                    <a:pt x="865" y="318"/>
                  </a:lnTo>
                  <a:lnTo>
                    <a:pt x="874" y="30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59" name="Freeform 35"/>
            <p:cNvSpPr>
              <a:spLocks/>
            </p:cNvSpPr>
            <p:nvPr/>
          </p:nvSpPr>
          <p:spPr bwMode="auto">
            <a:xfrm>
              <a:off x="5018216" y="2178523"/>
              <a:ext cx="352731" cy="478368"/>
            </a:xfrm>
            <a:custGeom>
              <a:avLst/>
              <a:gdLst>
                <a:gd name="T0" fmla="*/ 514 w 676"/>
                <a:gd name="T1" fmla="*/ 890 h 940"/>
                <a:gd name="T2" fmla="*/ 543 w 676"/>
                <a:gd name="T3" fmla="*/ 920 h 940"/>
                <a:gd name="T4" fmla="*/ 575 w 676"/>
                <a:gd name="T5" fmla="*/ 940 h 940"/>
                <a:gd name="T6" fmla="*/ 606 w 676"/>
                <a:gd name="T7" fmla="*/ 896 h 940"/>
                <a:gd name="T8" fmla="*/ 588 w 676"/>
                <a:gd name="T9" fmla="*/ 864 h 940"/>
                <a:gd name="T10" fmla="*/ 588 w 676"/>
                <a:gd name="T11" fmla="*/ 840 h 940"/>
                <a:gd name="T12" fmla="*/ 595 w 676"/>
                <a:gd name="T13" fmla="*/ 801 h 940"/>
                <a:gd name="T14" fmla="*/ 568 w 676"/>
                <a:gd name="T15" fmla="*/ 733 h 940"/>
                <a:gd name="T16" fmla="*/ 608 w 676"/>
                <a:gd name="T17" fmla="*/ 694 h 940"/>
                <a:gd name="T18" fmla="*/ 625 w 676"/>
                <a:gd name="T19" fmla="*/ 643 h 940"/>
                <a:gd name="T20" fmla="*/ 621 w 676"/>
                <a:gd name="T21" fmla="*/ 552 h 940"/>
                <a:gd name="T22" fmla="*/ 619 w 676"/>
                <a:gd name="T23" fmla="*/ 535 h 940"/>
                <a:gd name="T24" fmla="*/ 623 w 676"/>
                <a:gd name="T25" fmla="*/ 497 h 940"/>
                <a:gd name="T26" fmla="*/ 676 w 676"/>
                <a:gd name="T27" fmla="*/ 476 h 940"/>
                <a:gd name="T28" fmla="*/ 652 w 676"/>
                <a:gd name="T29" fmla="*/ 458 h 940"/>
                <a:gd name="T30" fmla="*/ 606 w 676"/>
                <a:gd name="T31" fmla="*/ 452 h 940"/>
                <a:gd name="T32" fmla="*/ 586 w 676"/>
                <a:gd name="T33" fmla="*/ 437 h 940"/>
                <a:gd name="T34" fmla="*/ 593 w 676"/>
                <a:gd name="T35" fmla="*/ 408 h 940"/>
                <a:gd name="T36" fmla="*/ 606 w 676"/>
                <a:gd name="T37" fmla="*/ 334 h 940"/>
                <a:gd name="T38" fmla="*/ 586 w 676"/>
                <a:gd name="T39" fmla="*/ 258 h 940"/>
                <a:gd name="T40" fmla="*/ 564 w 676"/>
                <a:gd name="T41" fmla="*/ 240 h 940"/>
                <a:gd name="T42" fmla="*/ 595 w 676"/>
                <a:gd name="T43" fmla="*/ 158 h 940"/>
                <a:gd name="T44" fmla="*/ 566 w 676"/>
                <a:gd name="T45" fmla="*/ 53 h 940"/>
                <a:gd name="T46" fmla="*/ 558 w 676"/>
                <a:gd name="T47" fmla="*/ 29 h 940"/>
                <a:gd name="T48" fmla="*/ 545 w 676"/>
                <a:gd name="T49" fmla="*/ 44 h 940"/>
                <a:gd name="T50" fmla="*/ 510 w 676"/>
                <a:gd name="T51" fmla="*/ 42 h 940"/>
                <a:gd name="T52" fmla="*/ 470 w 676"/>
                <a:gd name="T53" fmla="*/ 49 h 940"/>
                <a:gd name="T54" fmla="*/ 398 w 676"/>
                <a:gd name="T55" fmla="*/ 7 h 940"/>
                <a:gd name="T56" fmla="*/ 340 w 676"/>
                <a:gd name="T57" fmla="*/ 16 h 940"/>
                <a:gd name="T58" fmla="*/ 229 w 676"/>
                <a:gd name="T59" fmla="*/ 59 h 940"/>
                <a:gd name="T60" fmla="*/ 226 w 676"/>
                <a:gd name="T61" fmla="*/ 94 h 940"/>
                <a:gd name="T62" fmla="*/ 163 w 676"/>
                <a:gd name="T63" fmla="*/ 127 h 940"/>
                <a:gd name="T64" fmla="*/ 93 w 676"/>
                <a:gd name="T65" fmla="*/ 221 h 940"/>
                <a:gd name="T66" fmla="*/ 23 w 676"/>
                <a:gd name="T67" fmla="*/ 271 h 940"/>
                <a:gd name="T68" fmla="*/ 0 w 676"/>
                <a:gd name="T69" fmla="*/ 341 h 940"/>
                <a:gd name="T70" fmla="*/ 4 w 676"/>
                <a:gd name="T71" fmla="*/ 393 h 940"/>
                <a:gd name="T72" fmla="*/ 19 w 676"/>
                <a:gd name="T73" fmla="*/ 415 h 940"/>
                <a:gd name="T74" fmla="*/ 67 w 676"/>
                <a:gd name="T75" fmla="*/ 445 h 940"/>
                <a:gd name="T76" fmla="*/ 100 w 676"/>
                <a:gd name="T77" fmla="*/ 478 h 940"/>
                <a:gd name="T78" fmla="*/ 93 w 676"/>
                <a:gd name="T79" fmla="*/ 567 h 940"/>
                <a:gd name="T80" fmla="*/ 43 w 676"/>
                <a:gd name="T81" fmla="*/ 587 h 940"/>
                <a:gd name="T82" fmla="*/ 26 w 676"/>
                <a:gd name="T83" fmla="*/ 654 h 940"/>
                <a:gd name="T84" fmla="*/ 39 w 676"/>
                <a:gd name="T85" fmla="*/ 752 h 940"/>
                <a:gd name="T86" fmla="*/ 78 w 676"/>
                <a:gd name="T87" fmla="*/ 753 h 940"/>
                <a:gd name="T88" fmla="*/ 108 w 676"/>
                <a:gd name="T89" fmla="*/ 707 h 940"/>
                <a:gd name="T90" fmla="*/ 120 w 676"/>
                <a:gd name="T91" fmla="*/ 718 h 940"/>
                <a:gd name="T92" fmla="*/ 161 w 676"/>
                <a:gd name="T93" fmla="*/ 733 h 940"/>
                <a:gd name="T94" fmla="*/ 191 w 676"/>
                <a:gd name="T95" fmla="*/ 774 h 940"/>
                <a:gd name="T96" fmla="*/ 174 w 676"/>
                <a:gd name="T97" fmla="*/ 822 h 940"/>
                <a:gd name="T98" fmla="*/ 205 w 676"/>
                <a:gd name="T99" fmla="*/ 866 h 940"/>
                <a:gd name="T100" fmla="*/ 246 w 676"/>
                <a:gd name="T101" fmla="*/ 870 h 940"/>
                <a:gd name="T102" fmla="*/ 263 w 676"/>
                <a:gd name="T103" fmla="*/ 853 h 940"/>
                <a:gd name="T104" fmla="*/ 342 w 676"/>
                <a:gd name="T105" fmla="*/ 851 h 940"/>
                <a:gd name="T106" fmla="*/ 374 w 676"/>
                <a:gd name="T107" fmla="*/ 831 h 940"/>
                <a:gd name="T108" fmla="*/ 459 w 676"/>
                <a:gd name="T109" fmla="*/ 855 h 940"/>
                <a:gd name="T110" fmla="*/ 486 w 676"/>
                <a:gd name="T111" fmla="*/ 874 h 9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76"/>
                <a:gd name="T169" fmla="*/ 0 h 940"/>
                <a:gd name="T170" fmla="*/ 676 w 676"/>
                <a:gd name="T171" fmla="*/ 940 h 94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76" h="940">
                  <a:moveTo>
                    <a:pt x="492" y="901"/>
                  </a:moveTo>
                  <a:lnTo>
                    <a:pt x="495" y="899"/>
                  </a:lnTo>
                  <a:lnTo>
                    <a:pt x="499" y="899"/>
                  </a:lnTo>
                  <a:lnTo>
                    <a:pt x="505" y="890"/>
                  </a:lnTo>
                  <a:lnTo>
                    <a:pt x="510" y="888"/>
                  </a:lnTo>
                  <a:lnTo>
                    <a:pt x="514" y="890"/>
                  </a:lnTo>
                  <a:lnTo>
                    <a:pt x="518" y="896"/>
                  </a:lnTo>
                  <a:lnTo>
                    <a:pt x="523" y="911"/>
                  </a:lnTo>
                  <a:lnTo>
                    <a:pt x="527" y="920"/>
                  </a:lnTo>
                  <a:lnTo>
                    <a:pt x="531" y="920"/>
                  </a:lnTo>
                  <a:lnTo>
                    <a:pt x="538" y="918"/>
                  </a:lnTo>
                  <a:lnTo>
                    <a:pt x="543" y="920"/>
                  </a:lnTo>
                  <a:lnTo>
                    <a:pt x="549" y="923"/>
                  </a:lnTo>
                  <a:lnTo>
                    <a:pt x="551" y="927"/>
                  </a:lnTo>
                  <a:lnTo>
                    <a:pt x="555" y="933"/>
                  </a:lnTo>
                  <a:lnTo>
                    <a:pt x="558" y="935"/>
                  </a:lnTo>
                  <a:lnTo>
                    <a:pt x="564" y="938"/>
                  </a:lnTo>
                  <a:lnTo>
                    <a:pt x="575" y="940"/>
                  </a:lnTo>
                  <a:lnTo>
                    <a:pt x="580" y="938"/>
                  </a:lnTo>
                  <a:lnTo>
                    <a:pt x="584" y="925"/>
                  </a:lnTo>
                  <a:lnTo>
                    <a:pt x="588" y="911"/>
                  </a:lnTo>
                  <a:lnTo>
                    <a:pt x="595" y="905"/>
                  </a:lnTo>
                  <a:lnTo>
                    <a:pt x="601" y="901"/>
                  </a:lnTo>
                  <a:lnTo>
                    <a:pt x="606" y="896"/>
                  </a:lnTo>
                  <a:lnTo>
                    <a:pt x="608" y="890"/>
                  </a:lnTo>
                  <a:lnTo>
                    <a:pt x="606" y="881"/>
                  </a:lnTo>
                  <a:lnTo>
                    <a:pt x="604" y="874"/>
                  </a:lnTo>
                  <a:lnTo>
                    <a:pt x="599" y="870"/>
                  </a:lnTo>
                  <a:lnTo>
                    <a:pt x="593" y="866"/>
                  </a:lnTo>
                  <a:lnTo>
                    <a:pt x="588" y="864"/>
                  </a:lnTo>
                  <a:lnTo>
                    <a:pt x="584" y="861"/>
                  </a:lnTo>
                  <a:lnTo>
                    <a:pt x="580" y="857"/>
                  </a:lnTo>
                  <a:lnTo>
                    <a:pt x="579" y="851"/>
                  </a:lnTo>
                  <a:lnTo>
                    <a:pt x="580" y="848"/>
                  </a:lnTo>
                  <a:lnTo>
                    <a:pt x="584" y="844"/>
                  </a:lnTo>
                  <a:lnTo>
                    <a:pt x="588" y="840"/>
                  </a:lnTo>
                  <a:lnTo>
                    <a:pt x="593" y="837"/>
                  </a:lnTo>
                  <a:lnTo>
                    <a:pt x="599" y="831"/>
                  </a:lnTo>
                  <a:lnTo>
                    <a:pt x="603" y="824"/>
                  </a:lnTo>
                  <a:lnTo>
                    <a:pt x="606" y="814"/>
                  </a:lnTo>
                  <a:lnTo>
                    <a:pt x="606" y="803"/>
                  </a:lnTo>
                  <a:lnTo>
                    <a:pt x="595" y="801"/>
                  </a:lnTo>
                  <a:lnTo>
                    <a:pt x="582" y="798"/>
                  </a:lnTo>
                  <a:lnTo>
                    <a:pt x="575" y="792"/>
                  </a:lnTo>
                  <a:lnTo>
                    <a:pt x="571" y="783"/>
                  </a:lnTo>
                  <a:lnTo>
                    <a:pt x="568" y="772"/>
                  </a:lnTo>
                  <a:lnTo>
                    <a:pt x="566" y="755"/>
                  </a:lnTo>
                  <a:lnTo>
                    <a:pt x="568" y="733"/>
                  </a:lnTo>
                  <a:lnTo>
                    <a:pt x="568" y="718"/>
                  </a:lnTo>
                  <a:lnTo>
                    <a:pt x="577" y="711"/>
                  </a:lnTo>
                  <a:lnTo>
                    <a:pt x="590" y="705"/>
                  </a:lnTo>
                  <a:lnTo>
                    <a:pt x="597" y="702"/>
                  </a:lnTo>
                  <a:lnTo>
                    <a:pt x="603" y="698"/>
                  </a:lnTo>
                  <a:lnTo>
                    <a:pt x="608" y="694"/>
                  </a:lnTo>
                  <a:lnTo>
                    <a:pt x="610" y="689"/>
                  </a:lnTo>
                  <a:lnTo>
                    <a:pt x="606" y="683"/>
                  </a:lnTo>
                  <a:lnTo>
                    <a:pt x="604" y="670"/>
                  </a:lnTo>
                  <a:lnTo>
                    <a:pt x="616" y="661"/>
                  </a:lnTo>
                  <a:lnTo>
                    <a:pt x="625" y="652"/>
                  </a:lnTo>
                  <a:lnTo>
                    <a:pt x="625" y="643"/>
                  </a:lnTo>
                  <a:lnTo>
                    <a:pt x="623" y="631"/>
                  </a:lnTo>
                  <a:lnTo>
                    <a:pt x="627" y="617"/>
                  </a:lnTo>
                  <a:lnTo>
                    <a:pt x="632" y="604"/>
                  </a:lnTo>
                  <a:lnTo>
                    <a:pt x="619" y="576"/>
                  </a:lnTo>
                  <a:lnTo>
                    <a:pt x="612" y="556"/>
                  </a:lnTo>
                  <a:lnTo>
                    <a:pt x="621" y="552"/>
                  </a:lnTo>
                  <a:lnTo>
                    <a:pt x="628" y="548"/>
                  </a:lnTo>
                  <a:lnTo>
                    <a:pt x="628" y="541"/>
                  </a:lnTo>
                  <a:lnTo>
                    <a:pt x="628" y="537"/>
                  </a:lnTo>
                  <a:lnTo>
                    <a:pt x="627" y="535"/>
                  </a:lnTo>
                  <a:lnTo>
                    <a:pt x="625" y="535"/>
                  </a:lnTo>
                  <a:lnTo>
                    <a:pt x="619" y="535"/>
                  </a:lnTo>
                  <a:lnTo>
                    <a:pt x="616" y="535"/>
                  </a:lnTo>
                  <a:lnTo>
                    <a:pt x="616" y="524"/>
                  </a:lnTo>
                  <a:lnTo>
                    <a:pt x="621" y="517"/>
                  </a:lnTo>
                  <a:lnTo>
                    <a:pt x="623" y="511"/>
                  </a:lnTo>
                  <a:lnTo>
                    <a:pt x="623" y="506"/>
                  </a:lnTo>
                  <a:lnTo>
                    <a:pt x="623" y="497"/>
                  </a:lnTo>
                  <a:lnTo>
                    <a:pt x="621" y="484"/>
                  </a:lnTo>
                  <a:lnTo>
                    <a:pt x="636" y="486"/>
                  </a:lnTo>
                  <a:lnTo>
                    <a:pt x="667" y="486"/>
                  </a:lnTo>
                  <a:lnTo>
                    <a:pt x="671" y="484"/>
                  </a:lnTo>
                  <a:lnTo>
                    <a:pt x="675" y="480"/>
                  </a:lnTo>
                  <a:lnTo>
                    <a:pt x="676" y="476"/>
                  </a:lnTo>
                  <a:lnTo>
                    <a:pt x="676" y="474"/>
                  </a:lnTo>
                  <a:lnTo>
                    <a:pt x="675" y="467"/>
                  </a:lnTo>
                  <a:lnTo>
                    <a:pt x="669" y="461"/>
                  </a:lnTo>
                  <a:lnTo>
                    <a:pt x="669" y="463"/>
                  </a:lnTo>
                  <a:lnTo>
                    <a:pt x="662" y="460"/>
                  </a:lnTo>
                  <a:lnTo>
                    <a:pt x="652" y="458"/>
                  </a:lnTo>
                  <a:lnTo>
                    <a:pt x="641" y="458"/>
                  </a:lnTo>
                  <a:lnTo>
                    <a:pt x="632" y="460"/>
                  </a:lnTo>
                  <a:lnTo>
                    <a:pt x="625" y="454"/>
                  </a:lnTo>
                  <a:lnTo>
                    <a:pt x="619" y="449"/>
                  </a:lnTo>
                  <a:lnTo>
                    <a:pt x="612" y="449"/>
                  </a:lnTo>
                  <a:lnTo>
                    <a:pt x="606" y="452"/>
                  </a:lnTo>
                  <a:lnTo>
                    <a:pt x="603" y="452"/>
                  </a:lnTo>
                  <a:lnTo>
                    <a:pt x="599" y="452"/>
                  </a:lnTo>
                  <a:lnTo>
                    <a:pt x="595" y="450"/>
                  </a:lnTo>
                  <a:lnTo>
                    <a:pt x="588" y="445"/>
                  </a:lnTo>
                  <a:lnTo>
                    <a:pt x="586" y="441"/>
                  </a:lnTo>
                  <a:lnTo>
                    <a:pt x="586" y="437"/>
                  </a:lnTo>
                  <a:lnTo>
                    <a:pt x="586" y="434"/>
                  </a:lnTo>
                  <a:lnTo>
                    <a:pt x="590" y="430"/>
                  </a:lnTo>
                  <a:lnTo>
                    <a:pt x="595" y="423"/>
                  </a:lnTo>
                  <a:lnTo>
                    <a:pt x="603" y="419"/>
                  </a:lnTo>
                  <a:lnTo>
                    <a:pt x="597" y="413"/>
                  </a:lnTo>
                  <a:lnTo>
                    <a:pt x="593" y="408"/>
                  </a:lnTo>
                  <a:lnTo>
                    <a:pt x="608" y="389"/>
                  </a:lnTo>
                  <a:lnTo>
                    <a:pt x="625" y="364"/>
                  </a:lnTo>
                  <a:lnTo>
                    <a:pt x="616" y="356"/>
                  </a:lnTo>
                  <a:lnTo>
                    <a:pt x="612" y="347"/>
                  </a:lnTo>
                  <a:lnTo>
                    <a:pt x="608" y="341"/>
                  </a:lnTo>
                  <a:lnTo>
                    <a:pt x="606" y="334"/>
                  </a:lnTo>
                  <a:lnTo>
                    <a:pt x="593" y="321"/>
                  </a:lnTo>
                  <a:lnTo>
                    <a:pt x="580" y="306"/>
                  </a:lnTo>
                  <a:lnTo>
                    <a:pt x="584" y="288"/>
                  </a:lnTo>
                  <a:lnTo>
                    <a:pt x="588" y="271"/>
                  </a:lnTo>
                  <a:lnTo>
                    <a:pt x="588" y="264"/>
                  </a:lnTo>
                  <a:lnTo>
                    <a:pt x="586" y="258"/>
                  </a:lnTo>
                  <a:lnTo>
                    <a:pt x="580" y="255"/>
                  </a:lnTo>
                  <a:lnTo>
                    <a:pt x="577" y="253"/>
                  </a:lnTo>
                  <a:lnTo>
                    <a:pt x="571" y="249"/>
                  </a:lnTo>
                  <a:lnTo>
                    <a:pt x="568" y="247"/>
                  </a:lnTo>
                  <a:lnTo>
                    <a:pt x="566" y="243"/>
                  </a:lnTo>
                  <a:lnTo>
                    <a:pt x="564" y="240"/>
                  </a:lnTo>
                  <a:lnTo>
                    <a:pt x="584" y="232"/>
                  </a:lnTo>
                  <a:lnTo>
                    <a:pt x="603" y="225"/>
                  </a:lnTo>
                  <a:lnTo>
                    <a:pt x="603" y="212"/>
                  </a:lnTo>
                  <a:lnTo>
                    <a:pt x="601" y="195"/>
                  </a:lnTo>
                  <a:lnTo>
                    <a:pt x="597" y="179"/>
                  </a:lnTo>
                  <a:lnTo>
                    <a:pt x="595" y="158"/>
                  </a:lnTo>
                  <a:lnTo>
                    <a:pt x="593" y="131"/>
                  </a:lnTo>
                  <a:lnTo>
                    <a:pt x="592" y="107"/>
                  </a:lnTo>
                  <a:lnTo>
                    <a:pt x="588" y="86"/>
                  </a:lnTo>
                  <a:lnTo>
                    <a:pt x="582" y="70"/>
                  </a:lnTo>
                  <a:lnTo>
                    <a:pt x="575" y="61"/>
                  </a:lnTo>
                  <a:lnTo>
                    <a:pt x="566" y="53"/>
                  </a:lnTo>
                  <a:lnTo>
                    <a:pt x="562" y="48"/>
                  </a:lnTo>
                  <a:lnTo>
                    <a:pt x="558" y="44"/>
                  </a:lnTo>
                  <a:lnTo>
                    <a:pt x="558" y="36"/>
                  </a:lnTo>
                  <a:lnTo>
                    <a:pt x="558" y="29"/>
                  </a:lnTo>
                  <a:lnTo>
                    <a:pt x="553" y="29"/>
                  </a:lnTo>
                  <a:lnTo>
                    <a:pt x="547" y="33"/>
                  </a:lnTo>
                  <a:lnTo>
                    <a:pt x="547" y="36"/>
                  </a:lnTo>
                  <a:lnTo>
                    <a:pt x="547" y="40"/>
                  </a:lnTo>
                  <a:lnTo>
                    <a:pt x="547" y="42"/>
                  </a:lnTo>
                  <a:lnTo>
                    <a:pt x="545" y="44"/>
                  </a:lnTo>
                  <a:lnTo>
                    <a:pt x="542" y="46"/>
                  </a:lnTo>
                  <a:lnTo>
                    <a:pt x="536" y="44"/>
                  </a:lnTo>
                  <a:lnTo>
                    <a:pt x="532" y="40"/>
                  </a:lnTo>
                  <a:lnTo>
                    <a:pt x="527" y="36"/>
                  </a:lnTo>
                  <a:lnTo>
                    <a:pt x="519" y="38"/>
                  </a:lnTo>
                  <a:lnTo>
                    <a:pt x="510" y="42"/>
                  </a:lnTo>
                  <a:lnTo>
                    <a:pt x="512" y="46"/>
                  </a:lnTo>
                  <a:lnTo>
                    <a:pt x="514" y="49"/>
                  </a:lnTo>
                  <a:lnTo>
                    <a:pt x="503" y="53"/>
                  </a:lnTo>
                  <a:lnTo>
                    <a:pt x="492" y="55"/>
                  </a:lnTo>
                  <a:lnTo>
                    <a:pt x="481" y="53"/>
                  </a:lnTo>
                  <a:lnTo>
                    <a:pt x="470" y="49"/>
                  </a:lnTo>
                  <a:lnTo>
                    <a:pt x="451" y="40"/>
                  </a:lnTo>
                  <a:lnTo>
                    <a:pt x="438" y="35"/>
                  </a:lnTo>
                  <a:lnTo>
                    <a:pt x="409" y="33"/>
                  </a:lnTo>
                  <a:lnTo>
                    <a:pt x="390" y="35"/>
                  </a:lnTo>
                  <a:lnTo>
                    <a:pt x="396" y="22"/>
                  </a:lnTo>
                  <a:lnTo>
                    <a:pt x="398" y="7"/>
                  </a:lnTo>
                  <a:lnTo>
                    <a:pt x="388" y="1"/>
                  </a:lnTo>
                  <a:lnTo>
                    <a:pt x="381" y="0"/>
                  </a:lnTo>
                  <a:lnTo>
                    <a:pt x="374" y="0"/>
                  </a:lnTo>
                  <a:lnTo>
                    <a:pt x="366" y="1"/>
                  </a:lnTo>
                  <a:lnTo>
                    <a:pt x="355" y="11"/>
                  </a:lnTo>
                  <a:lnTo>
                    <a:pt x="340" y="16"/>
                  </a:lnTo>
                  <a:lnTo>
                    <a:pt x="324" y="16"/>
                  </a:lnTo>
                  <a:lnTo>
                    <a:pt x="307" y="18"/>
                  </a:lnTo>
                  <a:lnTo>
                    <a:pt x="292" y="22"/>
                  </a:lnTo>
                  <a:lnTo>
                    <a:pt x="279" y="27"/>
                  </a:lnTo>
                  <a:lnTo>
                    <a:pt x="255" y="42"/>
                  </a:lnTo>
                  <a:lnTo>
                    <a:pt x="229" y="59"/>
                  </a:lnTo>
                  <a:lnTo>
                    <a:pt x="228" y="62"/>
                  </a:lnTo>
                  <a:lnTo>
                    <a:pt x="226" y="66"/>
                  </a:lnTo>
                  <a:lnTo>
                    <a:pt x="224" y="72"/>
                  </a:lnTo>
                  <a:lnTo>
                    <a:pt x="226" y="75"/>
                  </a:lnTo>
                  <a:lnTo>
                    <a:pt x="226" y="86"/>
                  </a:lnTo>
                  <a:lnTo>
                    <a:pt x="226" y="94"/>
                  </a:lnTo>
                  <a:lnTo>
                    <a:pt x="218" y="97"/>
                  </a:lnTo>
                  <a:lnTo>
                    <a:pt x="211" y="99"/>
                  </a:lnTo>
                  <a:lnTo>
                    <a:pt x="207" y="109"/>
                  </a:lnTo>
                  <a:lnTo>
                    <a:pt x="205" y="118"/>
                  </a:lnTo>
                  <a:lnTo>
                    <a:pt x="185" y="121"/>
                  </a:lnTo>
                  <a:lnTo>
                    <a:pt x="163" y="127"/>
                  </a:lnTo>
                  <a:lnTo>
                    <a:pt x="143" y="151"/>
                  </a:lnTo>
                  <a:lnTo>
                    <a:pt x="115" y="182"/>
                  </a:lnTo>
                  <a:lnTo>
                    <a:pt x="109" y="195"/>
                  </a:lnTo>
                  <a:lnTo>
                    <a:pt x="104" y="205"/>
                  </a:lnTo>
                  <a:lnTo>
                    <a:pt x="98" y="214"/>
                  </a:lnTo>
                  <a:lnTo>
                    <a:pt x="93" y="221"/>
                  </a:lnTo>
                  <a:lnTo>
                    <a:pt x="82" y="234"/>
                  </a:lnTo>
                  <a:lnTo>
                    <a:pt x="71" y="242"/>
                  </a:lnTo>
                  <a:lnTo>
                    <a:pt x="58" y="247"/>
                  </a:lnTo>
                  <a:lnTo>
                    <a:pt x="45" y="253"/>
                  </a:lnTo>
                  <a:lnTo>
                    <a:pt x="34" y="260"/>
                  </a:lnTo>
                  <a:lnTo>
                    <a:pt x="23" y="271"/>
                  </a:lnTo>
                  <a:lnTo>
                    <a:pt x="17" y="280"/>
                  </a:lnTo>
                  <a:lnTo>
                    <a:pt x="13" y="293"/>
                  </a:lnTo>
                  <a:lnTo>
                    <a:pt x="11" y="306"/>
                  </a:lnTo>
                  <a:lnTo>
                    <a:pt x="8" y="321"/>
                  </a:lnTo>
                  <a:lnTo>
                    <a:pt x="2" y="330"/>
                  </a:lnTo>
                  <a:lnTo>
                    <a:pt x="0" y="341"/>
                  </a:lnTo>
                  <a:lnTo>
                    <a:pt x="10" y="354"/>
                  </a:lnTo>
                  <a:lnTo>
                    <a:pt x="17" y="369"/>
                  </a:lnTo>
                  <a:lnTo>
                    <a:pt x="15" y="376"/>
                  </a:lnTo>
                  <a:lnTo>
                    <a:pt x="8" y="384"/>
                  </a:lnTo>
                  <a:lnTo>
                    <a:pt x="6" y="389"/>
                  </a:lnTo>
                  <a:lnTo>
                    <a:pt x="4" y="393"/>
                  </a:lnTo>
                  <a:lnTo>
                    <a:pt x="2" y="397"/>
                  </a:lnTo>
                  <a:lnTo>
                    <a:pt x="4" y="402"/>
                  </a:lnTo>
                  <a:lnTo>
                    <a:pt x="8" y="408"/>
                  </a:lnTo>
                  <a:lnTo>
                    <a:pt x="11" y="412"/>
                  </a:lnTo>
                  <a:lnTo>
                    <a:pt x="15" y="415"/>
                  </a:lnTo>
                  <a:lnTo>
                    <a:pt x="19" y="415"/>
                  </a:lnTo>
                  <a:lnTo>
                    <a:pt x="26" y="417"/>
                  </a:lnTo>
                  <a:lnTo>
                    <a:pt x="32" y="419"/>
                  </a:lnTo>
                  <a:lnTo>
                    <a:pt x="39" y="428"/>
                  </a:lnTo>
                  <a:lnTo>
                    <a:pt x="48" y="436"/>
                  </a:lnTo>
                  <a:lnTo>
                    <a:pt x="58" y="441"/>
                  </a:lnTo>
                  <a:lnTo>
                    <a:pt x="67" y="445"/>
                  </a:lnTo>
                  <a:lnTo>
                    <a:pt x="74" y="449"/>
                  </a:lnTo>
                  <a:lnTo>
                    <a:pt x="84" y="452"/>
                  </a:lnTo>
                  <a:lnTo>
                    <a:pt x="89" y="456"/>
                  </a:lnTo>
                  <a:lnTo>
                    <a:pt x="96" y="463"/>
                  </a:lnTo>
                  <a:lnTo>
                    <a:pt x="98" y="469"/>
                  </a:lnTo>
                  <a:lnTo>
                    <a:pt x="100" y="478"/>
                  </a:lnTo>
                  <a:lnTo>
                    <a:pt x="100" y="487"/>
                  </a:lnTo>
                  <a:lnTo>
                    <a:pt x="98" y="500"/>
                  </a:lnTo>
                  <a:lnTo>
                    <a:pt x="93" y="524"/>
                  </a:lnTo>
                  <a:lnTo>
                    <a:pt x="89" y="548"/>
                  </a:lnTo>
                  <a:lnTo>
                    <a:pt x="91" y="558"/>
                  </a:lnTo>
                  <a:lnTo>
                    <a:pt x="93" y="567"/>
                  </a:lnTo>
                  <a:lnTo>
                    <a:pt x="93" y="571"/>
                  </a:lnTo>
                  <a:lnTo>
                    <a:pt x="93" y="576"/>
                  </a:lnTo>
                  <a:lnTo>
                    <a:pt x="91" y="580"/>
                  </a:lnTo>
                  <a:lnTo>
                    <a:pt x="89" y="585"/>
                  </a:lnTo>
                  <a:lnTo>
                    <a:pt x="67" y="587"/>
                  </a:lnTo>
                  <a:lnTo>
                    <a:pt x="43" y="587"/>
                  </a:lnTo>
                  <a:lnTo>
                    <a:pt x="32" y="591"/>
                  </a:lnTo>
                  <a:lnTo>
                    <a:pt x="23" y="595"/>
                  </a:lnTo>
                  <a:lnTo>
                    <a:pt x="13" y="600"/>
                  </a:lnTo>
                  <a:lnTo>
                    <a:pt x="8" y="609"/>
                  </a:lnTo>
                  <a:lnTo>
                    <a:pt x="15" y="626"/>
                  </a:lnTo>
                  <a:lnTo>
                    <a:pt x="26" y="654"/>
                  </a:lnTo>
                  <a:lnTo>
                    <a:pt x="23" y="672"/>
                  </a:lnTo>
                  <a:lnTo>
                    <a:pt x="23" y="691"/>
                  </a:lnTo>
                  <a:lnTo>
                    <a:pt x="23" y="707"/>
                  </a:lnTo>
                  <a:lnTo>
                    <a:pt x="26" y="726"/>
                  </a:lnTo>
                  <a:lnTo>
                    <a:pt x="32" y="741"/>
                  </a:lnTo>
                  <a:lnTo>
                    <a:pt x="39" y="752"/>
                  </a:lnTo>
                  <a:lnTo>
                    <a:pt x="43" y="755"/>
                  </a:lnTo>
                  <a:lnTo>
                    <a:pt x="47" y="759"/>
                  </a:lnTo>
                  <a:lnTo>
                    <a:pt x="52" y="763"/>
                  </a:lnTo>
                  <a:lnTo>
                    <a:pt x="56" y="763"/>
                  </a:lnTo>
                  <a:lnTo>
                    <a:pt x="69" y="759"/>
                  </a:lnTo>
                  <a:lnTo>
                    <a:pt x="78" y="753"/>
                  </a:lnTo>
                  <a:lnTo>
                    <a:pt x="85" y="746"/>
                  </a:lnTo>
                  <a:lnTo>
                    <a:pt x="93" y="741"/>
                  </a:lnTo>
                  <a:lnTo>
                    <a:pt x="100" y="726"/>
                  </a:lnTo>
                  <a:lnTo>
                    <a:pt x="104" y="713"/>
                  </a:lnTo>
                  <a:lnTo>
                    <a:pt x="106" y="711"/>
                  </a:lnTo>
                  <a:lnTo>
                    <a:pt x="108" y="707"/>
                  </a:lnTo>
                  <a:lnTo>
                    <a:pt x="109" y="707"/>
                  </a:lnTo>
                  <a:lnTo>
                    <a:pt x="113" y="707"/>
                  </a:lnTo>
                  <a:lnTo>
                    <a:pt x="117" y="709"/>
                  </a:lnTo>
                  <a:lnTo>
                    <a:pt x="119" y="711"/>
                  </a:lnTo>
                  <a:lnTo>
                    <a:pt x="120" y="715"/>
                  </a:lnTo>
                  <a:lnTo>
                    <a:pt x="120" y="718"/>
                  </a:lnTo>
                  <a:lnTo>
                    <a:pt x="120" y="724"/>
                  </a:lnTo>
                  <a:lnTo>
                    <a:pt x="122" y="729"/>
                  </a:lnTo>
                  <a:lnTo>
                    <a:pt x="126" y="733"/>
                  </a:lnTo>
                  <a:lnTo>
                    <a:pt x="133" y="735"/>
                  </a:lnTo>
                  <a:lnTo>
                    <a:pt x="146" y="733"/>
                  </a:lnTo>
                  <a:lnTo>
                    <a:pt x="161" y="733"/>
                  </a:lnTo>
                  <a:lnTo>
                    <a:pt x="170" y="735"/>
                  </a:lnTo>
                  <a:lnTo>
                    <a:pt x="178" y="739"/>
                  </a:lnTo>
                  <a:lnTo>
                    <a:pt x="183" y="746"/>
                  </a:lnTo>
                  <a:lnTo>
                    <a:pt x="189" y="755"/>
                  </a:lnTo>
                  <a:lnTo>
                    <a:pt x="191" y="765"/>
                  </a:lnTo>
                  <a:lnTo>
                    <a:pt x="191" y="774"/>
                  </a:lnTo>
                  <a:lnTo>
                    <a:pt x="189" y="779"/>
                  </a:lnTo>
                  <a:lnTo>
                    <a:pt x="185" y="783"/>
                  </a:lnTo>
                  <a:lnTo>
                    <a:pt x="178" y="790"/>
                  </a:lnTo>
                  <a:lnTo>
                    <a:pt x="170" y="800"/>
                  </a:lnTo>
                  <a:lnTo>
                    <a:pt x="172" y="811"/>
                  </a:lnTo>
                  <a:lnTo>
                    <a:pt x="174" y="822"/>
                  </a:lnTo>
                  <a:lnTo>
                    <a:pt x="176" y="835"/>
                  </a:lnTo>
                  <a:lnTo>
                    <a:pt x="180" y="844"/>
                  </a:lnTo>
                  <a:lnTo>
                    <a:pt x="183" y="853"/>
                  </a:lnTo>
                  <a:lnTo>
                    <a:pt x="191" y="857"/>
                  </a:lnTo>
                  <a:lnTo>
                    <a:pt x="198" y="862"/>
                  </a:lnTo>
                  <a:lnTo>
                    <a:pt x="205" y="866"/>
                  </a:lnTo>
                  <a:lnTo>
                    <a:pt x="217" y="862"/>
                  </a:lnTo>
                  <a:lnTo>
                    <a:pt x="226" y="859"/>
                  </a:lnTo>
                  <a:lnTo>
                    <a:pt x="233" y="861"/>
                  </a:lnTo>
                  <a:lnTo>
                    <a:pt x="237" y="866"/>
                  </a:lnTo>
                  <a:lnTo>
                    <a:pt x="241" y="868"/>
                  </a:lnTo>
                  <a:lnTo>
                    <a:pt x="246" y="870"/>
                  </a:lnTo>
                  <a:lnTo>
                    <a:pt x="253" y="868"/>
                  </a:lnTo>
                  <a:lnTo>
                    <a:pt x="263" y="866"/>
                  </a:lnTo>
                  <a:lnTo>
                    <a:pt x="265" y="862"/>
                  </a:lnTo>
                  <a:lnTo>
                    <a:pt x="263" y="859"/>
                  </a:lnTo>
                  <a:lnTo>
                    <a:pt x="261" y="857"/>
                  </a:lnTo>
                  <a:lnTo>
                    <a:pt x="263" y="853"/>
                  </a:lnTo>
                  <a:lnTo>
                    <a:pt x="263" y="851"/>
                  </a:lnTo>
                  <a:lnTo>
                    <a:pt x="266" y="848"/>
                  </a:lnTo>
                  <a:lnTo>
                    <a:pt x="287" y="848"/>
                  </a:lnTo>
                  <a:lnTo>
                    <a:pt x="309" y="850"/>
                  </a:lnTo>
                  <a:lnTo>
                    <a:pt x="329" y="851"/>
                  </a:lnTo>
                  <a:lnTo>
                    <a:pt x="342" y="851"/>
                  </a:lnTo>
                  <a:lnTo>
                    <a:pt x="348" y="848"/>
                  </a:lnTo>
                  <a:lnTo>
                    <a:pt x="353" y="842"/>
                  </a:lnTo>
                  <a:lnTo>
                    <a:pt x="357" y="838"/>
                  </a:lnTo>
                  <a:lnTo>
                    <a:pt x="361" y="835"/>
                  </a:lnTo>
                  <a:lnTo>
                    <a:pt x="366" y="833"/>
                  </a:lnTo>
                  <a:lnTo>
                    <a:pt x="374" y="831"/>
                  </a:lnTo>
                  <a:lnTo>
                    <a:pt x="392" y="837"/>
                  </a:lnTo>
                  <a:lnTo>
                    <a:pt x="409" y="844"/>
                  </a:lnTo>
                  <a:lnTo>
                    <a:pt x="422" y="846"/>
                  </a:lnTo>
                  <a:lnTo>
                    <a:pt x="434" y="846"/>
                  </a:lnTo>
                  <a:lnTo>
                    <a:pt x="447" y="850"/>
                  </a:lnTo>
                  <a:lnTo>
                    <a:pt x="459" y="855"/>
                  </a:lnTo>
                  <a:lnTo>
                    <a:pt x="468" y="853"/>
                  </a:lnTo>
                  <a:lnTo>
                    <a:pt x="477" y="851"/>
                  </a:lnTo>
                  <a:lnTo>
                    <a:pt x="484" y="857"/>
                  </a:lnTo>
                  <a:lnTo>
                    <a:pt x="486" y="864"/>
                  </a:lnTo>
                  <a:lnTo>
                    <a:pt x="488" y="868"/>
                  </a:lnTo>
                  <a:lnTo>
                    <a:pt x="486" y="874"/>
                  </a:lnTo>
                  <a:lnTo>
                    <a:pt x="483" y="881"/>
                  </a:lnTo>
                  <a:lnTo>
                    <a:pt x="481" y="886"/>
                  </a:lnTo>
                  <a:lnTo>
                    <a:pt x="486" y="894"/>
                  </a:lnTo>
                  <a:lnTo>
                    <a:pt x="492" y="90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0" name="Freeform 36"/>
            <p:cNvSpPr>
              <a:spLocks/>
            </p:cNvSpPr>
            <p:nvPr/>
          </p:nvSpPr>
          <p:spPr bwMode="auto">
            <a:xfrm>
              <a:off x="4892986" y="2215673"/>
              <a:ext cx="381952" cy="721624"/>
            </a:xfrm>
            <a:custGeom>
              <a:avLst/>
              <a:gdLst>
                <a:gd name="T0" fmla="*/ 69 w 732"/>
                <a:gd name="T1" fmla="*/ 58 h 1418"/>
                <a:gd name="T2" fmla="*/ 69 w 732"/>
                <a:gd name="T3" fmla="*/ 141 h 1418"/>
                <a:gd name="T4" fmla="*/ 67 w 732"/>
                <a:gd name="T5" fmla="*/ 198 h 1418"/>
                <a:gd name="T6" fmla="*/ 83 w 732"/>
                <a:gd name="T7" fmla="*/ 287 h 1418"/>
                <a:gd name="T8" fmla="*/ 135 w 732"/>
                <a:gd name="T9" fmla="*/ 316 h 1418"/>
                <a:gd name="T10" fmla="*/ 80 w 732"/>
                <a:gd name="T11" fmla="*/ 398 h 1418"/>
                <a:gd name="T12" fmla="*/ 65 w 732"/>
                <a:gd name="T13" fmla="*/ 483 h 1418"/>
                <a:gd name="T14" fmla="*/ 30 w 732"/>
                <a:gd name="T15" fmla="*/ 536 h 1418"/>
                <a:gd name="T16" fmla="*/ 54 w 732"/>
                <a:gd name="T17" fmla="*/ 599 h 1418"/>
                <a:gd name="T18" fmla="*/ 15 w 732"/>
                <a:gd name="T19" fmla="*/ 669 h 1418"/>
                <a:gd name="T20" fmla="*/ 24 w 732"/>
                <a:gd name="T21" fmla="*/ 712 h 1418"/>
                <a:gd name="T22" fmla="*/ 111 w 732"/>
                <a:gd name="T23" fmla="*/ 741 h 1418"/>
                <a:gd name="T24" fmla="*/ 131 w 732"/>
                <a:gd name="T25" fmla="*/ 780 h 1418"/>
                <a:gd name="T26" fmla="*/ 131 w 732"/>
                <a:gd name="T27" fmla="*/ 808 h 1418"/>
                <a:gd name="T28" fmla="*/ 128 w 732"/>
                <a:gd name="T29" fmla="*/ 891 h 1418"/>
                <a:gd name="T30" fmla="*/ 124 w 732"/>
                <a:gd name="T31" fmla="*/ 948 h 1418"/>
                <a:gd name="T32" fmla="*/ 120 w 732"/>
                <a:gd name="T33" fmla="*/ 1022 h 1418"/>
                <a:gd name="T34" fmla="*/ 141 w 732"/>
                <a:gd name="T35" fmla="*/ 1072 h 1418"/>
                <a:gd name="T36" fmla="*/ 124 w 732"/>
                <a:gd name="T37" fmla="*/ 1141 h 1418"/>
                <a:gd name="T38" fmla="*/ 189 w 732"/>
                <a:gd name="T39" fmla="*/ 1135 h 1418"/>
                <a:gd name="T40" fmla="*/ 218 w 732"/>
                <a:gd name="T41" fmla="*/ 1218 h 1418"/>
                <a:gd name="T42" fmla="*/ 200 w 732"/>
                <a:gd name="T43" fmla="*/ 1307 h 1418"/>
                <a:gd name="T44" fmla="*/ 172 w 732"/>
                <a:gd name="T45" fmla="*/ 1344 h 1418"/>
                <a:gd name="T46" fmla="*/ 202 w 732"/>
                <a:gd name="T47" fmla="*/ 1403 h 1418"/>
                <a:gd name="T48" fmla="*/ 277 w 732"/>
                <a:gd name="T49" fmla="*/ 1396 h 1418"/>
                <a:gd name="T50" fmla="*/ 366 w 732"/>
                <a:gd name="T51" fmla="*/ 1288 h 1418"/>
                <a:gd name="T52" fmla="*/ 445 w 732"/>
                <a:gd name="T53" fmla="*/ 1294 h 1418"/>
                <a:gd name="T54" fmla="*/ 405 w 732"/>
                <a:gd name="T55" fmla="*/ 1220 h 1418"/>
                <a:gd name="T56" fmla="*/ 458 w 732"/>
                <a:gd name="T57" fmla="*/ 1148 h 1418"/>
                <a:gd name="T58" fmla="*/ 486 w 732"/>
                <a:gd name="T59" fmla="*/ 1091 h 1418"/>
                <a:gd name="T60" fmla="*/ 508 w 732"/>
                <a:gd name="T61" fmla="*/ 1011 h 1418"/>
                <a:gd name="T62" fmla="*/ 560 w 732"/>
                <a:gd name="T63" fmla="*/ 943 h 1418"/>
                <a:gd name="T64" fmla="*/ 602 w 732"/>
                <a:gd name="T65" fmla="*/ 924 h 1418"/>
                <a:gd name="T66" fmla="*/ 639 w 732"/>
                <a:gd name="T67" fmla="*/ 954 h 1418"/>
                <a:gd name="T68" fmla="*/ 663 w 732"/>
                <a:gd name="T69" fmla="*/ 956 h 1418"/>
                <a:gd name="T70" fmla="*/ 674 w 732"/>
                <a:gd name="T71" fmla="*/ 906 h 1418"/>
                <a:gd name="T72" fmla="*/ 721 w 732"/>
                <a:gd name="T73" fmla="*/ 813 h 1418"/>
                <a:gd name="T74" fmla="*/ 687 w 732"/>
                <a:gd name="T75" fmla="*/ 777 h 1418"/>
                <a:gd name="T76" fmla="*/ 593 w 732"/>
                <a:gd name="T77" fmla="*/ 769 h 1418"/>
                <a:gd name="T78" fmla="*/ 501 w 732"/>
                <a:gd name="T79" fmla="*/ 784 h 1418"/>
                <a:gd name="T80" fmla="*/ 466 w 732"/>
                <a:gd name="T81" fmla="*/ 786 h 1418"/>
                <a:gd name="T82" fmla="*/ 412 w 732"/>
                <a:gd name="T83" fmla="*/ 738 h 1418"/>
                <a:gd name="T84" fmla="*/ 418 w 732"/>
                <a:gd name="T85" fmla="*/ 666 h 1418"/>
                <a:gd name="T86" fmla="*/ 360 w 732"/>
                <a:gd name="T87" fmla="*/ 642 h 1418"/>
                <a:gd name="T88" fmla="*/ 333 w 732"/>
                <a:gd name="T89" fmla="*/ 668 h 1418"/>
                <a:gd name="T90" fmla="*/ 272 w 732"/>
                <a:gd name="T91" fmla="*/ 668 h 1418"/>
                <a:gd name="T92" fmla="*/ 263 w 732"/>
                <a:gd name="T93" fmla="*/ 522 h 1418"/>
                <a:gd name="T94" fmla="*/ 331 w 732"/>
                <a:gd name="T95" fmla="*/ 485 h 1418"/>
                <a:gd name="T96" fmla="*/ 324 w 732"/>
                <a:gd name="T97" fmla="*/ 379 h 1418"/>
                <a:gd name="T98" fmla="*/ 255 w 732"/>
                <a:gd name="T99" fmla="*/ 342 h 1418"/>
                <a:gd name="T100" fmla="*/ 257 w 732"/>
                <a:gd name="T101" fmla="*/ 296 h 1418"/>
                <a:gd name="T102" fmla="*/ 274 w 732"/>
                <a:gd name="T103" fmla="*/ 187 h 1418"/>
                <a:gd name="T104" fmla="*/ 355 w 732"/>
                <a:gd name="T105" fmla="*/ 109 h 1418"/>
                <a:gd name="T106" fmla="*/ 233 w 732"/>
                <a:gd name="T107" fmla="*/ 109 h 1418"/>
                <a:gd name="T108" fmla="*/ 205 w 732"/>
                <a:gd name="T109" fmla="*/ 39 h 1418"/>
                <a:gd name="T110" fmla="*/ 141 w 732"/>
                <a:gd name="T111" fmla="*/ 108 h 1418"/>
                <a:gd name="T112" fmla="*/ 102 w 732"/>
                <a:gd name="T113" fmla="*/ 0 h 141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32"/>
                <a:gd name="T172" fmla="*/ 0 h 1418"/>
                <a:gd name="T173" fmla="*/ 732 w 732"/>
                <a:gd name="T174" fmla="*/ 1418 h 141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32" h="1418">
                  <a:moveTo>
                    <a:pt x="102" y="0"/>
                  </a:moveTo>
                  <a:lnTo>
                    <a:pt x="94" y="4"/>
                  </a:lnTo>
                  <a:lnTo>
                    <a:pt x="87" y="8"/>
                  </a:lnTo>
                  <a:lnTo>
                    <a:pt x="87" y="17"/>
                  </a:lnTo>
                  <a:lnTo>
                    <a:pt x="85" y="26"/>
                  </a:lnTo>
                  <a:lnTo>
                    <a:pt x="69" y="23"/>
                  </a:lnTo>
                  <a:lnTo>
                    <a:pt x="58" y="19"/>
                  </a:lnTo>
                  <a:lnTo>
                    <a:pt x="63" y="37"/>
                  </a:lnTo>
                  <a:lnTo>
                    <a:pt x="69" y="58"/>
                  </a:lnTo>
                  <a:lnTo>
                    <a:pt x="65" y="71"/>
                  </a:lnTo>
                  <a:lnTo>
                    <a:pt x="59" y="84"/>
                  </a:lnTo>
                  <a:lnTo>
                    <a:pt x="69" y="100"/>
                  </a:lnTo>
                  <a:lnTo>
                    <a:pt x="82" y="119"/>
                  </a:lnTo>
                  <a:lnTo>
                    <a:pt x="82" y="124"/>
                  </a:lnTo>
                  <a:lnTo>
                    <a:pt x="80" y="128"/>
                  </a:lnTo>
                  <a:lnTo>
                    <a:pt x="78" y="132"/>
                  </a:lnTo>
                  <a:lnTo>
                    <a:pt x="74" y="135"/>
                  </a:lnTo>
                  <a:lnTo>
                    <a:pt x="69" y="141"/>
                  </a:lnTo>
                  <a:lnTo>
                    <a:pt x="65" y="146"/>
                  </a:lnTo>
                  <a:lnTo>
                    <a:pt x="69" y="158"/>
                  </a:lnTo>
                  <a:lnTo>
                    <a:pt x="74" y="170"/>
                  </a:lnTo>
                  <a:lnTo>
                    <a:pt x="70" y="176"/>
                  </a:lnTo>
                  <a:lnTo>
                    <a:pt x="67" y="180"/>
                  </a:lnTo>
                  <a:lnTo>
                    <a:pt x="65" y="182"/>
                  </a:lnTo>
                  <a:lnTo>
                    <a:pt x="65" y="185"/>
                  </a:lnTo>
                  <a:lnTo>
                    <a:pt x="65" y="191"/>
                  </a:lnTo>
                  <a:lnTo>
                    <a:pt x="67" y="198"/>
                  </a:lnTo>
                  <a:lnTo>
                    <a:pt x="80" y="215"/>
                  </a:lnTo>
                  <a:lnTo>
                    <a:pt x="91" y="230"/>
                  </a:lnTo>
                  <a:lnTo>
                    <a:pt x="93" y="241"/>
                  </a:lnTo>
                  <a:lnTo>
                    <a:pt x="93" y="252"/>
                  </a:lnTo>
                  <a:lnTo>
                    <a:pt x="91" y="259"/>
                  </a:lnTo>
                  <a:lnTo>
                    <a:pt x="89" y="267"/>
                  </a:lnTo>
                  <a:lnTo>
                    <a:pt x="85" y="272"/>
                  </a:lnTo>
                  <a:lnTo>
                    <a:pt x="83" y="279"/>
                  </a:lnTo>
                  <a:lnTo>
                    <a:pt x="83" y="287"/>
                  </a:lnTo>
                  <a:lnTo>
                    <a:pt x="85" y="294"/>
                  </a:lnTo>
                  <a:lnTo>
                    <a:pt x="91" y="300"/>
                  </a:lnTo>
                  <a:lnTo>
                    <a:pt x="96" y="303"/>
                  </a:lnTo>
                  <a:lnTo>
                    <a:pt x="104" y="305"/>
                  </a:lnTo>
                  <a:lnTo>
                    <a:pt x="111" y="307"/>
                  </a:lnTo>
                  <a:lnTo>
                    <a:pt x="118" y="307"/>
                  </a:lnTo>
                  <a:lnTo>
                    <a:pt x="126" y="309"/>
                  </a:lnTo>
                  <a:lnTo>
                    <a:pt x="131" y="311"/>
                  </a:lnTo>
                  <a:lnTo>
                    <a:pt x="135" y="316"/>
                  </a:lnTo>
                  <a:lnTo>
                    <a:pt x="130" y="331"/>
                  </a:lnTo>
                  <a:lnTo>
                    <a:pt x="122" y="346"/>
                  </a:lnTo>
                  <a:lnTo>
                    <a:pt x="124" y="361"/>
                  </a:lnTo>
                  <a:lnTo>
                    <a:pt x="122" y="374"/>
                  </a:lnTo>
                  <a:lnTo>
                    <a:pt x="107" y="379"/>
                  </a:lnTo>
                  <a:lnTo>
                    <a:pt x="89" y="383"/>
                  </a:lnTo>
                  <a:lnTo>
                    <a:pt x="85" y="398"/>
                  </a:lnTo>
                  <a:lnTo>
                    <a:pt x="83" y="400"/>
                  </a:lnTo>
                  <a:lnTo>
                    <a:pt x="80" y="398"/>
                  </a:lnTo>
                  <a:lnTo>
                    <a:pt x="76" y="400"/>
                  </a:lnTo>
                  <a:lnTo>
                    <a:pt x="85" y="414"/>
                  </a:lnTo>
                  <a:lnTo>
                    <a:pt x="94" y="429"/>
                  </a:lnTo>
                  <a:lnTo>
                    <a:pt x="93" y="437"/>
                  </a:lnTo>
                  <a:lnTo>
                    <a:pt x="89" y="442"/>
                  </a:lnTo>
                  <a:lnTo>
                    <a:pt x="83" y="449"/>
                  </a:lnTo>
                  <a:lnTo>
                    <a:pt x="76" y="455"/>
                  </a:lnTo>
                  <a:lnTo>
                    <a:pt x="72" y="468"/>
                  </a:lnTo>
                  <a:lnTo>
                    <a:pt x="65" y="483"/>
                  </a:lnTo>
                  <a:lnTo>
                    <a:pt x="61" y="488"/>
                  </a:lnTo>
                  <a:lnTo>
                    <a:pt x="58" y="494"/>
                  </a:lnTo>
                  <a:lnTo>
                    <a:pt x="54" y="496"/>
                  </a:lnTo>
                  <a:lnTo>
                    <a:pt x="50" y="499"/>
                  </a:lnTo>
                  <a:lnTo>
                    <a:pt x="43" y="501"/>
                  </a:lnTo>
                  <a:lnTo>
                    <a:pt x="37" y="507"/>
                  </a:lnTo>
                  <a:lnTo>
                    <a:pt x="32" y="518"/>
                  </a:lnTo>
                  <a:lnTo>
                    <a:pt x="30" y="527"/>
                  </a:lnTo>
                  <a:lnTo>
                    <a:pt x="30" y="536"/>
                  </a:lnTo>
                  <a:lnTo>
                    <a:pt x="33" y="547"/>
                  </a:lnTo>
                  <a:lnTo>
                    <a:pt x="43" y="555"/>
                  </a:lnTo>
                  <a:lnTo>
                    <a:pt x="56" y="560"/>
                  </a:lnTo>
                  <a:lnTo>
                    <a:pt x="63" y="564"/>
                  </a:lnTo>
                  <a:lnTo>
                    <a:pt x="67" y="571"/>
                  </a:lnTo>
                  <a:lnTo>
                    <a:pt x="67" y="579"/>
                  </a:lnTo>
                  <a:lnTo>
                    <a:pt x="65" y="590"/>
                  </a:lnTo>
                  <a:lnTo>
                    <a:pt x="61" y="595"/>
                  </a:lnTo>
                  <a:lnTo>
                    <a:pt x="54" y="599"/>
                  </a:lnTo>
                  <a:lnTo>
                    <a:pt x="46" y="601"/>
                  </a:lnTo>
                  <a:lnTo>
                    <a:pt x="35" y="603"/>
                  </a:lnTo>
                  <a:lnTo>
                    <a:pt x="17" y="607"/>
                  </a:lnTo>
                  <a:lnTo>
                    <a:pt x="0" y="610"/>
                  </a:lnTo>
                  <a:lnTo>
                    <a:pt x="6" y="627"/>
                  </a:lnTo>
                  <a:lnTo>
                    <a:pt x="11" y="642"/>
                  </a:lnTo>
                  <a:lnTo>
                    <a:pt x="13" y="653"/>
                  </a:lnTo>
                  <a:lnTo>
                    <a:pt x="15" y="664"/>
                  </a:lnTo>
                  <a:lnTo>
                    <a:pt x="15" y="669"/>
                  </a:lnTo>
                  <a:lnTo>
                    <a:pt x="13" y="673"/>
                  </a:lnTo>
                  <a:lnTo>
                    <a:pt x="9" y="679"/>
                  </a:lnTo>
                  <a:lnTo>
                    <a:pt x="6" y="682"/>
                  </a:lnTo>
                  <a:lnTo>
                    <a:pt x="4" y="686"/>
                  </a:lnTo>
                  <a:lnTo>
                    <a:pt x="2" y="692"/>
                  </a:lnTo>
                  <a:lnTo>
                    <a:pt x="4" y="697"/>
                  </a:lnTo>
                  <a:lnTo>
                    <a:pt x="6" y="703"/>
                  </a:lnTo>
                  <a:lnTo>
                    <a:pt x="15" y="708"/>
                  </a:lnTo>
                  <a:lnTo>
                    <a:pt x="24" y="712"/>
                  </a:lnTo>
                  <a:lnTo>
                    <a:pt x="37" y="712"/>
                  </a:lnTo>
                  <a:lnTo>
                    <a:pt x="50" y="714"/>
                  </a:lnTo>
                  <a:lnTo>
                    <a:pt x="65" y="714"/>
                  </a:lnTo>
                  <a:lnTo>
                    <a:pt x="78" y="716"/>
                  </a:lnTo>
                  <a:lnTo>
                    <a:pt x="89" y="717"/>
                  </a:lnTo>
                  <a:lnTo>
                    <a:pt x="100" y="723"/>
                  </a:lnTo>
                  <a:lnTo>
                    <a:pt x="106" y="730"/>
                  </a:lnTo>
                  <a:lnTo>
                    <a:pt x="109" y="736"/>
                  </a:lnTo>
                  <a:lnTo>
                    <a:pt x="111" y="741"/>
                  </a:lnTo>
                  <a:lnTo>
                    <a:pt x="111" y="749"/>
                  </a:lnTo>
                  <a:lnTo>
                    <a:pt x="111" y="756"/>
                  </a:lnTo>
                  <a:lnTo>
                    <a:pt x="111" y="762"/>
                  </a:lnTo>
                  <a:lnTo>
                    <a:pt x="113" y="769"/>
                  </a:lnTo>
                  <a:lnTo>
                    <a:pt x="117" y="777"/>
                  </a:lnTo>
                  <a:lnTo>
                    <a:pt x="118" y="778"/>
                  </a:lnTo>
                  <a:lnTo>
                    <a:pt x="122" y="780"/>
                  </a:lnTo>
                  <a:lnTo>
                    <a:pt x="126" y="780"/>
                  </a:lnTo>
                  <a:lnTo>
                    <a:pt x="131" y="780"/>
                  </a:lnTo>
                  <a:lnTo>
                    <a:pt x="141" y="778"/>
                  </a:lnTo>
                  <a:lnTo>
                    <a:pt x="152" y="777"/>
                  </a:lnTo>
                  <a:lnTo>
                    <a:pt x="154" y="782"/>
                  </a:lnTo>
                  <a:lnTo>
                    <a:pt x="154" y="791"/>
                  </a:lnTo>
                  <a:lnTo>
                    <a:pt x="154" y="801"/>
                  </a:lnTo>
                  <a:lnTo>
                    <a:pt x="154" y="808"/>
                  </a:lnTo>
                  <a:lnTo>
                    <a:pt x="146" y="806"/>
                  </a:lnTo>
                  <a:lnTo>
                    <a:pt x="135" y="804"/>
                  </a:lnTo>
                  <a:lnTo>
                    <a:pt x="131" y="808"/>
                  </a:lnTo>
                  <a:lnTo>
                    <a:pt x="126" y="812"/>
                  </a:lnTo>
                  <a:lnTo>
                    <a:pt x="118" y="819"/>
                  </a:lnTo>
                  <a:lnTo>
                    <a:pt x="113" y="828"/>
                  </a:lnTo>
                  <a:lnTo>
                    <a:pt x="109" y="841"/>
                  </a:lnTo>
                  <a:lnTo>
                    <a:pt x="107" y="852"/>
                  </a:lnTo>
                  <a:lnTo>
                    <a:pt x="107" y="863"/>
                  </a:lnTo>
                  <a:lnTo>
                    <a:pt x="109" y="874"/>
                  </a:lnTo>
                  <a:lnTo>
                    <a:pt x="118" y="884"/>
                  </a:lnTo>
                  <a:lnTo>
                    <a:pt x="128" y="891"/>
                  </a:lnTo>
                  <a:lnTo>
                    <a:pt x="137" y="895"/>
                  </a:lnTo>
                  <a:lnTo>
                    <a:pt x="144" y="897"/>
                  </a:lnTo>
                  <a:lnTo>
                    <a:pt x="150" y="898"/>
                  </a:lnTo>
                  <a:lnTo>
                    <a:pt x="155" y="902"/>
                  </a:lnTo>
                  <a:lnTo>
                    <a:pt x="157" y="904"/>
                  </a:lnTo>
                  <a:lnTo>
                    <a:pt x="159" y="910"/>
                  </a:lnTo>
                  <a:lnTo>
                    <a:pt x="150" y="923"/>
                  </a:lnTo>
                  <a:lnTo>
                    <a:pt x="139" y="937"/>
                  </a:lnTo>
                  <a:lnTo>
                    <a:pt x="124" y="948"/>
                  </a:lnTo>
                  <a:lnTo>
                    <a:pt x="111" y="958"/>
                  </a:lnTo>
                  <a:lnTo>
                    <a:pt x="115" y="967"/>
                  </a:lnTo>
                  <a:lnTo>
                    <a:pt x="118" y="978"/>
                  </a:lnTo>
                  <a:lnTo>
                    <a:pt x="113" y="985"/>
                  </a:lnTo>
                  <a:lnTo>
                    <a:pt x="109" y="995"/>
                  </a:lnTo>
                  <a:lnTo>
                    <a:pt x="106" y="1004"/>
                  </a:lnTo>
                  <a:lnTo>
                    <a:pt x="106" y="1011"/>
                  </a:lnTo>
                  <a:lnTo>
                    <a:pt x="111" y="1017"/>
                  </a:lnTo>
                  <a:lnTo>
                    <a:pt x="120" y="1022"/>
                  </a:lnTo>
                  <a:lnTo>
                    <a:pt x="126" y="1026"/>
                  </a:lnTo>
                  <a:lnTo>
                    <a:pt x="130" y="1028"/>
                  </a:lnTo>
                  <a:lnTo>
                    <a:pt x="131" y="1033"/>
                  </a:lnTo>
                  <a:lnTo>
                    <a:pt x="133" y="1037"/>
                  </a:lnTo>
                  <a:lnTo>
                    <a:pt x="137" y="1043"/>
                  </a:lnTo>
                  <a:lnTo>
                    <a:pt x="142" y="1050"/>
                  </a:lnTo>
                  <a:lnTo>
                    <a:pt x="146" y="1056"/>
                  </a:lnTo>
                  <a:lnTo>
                    <a:pt x="146" y="1063"/>
                  </a:lnTo>
                  <a:lnTo>
                    <a:pt x="141" y="1072"/>
                  </a:lnTo>
                  <a:lnTo>
                    <a:pt x="133" y="1076"/>
                  </a:lnTo>
                  <a:lnTo>
                    <a:pt x="128" y="1078"/>
                  </a:lnTo>
                  <a:lnTo>
                    <a:pt x="120" y="1083"/>
                  </a:lnTo>
                  <a:lnTo>
                    <a:pt x="109" y="1093"/>
                  </a:lnTo>
                  <a:lnTo>
                    <a:pt x="100" y="1104"/>
                  </a:lnTo>
                  <a:lnTo>
                    <a:pt x="107" y="1122"/>
                  </a:lnTo>
                  <a:lnTo>
                    <a:pt x="117" y="1133"/>
                  </a:lnTo>
                  <a:lnTo>
                    <a:pt x="120" y="1137"/>
                  </a:lnTo>
                  <a:lnTo>
                    <a:pt x="124" y="1141"/>
                  </a:lnTo>
                  <a:lnTo>
                    <a:pt x="128" y="1142"/>
                  </a:lnTo>
                  <a:lnTo>
                    <a:pt x="133" y="1142"/>
                  </a:lnTo>
                  <a:lnTo>
                    <a:pt x="152" y="1129"/>
                  </a:lnTo>
                  <a:lnTo>
                    <a:pt x="161" y="1120"/>
                  </a:lnTo>
                  <a:lnTo>
                    <a:pt x="166" y="1124"/>
                  </a:lnTo>
                  <a:lnTo>
                    <a:pt x="174" y="1133"/>
                  </a:lnTo>
                  <a:lnTo>
                    <a:pt x="179" y="1135"/>
                  </a:lnTo>
                  <a:lnTo>
                    <a:pt x="187" y="1135"/>
                  </a:lnTo>
                  <a:lnTo>
                    <a:pt x="189" y="1135"/>
                  </a:lnTo>
                  <a:lnTo>
                    <a:pt x="192" y="1137"/>
                  </a:lnTo>
                  <a:lnTo>
                    <a:pt x="196" y="1139"/>
                  </a:lnTo>
                  <a:lnTo>
                    <a:pt x="198" y="1142"/>
                  </a:lnTo>
                  <a:lnTo>
                    <a:pt x="202" y="1150"/>
                  </a:lnTo>
                  <a:lnTo>
                    <a:pt x="203" y="1157"/>
                  </a:lnTo>
                  <a:lnTo>
                    <a:pt x="205" y="1168"/>
                  </a:lnTo>
                  <a:lnTo>
                    <a:pt x="207" y="1183"/>
                  </a:lnTo>
                  <a:lnTo>
                    <a:pt x="213" y="1203"/>
                  </a:lnTo>
                  <a:lnTo>
                    <a:pt x="218" y="1218"/>
                  </a:lnTo>
                  <a:lnTo>
                    <a:pt x="216" y="1231"/>
                  </a:lnTo>
                  <a:lnTo>
                    <a:pt x="209" y="1250"/>
                  </a:lnTo>
                  <a:lnTo>
                    <a:pt x="216" y="1274"/>
                  </a:lnTo>
                  <a:lnTo>
                    <a:pt x="224" y="1294"/>
                  </a:lnTo>
                  <a:lnTo>
                    <a:pt x="222" y="1298"/>
                  </a:lnTo>
                  <a:lnTo>
                    <a:pt x="218" y="1301"/>
                  </a:lnTo>
                  <a:lnTo>
                    <a:pt x="213" y="1303"/>
                  </a:lnTo>
                  <a:lnTo>
                    <a:pt x="205" y="1305"/>
                  </a:lnTo>
                  <a:lnTo>
                    <a:pt x="200" y="1307"/>
                  </a:lnTo>
                  <a:lnTo>
                    <a:pt x="196" y="1311"/>
                  </a:lnTo>
                  <a:lnTo>
                    <a:pt x="192" y="1318"/>
                  </a:lnTo>
                  <a:lnTo>
                    <a:pt x="192" y="1329"/>
                  </a:lnTo>
                  <a:lnTo>
                    <a:pt x="189" y="1329"/>
                  </a:lnTo>
                  <a:lnTo>
                    <a:pt x="183" y="1329"/>
                  </a:lnTo>
                  <a:lnTo>
                    <a:pt x="185" y="1336"/>
                  </a:lnTo>
                  <a:lnTo>
                    <a:pt x="187" y="1342"/>
                  </a:lnTo>
                  <a:lnTo>
                    <a:pt x="179" y="1342"/>
                  </a:lnTo>
                  <a:lnTo>
                    <a:pt x="172" y="1344"/>
                  </a:lnTo>
                  <a:lnTo>
                    <a:pt x="166" y="1346"/>
                  </a:lnTo>
                  <a:lnTo>
                    <a:pt x="161" y="1351"/>
                  </a:lnTo>
                  <a:lnTo>
                    <a:pt x="154" y="1362"/>
                  </a:lnTo>
                  <a:lnTo>
                    <a:pt x="146" y="1373"/>
                  </a:lnTo>
                  <a:lnTo>
                    <a:pt x="152" y="1388"/>
                  </a:lnTo>
                  <a:lnTo>
                    <a:pt x="157" y="1403"/>
                  </a:lnTo>
                  <a:lnTo>
                    <a:pt x="172" y="1399"/>
                  </a:lnTo>
                  <a:lnTo>
                    <a:pt x="192" y="1396"/>
                  </a:lnTo>
                  <a:lnTo>
                    <a:pt x="202" y="1403"/>
                  </a:lnTo>
                  <a:lnTo>
                    <a:pt x="209" y="1410"/>
                  </a:lnTo>
                  <a:lnTo>
                    <a:pt x="215" y="1414"/>
                  </a:lnTo>
                  <a:lnTo>
                    <a:pt x="218" y="1416"/>
                  </a:lnTo>
                  <a:lnTo>
                    <a:pt x="226" y="1418"/>
                  </a:lnTo>
                  <a:lnTo>
                    <a:pt x="233" y="1418"/>
                  </a:lnTo>
                  <a:lnTo>
                    <a:pt x="246" y="1414"/>
                  </a:lnTo>
                  <a:lnTo>
                    <a:pt x="257" y="1407"/>
                  </a:lnTo>
                  <a:lnTo>
                    <a:pt x="266" y="1401"/>
                  </a:lnTo>
                  <a:lnTo>
                    <a:pt x="277" y="1396"/>
                  </a:lnTo>
                  <a:lnTo>
                    <a:pt x="296" y="1383"/>
                  </a:lnTo>
                  <a:lnTo>
                    <a:pt x="314" y="1368"/>
                  </a:lnTo>
                  <a:lnTo>
                    <a:pt x="333" y="1353"/>
                  </a:lnTo>
                  <a:lnTo>
                    <a:pt x="349" y="1336"/>
                  </a:lnTo>
                  <a:lnTo>
                    <a:pt x="351" y="1314"/>
                  </a:lnTo>
                  <a:lnTo>
                    <a:pt x="353" y="1294"/>
                  </a:lnTo>
                  <a:lnTo>
                    <a:pt x="359" y="1290"/>
                  </a:lnTo>
                  <a:lnTo>
                    <a:pt x="362" y="1288"/>
                  </a:lnTo>
                  <a:lnTo>
                    <a:pt x="366" y="1288"/>
                  </a:lnTo>
                  <a:lnTo>
                    <a:pt x="370" y="1290"/>
                  </a:lnTo>
                  <a:lnTo>
                    <a:pt x="373" y="1292"/>
                  </a:lnTo>
                  <a:lnTo>
                    <a:pt x="379" y="1294"/>
                  </a:lnTo>
                  <a:lnTo>
                    <a:pt x="386" y="1294"/>
                  </a:lnTo>
                  <a:lnTo>
                    <a:pt x="394" y="1294"/>
                  </a:lnTo>
                  <a:lnTo>
                    <a:pt x="408" y="1294"/>
                  </a:lnTo>
                  <a:lnTo>
                    <a:pt x="423" y="1296"/>
                  </a:lnTo>
                  <a:lnTo>
                    <a:pt x="438" y="1296"/>
                  </a:lnTo>
                  <a:lnTo>
                    <a:pt x="445" y="1294"/>
                  </a:lnTo>
                  <a:lnTo>
                    <a:pt x="445" y="1290"/>
                  </a:lnTo>
                  <a:lnTo>
                    <a:pt x="444" y="1285"/>
                  </a:lnTo>
                  <a:lnTo>
                    <a:pt x="431" y="1266"/>
                  </a:lnTo>
                  <a:lnTo>
                    <a:pt x="416" y="1246"/>
                  </a:lnTo>
                  <a:lnTo>
                    <a:pt x="410" y="1237"/>
                  </a:lnTo>
                  <a:lnTo>
                    <a:pt x="407" y="1227"/>
                  </a:lnTo>
                  <a:lnTo>
                    <a:pt x="405" y="1220"/>
                  </a:lnTo>
                  <a:lnTo>
                    <a:pt x="407" y="1213"/>
                  </a:lnTo>
                  <a:lnTo>
                    <a:pt x="429" y="1203"/>
                  </a:lnTo>
                  <a:lnTo>
                    <a:pt x="449" y="1198"/>
                  </a:lnTo>
                  <a:lnTo>
                    <a:pt x="453" y="1192"/>
                  </a:lnTo>
                  <a:lnTo>
                    <a:pt x="455" y="1183"/>
                  </a:lnTo>
                  <a:lnTo>
                    <a:pt x="455" y="1174"/>
                  </a:lnTo>
                  <a:lnTo>
                    <a:pt x="457" y="1165"/>
                  </a:lnTo>
                  <a:lnTo>
                    <a:pt x="457" y="1157"/>
                  </a:lnTo>
                  <a:lnTo>
                    <a:pt x="458" y="1148"/>
                  </a:lnTo>
                  <a:lnTo>
                    <a:pt x="460" y="1146"/>
                  </a:lnTo>
                  <a:lnTo>
                    <a:pt x="464" y="1142"/>
                  </a:lnTo>
                  <a:lnTo>
                    <a:pt x="466" y="1141"/>
                  </a:lnTo>
                  <a:lnTo>
                    <a:pt x="471" y="1141"/>
                  </a:lnTo>
                  <a:lnTo>
                    <a:pt x="469" y="1124"/>
                  </a:lnTo>
                  <a:lnTo>
                    <a:pt x="473" y="1111"/>
                  </a:lnTo>
                  <a:lnTo>
                    <a:pt x="475" y="1105"/>
                  </a:lnTo>
                  <a:lnTo>
                    <a:pt x="479" y="1098"/>
                  </a:lnTo>
                  <a:lnTo>
                    <a:pt x="486" y="1091"/>
                  </a:lnTo>
                  <a:lnTo>
                    <a:pt x="495" y="1081"/>
                  </a:lnTo>
                  <a:lnTo>
                    <a:pt x="508" y="1070"/>
                  </a:lnTo>
                  <a:lnTo>
                    <a:pt x="516" y="1061"/>
                  </a:lnTo>
                  <a:lnTo>
                    <a:pt x="517" y="1048"/>
                  </a:lnTo>
                  <a:lnTo>
                    <a:pt x="517" y="1030"/>
                  </a:lnTo>
                  <a:lnTo>
                    <a:pt x="510" y="1022"/>
                  </a:lnTo>
                  <a:lnTo>
                    <a:pt x="503" y="1019"/>
                  </a:lnTo>
                  <a:lnTo>
                    <a:pt x="506" y="1015"/>
                  </a:lnTo>
                  <a:lnTo>
                    <a:pt x="508" y="1011"/>
                  </a:lnTo>
                  <a:lnTo>
                    <a:pt x="499" y="1008"/>
                  </a:lnTo>
                  <a:lnTo>
                    <a:pt x="492" y="1002"/>
                  </a:lnTo>
                  <a:lnTo>
                    <a:pt x="497" y="995"/>
                  </a:lnTo>
                  <a:lnTo>
                    <a:pt x="506" y="982"/>
                  </a:lnTo>
                  <a:lnTo>
                    <a:pt x="516" y="963"/>
                  </a:lnTo>
                  <a:lnTo>
                    <a:pt x="525" y="941"/>
                  </a:lnTo>
                  <a:lnTo>
                    <a:pt x="543" y="939"/>
                  </a:lnTo>
                  <a:lnTo>
                    <a:pt x="558" y="941"/>
                  </a:lnTo>
                  <a:lnTo>
                    <a:pt x="560" y="943"/>
                  </a:lnTo>
                  <a:lnTo>
                    <a:pt x="562" y="948"/>
                  </a:lnTo>
                  <a:lnTo>
                    <a:pt x="567" y="952"/>
                  </a:lnTo>
                  <a:lnTo>
                    <a:pt x="575" y="954"/>
                  </a:lnTo>
                  <a:lnTo>
                    <a:pt x="584" y="952"/>
                  </a:lnTo>
                  <a:lnTo>
                    <a:pt x="590" y="948"/>
                  </a:lnTo>
                  <a:lnTo>
                    <a:pt x="593" y="943"/>
                  </a:lnTo>
                  <a:lnTo>
                    <a:pt x="597" y="935"/>
                  </a:lnTo>
                  <a:lnTo>
                    <a:pt x="599" y="930"/>
                  </a:lnTo>
                  <a:lnTo>
                    <a:pt x="602" y="924"/>
                  </a:lnTo>
                  <a:lnTo>
                    <a:pt x="606" y="921"/>
                  </a:lnTo>
                  <a:lnTo>
                    <a:pt x="612" y="919"/>
                  </a:lnTo>
                  <a:lnTo>
                    <a:pt x="615" y="919"/>
                  </a:lnTo>
                  <a:lnTo>
                    <a:pt x="617" y="919"/>
                  </a:lnTo>
                  <a:lnTo>
                    <a:pt x="621" y="921"/>
                  </a:lnTo>
                  <a:lnTo>
                    <a:pt x="623" y="924"/>
                  </a:lnTo>
                  <a:lnTo>
                    <a:pt x="628" y="934"/>
                  </a:lnTo>
                  <a:lnTo>
                    <a:pt x="634" y="943"/>
                  </a:lnTo>
                  <a:lnTo>
                    <a:pt x="639" y="954"/>
                  </a:lnTo>
                  <a:lnTo>
                    <a:pt x="645" y="963"/>
                  </a:lnTo>
                  <a:lnTo>
                    <a:pt x="649" y="967"/>
                  </a:lnTo>
                  <a:lnTo>
                    <a:pt x="652" y="969"/>
                  </a:lnTo>
                  <a:lnTo>
                    <a:pt x="658" y="971"/>
                  </a:lnTo>
                  <a:lnTo>
                    <a:pt x="662" y="971"/>
                  </a:lnTo>
                  <a:lnTo>
                    <a:pt x="663" y="969"/>
                  </a:lnTo>
                  <a:lnTo>
                    <a:pt x="665" y="965"/>
                  </a:lnTo>
                  <a:lnTo>
                    <a:pt x="663" y="961"/>
                  </a:lnTo>
                  <a:lnTo>
                    <a:pt x="663" y="956"/>
                  </a:lnTo>
                  <a:lnTo>
                    <a:pt x="662" y="945"/>
                  </a:lnTo>
                  <a:lnTo>
                    <a:pt x="658" y="932"/>
                  </a:lnTo>
                  <a:lnTo>
                    <a:pt x="658" y="926"/>
                  </a:lnTo>
                  <a:lnTo>
                    <a:pt x="658" y="921"/>
                  </a:lnTo>
                  <a:lnTo>
                    <a:pt x="658" y="915"/>
                  </a:lnTo>
                  <a:lnTo>
                    <a:pt x="660" y="911"/>
                  </a:lnTo>
                  <a:lnTo>
                    <a:pt x="663" y="908"/>
                  </a:lnTo>
                  <a:lnTo>
                    <a:pt x="669" y="906"/>
                  </a:lnTo>
                  <a:lnTo>
                    <a:pt x="674" y="906"/>
                  </a:lnTo>
                  <a:lnTo>
                    <a:pt x="684" y="908"/>
                  </a:lnTo>
                  <a:lnTo>
                    <a:pt x="684" y="897"/>
                  </a:lnTo>
                  <a:lnTo>
                    <a:pt x="687" y="882"/>
                  </a:lnTo>
                  <a:lnTo>
                    <a:pt x="704" y="874"/>
                  </a:lnTo>
                  <a:lnTo>
                    <a:pt x="723" y="867"/>
                  </a:lnTo>
                  <a:lnTo>
                    <a:pt x="726" y="847"/>
                  </a:lnTo>
                  <a:lnTo>
                    <a:pt x="732" y="828"/>
                  </a:lnTo>
                  <a:lnTo>
                    <a:pt x="726" y="821"/>
                  </a:lnTo>
                  <a:lnTo>
                    <a:pt x="721" y="813"/>
                  </a:lnTo>
                  <a:lnTo>
                    <a:pt x="723" y="808"/>
                  </a:lnTo>
                  <a:lnTo>
                    <a:pt x="726" y="801"/>
                  </a:lnTo>
                  <a:lnTo>
                    <a:pt x="728" y="795"/>
                  </a:lnTo>
                  <a:lnTo>
                    <a:pt x="726" y="791"/>
                  </a:lnTo>
                  <a:lnTo>
                    <a:pt x="724" y="784"/>
                  </a:lnTo>
                  <a:lnTo>
                    <a:pt x="717" y="778"/>
                  </a:lnTo>
                  <a:lnTo>
                    <a:pt x="708" y="780"/>
                  </a:lnTo>
                  <a:lnTo>
                    <a:pt x="699" y="782"/>
                  </a:lnTo>
                  <a:lnTo>
                    <a:pt x="687" y="777"/>
                  </a:lnTo>
                  <a:lnTo>
                    <a:pt x="674" y="773"/>
                  </a:lnTo>
                  <a:lnTo>
                    <a:pt x="662" y="773"/>
                  </a:lnTo>
                  <a:lnTo>
                    <a:pt x="649" y="771"/>
                  </a:lnTo>
                  <a:lnTo>
                    <a:pt x="632" y="764"/>
                  </a:lnTo>
                  <a:lnTo>
                    <a:pt x="614" y="758"/>
                  </a:lnTo>
                  <a:lnTo>
                    <a:pt x="606" y="760"/>
                  </a:lnTo>
                  <a:lnTo>
                    <a:pt x="601" y="762"/>
                  </a:lnTo>
                  <a:lnTo>
                    <a:pt x="597" y="765"/>
                  </a:lnTo>
                  <a:lnTo>
                    <a:pt x="593" y="769"/>
                  </a:lnTo>
                  <a:lnTo>
                    <a:pt x="588" y="775"/>
                  </a:lnTo>
                  <a:lnTo>
                    <a:pt x="582" y="778"/>
                  </a:lnTo>
                  <a:lnTo>
                    <a:pt x="569" y="778"/>
                  </a:lnTo>
                  <a:lnTo>
                    <a:pt x="549" y="777"/>
                  </a:lnTo>
                  <a:lnTo>
                    <a:pt x="527" y="775"/>
                  </a:lnTo>
                  <a:lnTo>
                    <a:pt x="506" y="775"/>
                  </a:lnTo>
                  <a:lnTo>
                    <a:pt x="503" y="778"/>
                  </a:lnTo>
                  <a:lnTo>
                    <a:pt x="503" y="780"/>
                  </a:lnTo>
                  <a:lnTo>
                    <a:pt x="501" y="784"/>
                  </a:lnTo>
                  <a:lnTo>
                    <a:pt x="503" y="786"/>
                  </a:lnTo>
                  <a:lnTo>
                    <a:pt x="505" y="789"/>
                  </a:lnTo>
                  <a:lnTo>
                    <a:pt x="503" y="793"/>
                  </a:lnTo>
                  <a:lnTo>
                    <a:pt x="493" y="795"/>
                  </a:lnTo>
                  <a:lnTo>
                    <a:pt x="486" y="797"/>
                  </a:lnTo>
                  <a:lnTo>
                    <a:pt x="481" y="795"/>
                  </a:lnTo>
                  <a:lnTo>
                    <a:pt x="477" y="793"/>
                  </a:lnTo>
                  <a:lnTo>
                    <a:pt x="473" y="788"/>
                  </a:lnTo>
                  <a:lnTo>
                    <a:pt x="466" y="786"/>
                  </a:lnTo>
                  <a:lnTo>
                    <a:pt x="457" y="789"/>
                  </a:lnTo>
                  <a:lnTo>
                    <a:pt x="445" y="793"/>
                  </a:lnTo>
                  <a:lnTo>
                    <a:pt x="438" y="789"/>
                  </a:lnTo>
                  <a:lnTo>
                    <a:pt x="431" y="784"/>
                  </a:lnTo>
                  <a:lnTo>
                    <a:pt x="423" y="780"/>
                  </a:lnTo>
                  <a:lnTo>
                    <a:pt x="420" y="771"/>
                  </a:lnTo>
                  <a:lnTo>
                    <a:pt x="416" y="762"/>
                  </a:lnTo>
                  <a:lnTo>
                    <a:pt x="414" y="749"/>
                  </a:lnTo>
                  <a:lnTo>
                    <a:pt x="412" y="738"/>
                  </a:lnTo>
                  <a:lnTo>
                    <a:pt x="410" y="727"/>
                  </a:lnTo>
                  <a:lnTo>
                    <a:pt x="418" y="717"/>
                  </a:lnTo>
                  <a:lnTo>
                    <a:pt x="425" y="710"/>
                  </a:lnTo>
                  <a:lnTo>
                    <a:pt x="429" y="706"/>
                  </a:lnTo>
                  <a:lnTo>
                    <a:pt x="431" y="701"/>
                  </a:lnTo>
                  <a:lnTo>
                    <a:pt x="431" y="692"/>
                  </a:lnTo>
                  <a:lnTo>
                    <a:pt x="429" y="682"/>
                  </a:lnTo>
                  <a:lnTo>
                    <a:pt x="423" y="673"/>
                  </a:lnTo>
                  <a:lnTo>
                    <a:pt x="418" y="666"/>
                  </a:lnTo>
                  <a:lnTo>
                    <a:pt x="410" y="662"/>
                  </a:lnTo>
                  <a:lnTo>
                    <a:pt x="401" y="660"/>
                  </a:lnTo>
                  <a:lnTo>
                    <a:pt x="386" y="660"/>
                  </a:lnTo>
                  <a:lnTo>
                    <a:pt x="373" y="662"/>
                  </a:lnTo>
                  <a:lnTo>
                    <a:pt x="366" y="660"/>
                  </a:lnTo>
                  <a:lnTo>
                    <a:pt x="362" y="656"/>
                  </a:lnTo>
                  <a:lnTo>
                    <a:pt x="360" y="651"/>
                  </a:lnTo>
                  <a:lnTo>
                    <a:pt x="360" y="645"/>
                  </a:lnTo>
                  <a:lnTo>
                    <a:pt x="360" y="642"/>
                  </a:lnTo>
                  <a:lnTo>
                    <a:pt x="359" y="638"/>
                  </a:lnTo>
                  <a:lnTo>
                    <a:pt x="357" y="636"/>
                  </a:lnTo>
                  <a:lnTo>
                    <a:pt x="353" y="634"/>
                  </a:lnTo>
                  <a:lnTo>
                    <a:pt x="349" y="634"/>
                  </a:lnTo>
                  <a:lnTo>
                    <a:pt x="348" y="634"/>
                  </a:lnTo>
                  <a:lnTo>
                    <a:pt x="346" y="638"/>
                  </a:lnTo>
                  <a:lnTo>
                    <a:pt x="344" y="640"/>
                  </a:lnTo>
                  <a:lnTo>
                    <a:pt x="340" y="653"/>
                  </a:lnTo>
                  <a:lnTo>
                    <a:pt x="333" y="668"/>
                  </a:lnTo>
                  <a:lnTo>
                    <a:pt x="325" y="673"/>
                  </a:lnTo>
                  <a:lnTo>
                    <a:pt x="318" y="680"/>
                  </a:lnTo>
                  <a:lnTo>
                    <a:pt x="309" y="686"/>
                  </a:lnTo>
                  <a:lnTo>
                    <a:pt x="296" y="690"/>
                  </a:lnTo>
                  <a:lnTo>
                    <a:pt x="292" y="690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79" y="679"/>
                  </a:lnTo>
                  <a:lnTo>
                    <a:pt x="272" y="668"/>
                  </a:lnTo>
                  <a:lnTo>
                    <a:pt x="266" y="653"/>
                  </a:lnTo>
                  <a:lnTo>
                    <a:pt x="263" y="634"/>
                  </a:lnTo>
                  <a:lnTo>
                    <a:pt x="263" y="618"/>
                  </a:lnTo>
                  <a:lnTo>
                    <a:pt x="263" y="599"/>
                  </a:lnTo>
                  <a:lnTo>
                    <a:pt x="266" y="581"/>
                  </a:lnTo>
                  <a:lnTo>
                    <a:pt x="255" y="553"/>
                  </a:lnTo>
                  <a:lnTo>
                    <a:pt x="248" y="536"/>
                  </a:lnTo>
                  <a:lnTo>
                    <a:pt x="253" y="527"/>
                  </a:lnTo>
                  <a:lnTo>
                    <a:pt x="263" y="522"/>
                  </a:lnTo>
                  <a:lnTo>
                    <a:pt x="272" y="518"/>
                  </a:lnTo>
                  <a:lnTo>
                    <a:pt x="283" y="514"/>
                  </a:lnTo>
                  <a:lnTo>
                    <a:pt x="307" y="514"/>
                  </a:lnTo>
                  <a:lnTo>
                    <a:pt x="329" y="512"/>
                  </a:lnTo>
                  <a:lnTo>
                    <a:pt x="331" y="507"/>
                  </a:lnTo>
                  <a:lnTo>
                    <a:pt x="333" y="503"/>
                  </a:lnTo>
                  <a:lnTo>
                    <a:pt x="333" y="498"/>
                  </a:lnTo>
                  <a:lnTo>
                    <a:pt x="333" y="494"/>
                  </a:lnTo>
                  <a:lnTo>
                    <a:pt x="331" y="485"/>
                  </a:lnTo>
                  <a:lnTo>
                    <a:pt x="329" y="475"/>
                  </a:lnTo>
                  <a:lnTo>
                    <a:pt x="333" y="451"/>
                  </a:lnTo>
                  <a:lnTo>
                    <a:pt x="338" y="427"/>
                  </a:lnTo>
                  <a:lnTo>
                    <a:pt x="340" y="414"/>
                  </a:lnTo>
                  <a:lnTo>
                    <a:pt x="340" y="405"/>
                  </a:lnTo>
                  <a:lnTo>
                    <a:pt x="338" y="396"/>
                  </a:lnTo>
                  <a:lnTo>
                    <a:pt x="336" y="390"/>
                  </a:lnTo>
                  <a:lnTo>
                    <a:pt x="329" y="383"/>
                  </a:lnTo>
                  <a:lnTo>
                    <a:pt x="324" y="379"/>
                  </a:lnTo>
                  <a:lnTo>
                    <a:pt x="314" y="376"/>
                  </a:lnTo>
                  <a:lnTo>
                    <a:pt x="307" y="372"/>
                  </a:lnTo>
                  <a:lnTo>
                    <a:pt x="298" y="368"/>
                  </a:lnTo>
                  <a:lnTo>
                    <a:pt x="288" y="363"/>
                  </a:lnTo>
                  <a:lnTo>
                    <a:pt x="279" y="355"/>
                  </a:lnTo>
                  <a:lnTo>
                    <a:pt x="272" y="346"/>
                  </a:lnTo>
                  <a:lnTo>
                    <a:pt x="266" y="344"/>
                  </a:lnTo>
                  <a:lnTo>
                    <a:pt x="259" y="342"/>
                  </a:lnTo>
                  <a:lnTo>
                    <a:pt x="255" y="342"/>
                  </a:lnTo>
                  <a:lnTo>
                    <a:pt x="251" y="339"/>
                  </a:lnTo>
                  <a:lnTo>
                    <a:pt x="248" y="335"/>
                  </a:lnTo>
                  <a:lnTo>
                    <a:pt x="244" y="329"/>
                  </a:lnTo>
                  <a:lnTo>
                    <a:pt x="242" y="324"/>
                  </a:lnTo>
                  <a:lnTo>
                    <a:pt x="244" y="320"/>
                  </a:lnTo>
                  <a:lnTo>
                    <a:pt x="246" y="316"/>
                  </a:lnTo>
                  <a:lnTo>
                    <a:pt x="248" y="311"/>
                  </a:lnTo>
                  <a:lnTo>
                    <a:pt x="255" y="303"/>
                  </a:lnTo>
                  <a:lnTo>
                    <a:pt x="257" y="296"/>
                  </a:lnTo>
                  <a:lnTo>
                    <a:pt x="250" y="281"/>
                  </a:lnTo>
                  <a:lnTo>
                    <a:pt x="240" y="268"/>
                  </a:lnTo>
                  <a:lnTo>
                    <a:pt x="242" y="257"/>
                  </a:lnTo>
                  <a:lnTo>
                    <a:pt x="248" y="248"/>
                  </a:lnTo>
                  <a:lnTo>
                    <a:pt x="251" y="233"/>
                  </a:lnTo>
                  <a:lnTo>
                    <a:pt x="253" y="220"/>
                  </a:lnTo>
                  <a:lnTo>
                    <a:pt x="257" y="207"/>
                  </a:lnTo>
                  <a:lnTo>
                    <a:pt x="263" y="198"/>
                  </a:lnTo>
                  <a:lnTo>
                    <a:pt x="274" y="187"/>
                  </a:lnTo>
                  <a:lnTo>
                    <a:pt x="285" y="180"/>
                  </a:lnTo>
                  <a:lnTo>
                    <a:pt x="298" y="174"/>
                  </a:lnTo>
                  <a:lnTo>
                    <a:pt x="311" y="169"/>
                  </a:lnTo>
                  <a:lnTo>
                    <a:pt x="322" y="161"/>
                  </a:lnTo>
                  <a:lnTo>
                    <a:pt x="333" y="148"/>
                  </a:lnTo>
                  <a:lnTo>
                    <a:pt x="338" y="141"/>
                  </a:lnTo>
                  <a:lnTo>
                    <a:pt x="344" y="132"/>
                  </a:lnTo>
                  <a:lnTo>
                    <a:pt x="349" y="122"/>
                  </a:lnTo>
                  <a:lnTo>
                    <a:pt x="355" y="109"/>
                  </a:lnTo>
                  <a:lnTo>
                    <a:pt x="344" y="115"/>
                  </a:lnTo>
                  <a:lnTo>
                    <a:pt x="333" y="119"/>
                  </a:lnTo>
                  <a:lnTo>
                    <a:pt x="309" y="115"/>
                  </a:lnTo>
                  <a:lnTo>
                    <a:pt x="287" y="111"/>
                  </a:lnTo>
                  <a:lnTo>
                    <a:pt x="264" y="115"/>
                  </a:lnTo>
                  <a:lnTo>
                    <a:pt x="246" y="119"/>
                  </a:lnTo>
                  <a:lnTo>
                    <a:pt x="240" y="117"/>
                  </a:lnTo>
                  <a:lnTo>
                    <a:pt x="237" y="115"/>
                  </a:lnTo>
                  <a:lnTo>
                    <a:pt x="233" y="109"/>
                  </a:lnTo>
                  <a:lnTo>
                    <a:pt x="231" y="104"/>
                  </a:lnTo>
                  <a:lnTo>
                    <a:pt x="226" y="93"/>
                  </a:lnTo>
                  <a:lnTo>
                    <a:pt x="224" y="78"/>
                  </a:lnTo>
                  <a:lnTo>
                    <a:pt x="220" y="65"/>
                  </a:lnTo>
                  <a:lnTo>
                    <a:pt x="216" y="52"/>
                  </a:lnTo>
                  <a:lnTo>
                    <a:pt x="215" y="47"/>
                  </a:lnTo>
                  <a:lnTo>
                    <a:pt x="211" y="43"/>
                  </a:lnTo>
                  <a:lnTo>
                    <a:pt x="209" y="41"/>
                  </a:lnTo>
                  <a:lnTo>
                    <a:pt x="205" y="39"/>
                  </a:lnTo>
                  <a:lnTo>
                    <a:pt x="198" y="41"/>
                  </a:lnTo>
                  <a:lnTo>
                    <a:pt x="191" y="45"/>
                  </a:lnTo>
                  <a:lnTo>
                    <a:pt x="183" y="50"/>
                  </a:lnTo>
                  <a:lnTo>
                    <a:pt x="179" y="58"/>
                  </a:lnTo>
                  <a:lnTo>
                    <a:pt x="172" y="73"/>
                  </a:lnTo>
                  <a:lnTo>
                    <a:pt x="161" y="89"/>
                  </a:lnTo>
                  <a:lnTo>
                    <a:pt x="152" y="104"/>
                  </a:lnTo>
                  <a:lnTo>
                    <a:pt x="146" y="111"/>
                  </a:lnTo>
                  <a:lnTo>
                    <a:pt x="141" y="108"/>
                  </a:lnTo>
                  <a:lnTo>
                    <a:pt x="137" y="98"/>
                  </a:lnTo>
                  <a:lnTo>
                    <a:pt x="135" y="87"/>
                  </a:lnTo>
                  <a:lnTo>
                    <a:pt x="131" y="76"/>
                  </a:lnTo>
                  <a:lnTo>
                    <a:pt x="120" y="60"/>
                  </a:lnTo>
                  <a:lnTo>
                    <a:pt x="107" y="43"/>
                  </a:lnTo>
                  <a:lnTo>
                    <a:pt x="113" y="28"/>
                  </a:lnTo>
                  <a:lnTo>
                    <a:pt x="117" y="19"/>
                  </a:lnTo>
                  <a:lnTo>
                    <a:pt x="109" y="10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1" name="Freeform 37"/>
            <p:cNvSpPr>
              <a:spLocks/>
            </p:cNvSpPr>
            <p:nvPr/>
          </p:nvSpPr>
          <p:spPr bwMode="auto">
            <a:xfrm>
              <a:off x="4844981" y="2712362"/>
              <a:ext cx="124187" cy="195419"/>
            </a:xfrm>
            <a:custGeom>
              <a:avLst/>
              <a:gdLst>
                <a:gd name="T0" fmla="*/ 183 w 238"/>
                <a:gd name="T1" fmla="*/ 139 h 384"/>
                <a:gd name="T2" fmla="*/ 181 w 238"/>
                <a:gd name="T3" fmla="*/ 152 h 384"/>
                <a:gd name="T4" fmla="*/ 190 w 238"/>
                <a:gd name="T5" fmla="*/ 174 h 384"/>
                <a:gd name="T6" fmla="*/ 172 w 238"/>
                <a:gd name="T7" fmla="*/ 198 h 384"/>
                <a:gd name="T8" fmla="*/ 175 w 238"/>
                <a:gd name="T9" fmla="*/ 214 h 384"/>
                <a:gd name="T10" fmla="*/ 181 w 238"/>
                <a:gd name="T11" fmla="*/ 214 h 384"/>
                <a:gd name="T12" fmla="*/ 203 w 238"/>
                <a:gd name="T13" fmla="*/ 218 h 384"/>
                <a:gd name="T14" fmla="*/ 188 w 238"/>
                <a:gd name="T15" fmla="*/ 246 h 384"/>
                <a:gd name="T16" fmla="*/ 164 w 238"/>
                <a:gd name="T17" fmla="*/ 266 h 384"/>
                <a:gd name="T18" fmla="*/ 168 w 238"/>
                <a:gd name="T19" fmla="*/ 305 h 384"/>
                <a:gd name="T20" fmla="*/ 177 w 238"/>
                <a:gd name="T21" fmla="*/ 338 h 384"/>
                <a:gd name="T22" fmla="*/ 161 w 238"/>
                <a:gd name="T23" fmla="*/ 366 h 384"/>
                <a:gd name="T24" fmla="*/ 138 w 238"/>
                <a:gd name="T25" fmla="*/ 381 h 384"/>
                <a:gd name="T26" fmla="*/ 129 w 238"/>
                <a:gd name="T27" fmla="*/ 379 h 384"/>
                <a:gd name="T28" fmla="*/ 133 w 238"/>
                <a:gd name="T29" fmla="*/ 364 h 384"/>
                <a:gd name="T30" fmla="*/ 122 w 238"/>
                <a:gd name="T31" fmla="*/ 359 h 384"/>
                <a:gd name="T32" fmla="*/ 103 w 238"/>
                <a:gd name="T33" fmla="*/ 349 h 384"/>
                <a:gd name="T34" fmla="*/ 98 w 238"/>
                <a:gd name="T35" fmla="*/ 359 h 384"/>
                <a:gd name="T36" fmla="*/ 87 w 238"/>
                <a:gd name="T37" fmla="*/ 357 h 384"/>
                <a:gd name="T38" fmla="*/ 77 w 238"/>
                <a:gd name="T39" fmla="*/ 344 h 384"/>
                <a:gd name="T40" fmla="*/ 76 w 238"/>
                <a:gd name="T41" fmla="*/ 335 h 384"/>
                <a:gd name="T42" fmla="*/ 70 w 238"/>
                <a:gd name="T43" fmla="*/ 309 h 384"/>
                <a:gd name="T44" fmla="*/ 63 w 238"/>
                <a:gd name="T45" fmla="*/ 288 h 384"/>
                <a:gd name="T46" fmla="*/ 72 w 238"/>
                <a:gd name="T47" fmla="*/ 270 h 384"/>
                <a:gd name="T48" fmla="*/ 61 w 238"/>
                <a:gd name="T49" fmla="*/ 240 h 384"/>
                <a:gd name="T50" fmla="*/ 41 w 238"/>
                <a:gd name="T51" fmla="*/ 211 h 384"/>
                <a:gd name="T52" fmla="*/ 15 w 238"/>
                <a:gd name="T53" fmla="*/ 183 h 384"/>
                <a:gd name="T54" fmla="*/ 2 w 238"/>
                <a:gd name="T55" fmla="*/ 165 h 384"/>
                <a:gd name="T56" fmla="*/ 5 w 238"/>
                <a:gd name="T57" fmla="*/ 124 h 384"/>
                <a:gd name="T58" fmla="*/ 13 w 238"/>
                <a:gd name="T59" fmla="*/ 80 h 384"/>
                <a:gd name="T60" fmla="*/ 7 w 238"/>
                <a:gd name="T61" fmla="*/ 52 h 384"/>
                <a:gd name="T62" fmla="*/ 9 w 238"/>
                <a:gd name="T63" fmla="*/ 37 h 384"/>
                <a:gd name="T64" fmla="*/ 41 w 238"/>
                <a:gd name="T65" fmla="*/ 26 h 384"/>
                <a:gd name="T66" fmla="*/ 70 w 238"/>
                <a:gd name="T67" fmla="*/ 19 h 384"/>
                <a:gd name="T68" fmla="*/ 100 w 238"/>
                <a:gd name="T69" fmla="*/ 0 h 384"/>
                <a:gd name="T70" fmla="*/ 140 w 238"/>
                <a:gd name="T71" fmla="*/ 6 h 384"/>
                <a:gd name="T72" fmla="*/ 168 w 238"/>
                <a:gd name="T73" fmla="*/ 19 h 384"/>
                <a:gd name="T74" fmla="*/ 203 w 238"/>
                <a:gd name="T75" fmla="*/ 13 h 384"/>
                <a:gd name="T76" fmla="*/ 198 w 238"/>
                <a:gd name="T77" fmla="*/ 35 h 384"/>
                <a:gd name="T78" fmla="*/ 218 w 238"/>
                <a:gd name="T79" fmla="*/ 50 h 384"/>
                <a:gd name="T80" fmla="*/ 225 w 238"/>
                <a:gd name="T81" fmla="*/ 61 h 384"/>
                <a:gd name="T82" fmla="*/ 238 w 238"/>
                <a:gd name="T83" fmla="*/ 80 h 384"/>
                <a:gd name="T84" fmla="*/ 225 w 238"/>
                <a:gd name="T85" fmla="*/ 100 h 384"/>
                <a:gd name="T86" fmla="*/ 201 w 238"/>
                <a:gd name="T87" fmla="*/ 117 h 384"/>
                <a:gd name="T88" fmla="*/ 192 w 238"/>
                <a:gd name="T89" fmla="*/ 128 h 38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8"/>
                <a:gd name="T136" fmla="*/ 0 h 384"/>
                <a:gd name="T137" fmla="*/ 238 w 238"/>
                <a:gd name="T138" fmla="*/ 384 h 38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8" h="384">
                  <a:moveTo>
                    <a:pt x="192" y="128"/>
                  </a:moveTo>
                  <a:lnTo>
                    <a:pt x="186" y="133"/>
                  </a:lnTo>
                  <a:lnTo>
                    <a:pt x="183" y="139"/>
                  </a:lnTo>
                  <a:lnTo>
                    <a:pt x="181" y="142"/>
                  </a:lnTo>
                  <a:lnTo>
                    <a:pt x="181" y="148"/>
                  </a:lnTo>
                  <a:lnTo>
                    <a:pt x="181" y="152"/>
                  </a:lnTo>
                  <a:lnTo>
                    <a:pt x="183" y="157"/>
                  </a:lnTo>
                  <a:lnTo>
                    <a:pt x="188" y="166"/>
                  </a:lnTo>
                  <a:lnTo>
                    <a:pt x="190" y="174"/>
                  </a:lnTo>
                  <a:lnTo>
                    <a:pt x="183" y="183"/>
                  </a:lnTo>
                  <a:lnTo>
                    <a:pt x="174" y="194"/>
                  </a:lnTo>
                  <a:lnTo>
                    <a:pt x="172" y="198"/>
                  </a:lnTo>
                  <a:lnTo>
                    <a:pt x="170" y="203"/>
                  </a:lnTo>
                  <a:lnTo>
                    <a:pt x="172" y="209"/>
                  </a:lnTo>
                  <a:lnTo>
                    <a:pt x="175" y="214"/>
                  </a:lnTo>
                  <a:lnTo>
                    <a:pt x="177" y="216"/>
                  </a:lnTo>
                  <a:lnTo>
                    <a:pt x="179" y="216"/>
                  </a:lnTo>
                  <a:lnTo>
                    <a:pt x="181" y="214"/>
                  </a:lnTo>
                  <a:lnTo>
                    <a:pt x="183" y="211"/>
                  </a:lnTo>
                  <a:lnTo>
                    <a:pt x="188" y="214"/>
                  </a:lnTo>
                  <a:lnTo>
                    <a:pt x="203" y="218"/>
                  </a:lnTo>
                  <a:lnTo>
                    <a:pt x="199" y="224"/>
                  </a:lnTo>
                  <a:lnTo>
                    <a:pt x="192" y="233"/>
                  </a:lnTo>
                  <a:lnTo>
                    <a:pt x="188" y="246"/>
                  </a:lnTo>
                  <a:lnTo>
                    <a:pt x="188" y="253"/>
                  </a:lnTo>
                  <a:lnTo>
                    <a:pt x="177" y="259"/>
                  </a:lnTo>
                  <a:lnTo>
                    <a:pt x="164" y="266"/>
                  </a:lnTo>
                  <a:lnTo>
                    <a:pt x="168" y="279"/>
                  </a:lnTo>
                  <a:lnTo>
                    <a:pt x="175" y="292"/>
                  </a:lnTo>
                  <a:lnTo>
                    <a:pt x="168" y="305"/>
                  </a:lnTo>
                  <a:lnTo>
                    <a:pt x="161" y="318"/>
                  </a:lnTo>
                  <a:lnTo>
                    <a:pt x="170" y="327"/>
                  </a:lnTo>
                  <a:lnTo>
                    <a:pt x="177" y="338"/>
                  </a:lnTo>
                  <a:lnTo>
                    <a:pt x="172" y="349"/>
                  </a:lnTo>
                  <a:lnTo>
                    <a:pt x="168" y="359"/>
                  </a:lnTo>
                  <a:lnTo>
                    <a:pt x="161" y="366"/>
                  </a:lnTo>
                  <a:lnTo>
                    <a:pt x="155" y="372"/>
                  </a:lnTo>
                  <a:lnTo>
                    <a:pt x="148" y="377"/>
                  </a:lnTo>
                  <a:lnTo>
                    <a:pt x="138" y="381"/>
                  </a:lnTo>
                  <a:lnTo>
                    <a:pt x="131" y="383"/>
                  </a:lnTo>
                  <a:lnTo>
                    <a:pt x="122" y="384"/>
                  </a:lnTo>
                  <a:lnTo>
                    <a:pt x="129" y="379"/>
                  </a:lnTo>
                  <a:lnTo>
                    <a:pt x="133" y="373"/>
                  </a:lnTo>
                  <a:lnTo>
                    <a:pt x="133" y="370"/>
                  </a:lnTo>
                  <a:lnTo>
                    <a:pt x="133" y="364"/>
                  </a:lnTo>
                  <a:lnTo>
                    <a:pt x="131" y="360"/>
                  </a:lnTo>
                  <a:lnTo>
                    <a:pt x="125" y="359"/>
                  </a:lnTo>
                  <a:lnTo>
                    <a:pt x="122" y="359"/>
                  </a:lnTo>
                  <a:lnTo>
                    <a:pt x="116" y="357"/>
                  </a:lnTo>
                  <a:lnTo>
                    <a:pt x="109" y="351"/>
                  </a:lnTo>
                  <a:lnTo>
                    <a:pt x="103" y="349"/>
                  </a:lnTo>
                  <a:lnTo>
                    <a:pt x="101" y="351"/>
                  </a:lnTo>
                  <a:lnTo>
                    <a:pt x="100" y="357"/>
                  </a:lnTo>
                  <a:lnTo>
                    <a:pt x="98" y="359"/>
                  </a:lnTo>
                  <a:lnTo>
                    <a:pt x="96" y="359"/>
                  </a:lnTo>
                  <a:lnTo>
                    <a:pt x="92" y="359"/>
                  </a:lnTo>
                  <a:lnTo>
                    <a:pt x="87" y="357"/>
                  </a:lnTo>
                  <a:lnTo>
                    <a:pt x="81" y="353"/>
                  </a:lnTo>
                  <a:lnTo>
                    <a:pt x="79" y="347"/>
                  </a:lnTo>
                  <a:lnTo>
                    <a:pt x="77" y="344"/>
                  </a:lnTo>
                  <a:lnTo>
                    <a:pt x="77" y="338"/>
                  </a:lnTo>
                  <a:lnTo>
                    <a:pt x="77" y="336"/>
                  </a:lnTo>
                  <a:lnTo>
                    <a:pt x="76" y="335"/>
                  </a:lnTo>
                  <a:lnTo>
                    <a:pt x="70" y="329"/>
                  </a:lnTo>
                  <a:lnTo>
                    <a:pt x="65" y="320"/>
                  </a:lnTo>
                  <a:lnTo>
                    <a:pt x="70" y="309"/>
                  </a:lnTo>
                  <a:lnTo>
                    <a:pt x="76" y="303"/>
                  </a:lnTo>
                  <a:lnTo>
                    <a:pt x="68" y="296"/>
                  </a:lnTo>
                  <a:lnTo>
                    <a:pt x="63" y="288"/>
                  </a:lnTo>
                  <a:lnTo>
                    <a:pt x="72" y="283"/>
                  </a:lnTo>
                  <a:lnTo>
                    <a:pt x="81" y="277"/>
                  </a:lnTo>
                  <a:lnTo>
                    <a:pt x="72" y="270"/>
                  </a:lnTo>
                  <a:lnTo>
                    <a:pt x="61" y="261"/>
                  </a:lnTo>
                  <a:lnTo>
                    <a:pt x="61" y="251"/>
                  </a:lnTo>
                  <a:lnTo>
                    <a:pt x="61" y="240"/>
                  </a:lnTo>
                  <a:lnTo>
                    <a:pt x="52" y="235"/>
                  </a:lnTo>
                  <a:lnTo>
                    <a:pt x="44" y="227"/>
                  </a:lnTo>
                  <a:lnTo>
                    <a:pt x="41" y="211"/>
                  </a:lnTo>
                  <a:lnTo>
                    <a:pt x="33" y="198"/>
                  </a:lnTo>
                  <a:lnTo>
                    <a:pt x="24" y="190"/>
                  </a:lnTo>
                  <a:lnTo>
                    <a:pt x="15" y="183"/>
                  </a:lnTo>
                  <a:lnTo>
                    <a:pt x="9" y="176"/>
                  </a:lnTo>
                  <a:lnTo>
                    <a:pt x="4" y="168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4" y="144"/>
                  </a:lnTo>
                  <a:lnTo>
                    <a:pt x="5" y="124"/>
                  </a:lnTo>
                  <a:lnTo>
                    <a:pt x="4" y="107"/>
                  </a:lnTo>
                  <a:lnTo>
                    <a:pt x="5" y="92"/>
                  </a:lnTo>
                  <a:lnTo>
                    <a:pt x="13" y="80"/>
                  </a:lnTo>
                  <a:lnTo>
                    <a:pt x="20" y="61"/>
                  </a:lnTo>
                  <a:lnTo>
                    <a:pt x="13" y="57"/>
                  </a:lnTo>
                  <a:lnTo>
                    <a:pt x="7" y="52"/>
                  </a:lnTo>
                  <a:lnTo>
                    <a:pt x="9" y="48"/>
                  </a:lnTo>
                  <a:lnTo>
                    <a:pt x="11" y="43"/>
                  </a:lnTo>
                  <a:lnTo>
                    <a:pt x="9" y="37"/>
                  </a:lnTo>
                  <a:lnTo>
                    <a:pt x="5" y="33"/>
                  </a:lnTo>
                  <a:lnTo>
                    <a:pt x="24" y="28"/>
                  </a:lnTo>
                  <a:lnTo>
                    <a:pt x="41" y="26"/>
                  </a:lnTo>
                  <a:lnTo>
                    <a:pt x="50" y="24"/>
                  </a:lnTo>
                  <a:lnTo>
                    <a:pt x="61" y="22"/>
                  </a:lnTo>
                  <a:lnTo>
                    <a:pt x="70" y="19"/>
                  </a:lnTo>
                  <a:lnTo>
                    <a:pt x="81" y="15"/>
                  </a:lnTo>
                  <a:lnTo>
                    <a:pt x="94" y="6"/>
                  </a:lnTo>
                  <a:lnTo>
                    <a:pt x="100" y="0"/>
                  </a:lnTo>
                  <a:lnTo>
                    <a:pt x="114" y="4"/>
                  </a:lnTo>
                  <a:lnTo>
                    <a:pt x="129" y="7"/>
                  </a:lnTo>
                  <a:lnTo>
                    <a:pt x="140" y="6"/>
                  </a:lnTo>
                  <a:lnTo>
                    <a:pt x="150" y="4"/>
                  </a:lnTo>
                  <a:lnTo>
                    <a:pt x="157" y="11"/>
                  </a:lnTo>
                  <a:lnTo>
                    <a:pt x="168" y="19"/>
                  </a:lnTo>
                  <a:lnTo>
                    <a:pt x="188" y="13"/>
                  </a:lnTo>
                  <a:lnTo>
                    <a:pt x="207" y="4"/>
                  </a:lnTo>
                  <a:lnTo>
                    <a:pt x="203" y="13"/>
                  </a:lnTo>
                  <a:lnTo>
                    <a:pt x="199" y="20"/>
                  </a:lnTo>
                  <a:lnTo>
                    <a:pt x="198" y="28"/>
                  </a:lnTo>
                  <a:lnTo>
                    <a:pt x="198" y="35"/>
                  </a:lnTo>
                  <a:lnTo>
                    <a:pt x="203" y="41"/>
                  </a:lnTo>
                  <a:lnTo>
                    <a:pt x="212" y="46"/>
                  </a:lnTo>
                  <a:lnTo>
                    <a:pt x="218" y="50"/>
                  </a:lnTo>
                  <a:lnTo>
                    <a:pt x="222" y="52"/>
                  </a:lnTo>
                  <a:lnTo>
                    <a:pt x="223" y="57"/>
                  </a:lnTo>
                  <a:lnTo>
                    <a:pt x="225" y="61"/>
                  </a:lnTo>
                  <a:lnTo>
                    <a:pt x="229" y="67"/>
                  </a:lnTo>
                  <a:lnTo>
                    <a:pt x="234" y="74"/>
                  </a:lnTo>
                  <a:lnTo>
                    <a:pt x="238" y="80"/>
                  </a:lnTo>
                  <a:lnTo>
                    <a:pt x="238" y="87"/>
                  </a:lnTo>
                  <a:lnTo>
                    <a:pt x="233" y="96"/>
                  </a:lnTo>
                  <a:lnTo>
                    <a:pt x="225" y="100"/>
                  </a:lnTo>
                  <a:lnTo>
                    <a:pt x="220" y="102"/>
                  </a:lnTo>
                  <a:lnTo>
                    <a:pt x="212" y="107"/>
                  </a:lnTo>
                  <a:lnTo>
                    <a:pt x="201" y="117"/>
                  </a:lnTo>
                  <a:lnTo>
                    <a:pt x="192" y="12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2" name="Freeform 38"/>
            <p:cNvSpPr>
              <a:spLocks/>
            </p:cNvSpPr>
            <p:nvPr/>
          </p:nvSpPr>
          <p:spPr bwMode="auto">
            <a:xfrm>
              <a:off x="4898726" y="2777501"/>
              <a:ext cx="111142" cy="164376"/>
            </a:xfrm>
            <a:custGeom>
              <a:avLst/>
              <a:gdLst>
                <a:gd name="T0" fmla="*/ 17 w 213"/>
                <a:gd name="T1" fmla="*/ 258 h 323"/>
                <a:gd name="T2" fmla="*/ 8 w 213"/>
                <a:gd name="T3" fmla="*/ 262 h 323"/>
                <a:gd name="T4" fmla="*/ 0 w 213"/>
                <a:gd name="T5" fmla="*/ 273 h 323"/>
                <a:gd name="T6" fmla="*/ 2 w 213"/>
                <a:gd name="T7" fmla="*/ 292 h 323"/>
                <a:gd name="T8" fmla="*/ 8 w 213"/>
                <a:gd name="T9" fmla="*/ 306 h 323"/>
                <a:gd name="T10" fmla="*/ 10 w 213"/>
                <a:gd name="T11" fmla="*/ 317 h 323"/>
                <a:gd name="T12" fmla="*/ 11 w 213"/>
                <a:gd name="T13" fmla="*/ 321 h 323"/>
                <a:gd name="T14" fmla="*/ 21 w 213"/>
                <a:gd name="T15" fmla="*/ 321 h 323"/>
                <a:gd name="T16" fmla="*/ 24 w 213"/>
                <a:gd name="T17" fmla="*/ 312 h 323"/>
                <a:gd name="T18" fmla="*/ 32 w 213"/>
                <a:gd name="T19" fmla="*/ 303 h 323"/>
                <a:gd name="T20" fmla="*/ 63 w 213"/>
                <a:gd name="T21" fmla="*/ 301 h 323"/>
                <a:gd name="T22" fmla="*/ 95 w 213"/>
                <a:gd name="T23" fmla="*/ 297 h 323"/>
                <a:gd name="T24" fmla="*/ 102 w 213"/>
                <a:gd name="T25" fmla="*/ 282 h 323"/>
                <a:gd name="T26" fmla="*/ 107 w 213"/>
                <a:gd name="T27" fmla="*/ 271 h 323"/>
                <a:gd name="T28" fmla="*/ 120 w 213"/>
                <a:gd name="T29" fmla="*/ 268 h 323"/>
                <a:gd name="T30" fmla="*/ 133 w 213"/>
                <a:gd name="T31" fmla="*/ 269 h 323"/>
                <a:gd name="T32" fmla="*/ 143 w 213"/>
                <a:gd name="T33" fmla="*/ 258 h 323"/>
                <a:gd name="T34" fmla="*/ 155 w 213"/>
                <a:gd name="T35" fmla="*/ 242 h 323"/>
                <a:gd name="T36" fmla="*/ 168 w 213"/>
                <a:gd name="T37" fmla="*/ 238 h 323"/>
                <a:gd name="T38" fmla="*/ 174 w 213"/>
                <a:gd name="T39" fmla="*/ 232 h 323"/>
                <a:gd name="T40" fmla="*/ 178 w 213"/>
                <a:gd name="T41" fmla="*/ 225 h 323"/>
                <a:gd name="T42" fmla="*/ 181 w 213"/>
                <a:gd name="T43" fmla="*/ 214 h 323"/>
                <a:gd name="T44" fmla="*/ 189 w 213"/>
                <a:gd name="T45" fmla="*/ 203 h 323"/>
                <a:gd name="T46" fmla="*/ 202 w 213"/>
                <a:gd name="T47" fmla="*/ 199 h 323"/>
                <a:gd name="T48" fmla="*/ 211 w 213"/>
                <a:gd name="T49" fmla="*/ 194 h 323"/>
                <a:gd name="T50" fmla="*/ 205 w 213"/>
                <a:gd name="T51" fmla="*/ 170 h 323"/>
                <a:gd name="T52" fmla="*/ 205 w 213"/>
                <a:gd name="T53" fmla="*/ 127 h 323"/>
                <a:gd name="T54" fmla="*/ 202 w 213"/>
                <a:gd name="T55" fmla="*/ 99 h 323"/>
                <a:gd name="T56" fmla="*/ 194 w 213"/>
                <a:gd name="T57" fmla="*/ 64 h 323"/>
                <a:gd name="T58" fmla="*/ 191 w 213"/>
                <a:gd name="T59" fmla="*/ 46 h 323"/>
                <a:gd name="T60" fmla="*/ 185 w 213"/>
                <a:gd name="T61" fmla="*/ 35 h 323"/>
                <a:gd name="T62" fmla="*/ 178 w 213"/>
                <a:gd name="T63" fmla="*/ 31 h 323"/>
                <a:gd name="T64" fmla="*/ 168 w 213"/>
                <a:gd name="T65" fmla="*/ 31 h 323"/>
                <a:gd name="T66" fmla="*/ 155 w 213"/>
                <a:gd name="T67" fmla="*/ 20 h 323"/>
                <a:gd name="T68" fmla="*/ 141 w 213"/>
                <a:gd name="T69" fmla="*/ 25 h 323"/>
                <a:gd name="T70" fmla="*/ 117 w 213"/>
                <a:gd name="T71" fmla="*/ 38 h 323"/>
                <a:gd name="T72" fmla="*/ 109 w 213"/>
                <a:gd name="T73" fmla="*/ 33 h 323"/>
                <a:gd name="T74" fmla="*/ 96 w 213"/>
                <a:gd name="T75" fmla="*/ 18 h 323"/>
                <a:gd name="T76" fmla="*/ 83 w 213"/>
                <a:gd name="T77" fmla="*/ 5 h 323"/>
                <a:gd name="T78" fmla="*/ 78 w 213"/>
                <a:gd name="T79" fmla="*/ 14 h 323"/>
                <a:gd name="T80" fmla="*/ 78 w 213"/>
                <a:gd name="T81" fmla="*/ 24 h 323"/>
                <a:gd name="T82" fmla="*/ 85 w 213"/>
                <a:gd name="T83" fmla="*/ 38 h 323"/>
                <a:gd name="T84" fmla="*/ 80 w 213"/>
                <a:gd name="T85" fmla="*/ 55 h 323"/>
                <a:gd name="T86" fmla="*/ 69 w 213"/>
                <a:gd name="T87" fmla="*/ 70 h 323"/>
                <a:gd name="T88" fmla="*/ 69 w 213"/>
                <a:gd name="T89" fmla="*/ 81 h 323"/>
                <a:gd name="T90" fmla="*/ 74 w 213"/>
                <a:gd name="T91" fmla="*/ 88 h 323"/>
                <a:gd name="T92" fmla="*/ 78 w 213"/>
                <a:gd name="T93" fmla="*/ 86 h 323"/>
                <a:gd name="T94" fmla="*/ 85 w 213"/>
                <a:gd name="T95" fmla="*/ 86 h 323"/>
                <a:gd name="T96" fmla="*/ 96 w 213"/>
                <a:gd name="T97" fmla="*/ 96 h 323"/>
                <a:gd name="T98" fmla="*/ 85 w 213"/>
                <a:gd name="T99" fmla="*/ 118 h 323"/>
                <a:gd name="T100" fmla="*/ 74 w 213"/>
                <a:gd name="T101" fmla="*/ 131 h 323"/>
                <a:gd name="T102" fmla="*/ 65 w 213"/>
                <a:gd name="T103" fmla="*/ 151 h 323"/>
                <a:gd name="T104" fmla="*/ 65 w 213"/>
                <a:gd name="T105" fmla="*/ 177 h 323"/>
                <a:gd name="T106" fmla="*/ 67 w 213"/>
                <a:gd name="T107" fmla="*/ 199 h 323"/>
                <a:gd name="T108" fmla="*/ 69 w 213"/>
                <a:gd name="T109" fmla="*/ 221 h 323"/>
                <a:gd name="T110" fmla="*/ 58 w 213"/>
                <a:gd name="T111" fmla="*/ 238 h 323"/>
                <a:gd name="T112" fmla="*/ 45 w 213"/>
                <a:gd name="T113" fmla="*/ 249 h 323"/>
                <a:gd name="T114" fmla="*/ 28 w 213"/>
                <a:gd name="T115" fmla="*/ 255 h 32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3"/>
                <a:gd name="T175" fmla="*/ 0 h 323"/>
                <a:gd name="T176" fmla="*/ 213 w 213"/>
                <a:gd name="T177" fmla="*/ 323 h 32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3" h="323">
                  <a:moveTo>
                    <a:pt x="19" y="256"/>
                  </a:moveTo>
                  <a:lnTo>
                    <a:pt x="17" y="258"/>
                  </a:lnTo>
                  <a:lnTo>
                    <a:pt x="13" y="260"/>
                  </a:lnTo>
                  <a:lnTo>
                    <a:pt x="8" y="262"/>
                  </a:lnTo>
                  <a:lnTo>
                    <a:pt x="4" y="266"/>
                  </a:lnTo>
                  <a:lnTo>
                    <a:pt x="0" y="273"/>
                  </a:lnTo>
                  <a:lnTo>
                    <a:pt x="0" y="280"/>
                  </a:lnTo>
                  <a:lnTo>
                    <a:pt x="2" y="292"/>
                  </a:lnTo>
                  <a:lnTo>
                    <a:pt x="6" y="301"/>
                  </a:lnTo>
                  <a:lnTo>
                    <a:pt x="8" y="306"/>
                  </a:lnTo>
                  <a:lnTo>
                    <a:pt x="8" y="314"/>
                  </a:lnTo>
                  <a:lnTo>
                    <a:pt x="10" y="317"/>
                  </a:lnTo>
                  <a:lnTo>
                    <a:pt x="10" y="319"/>
                  </a:lnTo>
                  <a:lnTo>
                    <a:pt x="11" y="321"/>
                  </a:lnTo>
                  <a:lnTo>
                    <a:pt x="15" y="323"/>
                  </a:lnTo>
                  <a:lnTo>
                    <a:pt x="21" y="321"/>
                  </a:lnTo>
                  <a:lnTo>
                    <a:pt x="22" y="317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2" y="303"/>
                  </a:lnTo>
                  <a:lnTo>
                    <a:pt x="39" y="299"/>
                  </a:lnTo>
                  <a:lnTo>
                    <a:pt x="63" y="301"/>
                  </a:lnTo>
                  <a:lnTo>
                    <a:pt x="87" y="303"/>
                  </a:lnTo>
                  <a:lnTo>
                    <a:pt x="95" y="297"/>
                  </a:lnTo>
                  <a:lnTo>
                    <a:pt x="100" y="290"/>
                  </a:lnTo>
                  <a:lnTo>
                    <a:pt x="102" y="282"/>
                  </a:lnTo>
                  <a:lnTo>
                    <a:pt x="104" y="277"/>
                  </a:lnTo>
                  <a:lnTo>
                    <a:pt x="107" y="271"/>
                  </a:lnTo>
                  <a:lnTo>
                    <a:pt x="111" y="268"/>
                  </a:lnTo>
                  <a:lnTo>
                    <a:pt x="120" y="268"/>
                  </a:lnTo>
                  <a:lnTo>
                    <a:pt x="133" y="269"/>
                  </a:lnTo>
                  <a:lnTo>
                    <a:pt x="135" y="269"/>
                  </a:lnTo>
                  <a:lnTo>
                    <a:pt x="143" y="258"/>
                  </a:lnTo>
                  <a:lnTo>
                    <a:pt x="150" y="247"/>
                  </a:lnTo>
                  <a:lnTo>
                    <a:pt x="155" y="242"/>
                  </a:lnTo>
                  <a:lnTo>
                    <a:pt x="161" y="240"/>
                  </a:lnTo>
                  <a:lnTo>
                    <a:pt x="168" y="238"/>
                  </a:lnTo>
                  <a:lnTo>
                    <a:pt x="176" y="238"/>
                  </a:lnTo>
                  <a:lnTo>
                    <a:pt x="174" y="232"/>
                  </a:lnTo>
                  <a:lnTo>
                    <a:pt x="172" y="225"/>
                  </a:lnTo>
                  <a:lnTo>
                    <a:pt x="178" y="225"/>
                  </a:lnTo>
                  <a:lnTo>
                    <a:pt x="181" y="225"/>
                  </a:lnTo>
                  <a:lnTo>
                    <a:pt x="181" y="214"/>
                  </a:lnTo>
                  <a:lnTo>
                    <a:pt x="185" y="207"/>
                  </a:lnTo>
                  <a:lnTo>
                    <a:pt x="189" y="203"/>
                  </a:lnTo>
                  <a:lnTo>
                    <a:pt x="194" y="201"/>
                  </a:lnTo>
                  <a:lnTo>
                    <a:pt x="202" y="199"/>
                  </a:lnTo>
                  <a:lnTo>
                    <a:pt x="207" y="197"/>
                  </a:lnTo>
                  <a:lnTo>
                    <a:pt x="211" y="194"/>
                  </a:lnTo>
                  <a:lnTo>
                    <a:pt x="213" y="190"/>
                  </a:lnTo>
                  <a:lnTo>
                    <a:pt x="205" y="170"/>
                  </a:lnTo>
                  <a:lnTo>
                    <a:pt x="198" y="146"/>
                  </a:lnTo>
                  <a:lnTo>
                    <a:pt x="205" y="127"/>
                  </a:lnTo>
                  <a:lnTo>
                    <a:pt x="207" y="114"/>
                  </a:lnTo>
                  <a:lnTo>
                    <a:pt x="202" y="99"/>
                  </a:lnTo>
                  <a:lnTo>
                    <a:pt x="196" y="79"/>
                  </a:lnTo>
                  <a:lnTo>
                    <a:pt x="194" y="64"/>
                  </a:lnTo>
                  <a:lnTo>
                    <a:pt x="192" y="53"/>
                  </a:lnTo>
                  <a:lnTo>
                    <a:pt x="191" y="46"/>
                  </a:lnTo>
                  <a:lnTo>
                    <a:pt x="187" y="38"/>
                  </a:lnTo>
                  <a:lnTo>
                    <a:pt x="185" y="35"/>
                  </a:lnTo>
                  <a:lnTo>
                    <a:pt x="181" y="33"/>
                  </a:lnTo>
                  <a:lnTo>
                    <a:pt x="178" y="31"/>
                  </a:lnTo>
                  <a:lnTo>
                    <a:pt x="176" y="31"/>
                  </a:lnTo>
                  <a:lnTo>
                    <a:pt x="168" y="31"/>
                  </a:lnTo>
                  <a:lnTo>
                    <a:pt x="163" y="29"/>
                  </a:lnTo>
                  <a:lnTo>
                    <a:pt x="155" y="20"/>
                  </a:lnTo>
                  <a:lnTo>
                    <a:pt x="150" y="16"/>
                  </a:lnTo>
                  <a:lnTo>
                    <a:pt x="141" y="25"/>
                  </a:lnTo>
                  <a:lnTo>
                    <a:pt x="122" y="38"/>
                  </a:lnTo>
                  <a:lnTo>
                    <a:pt x="117" y="38"/>
                  </a:lnTo>
                  <a:lnTo>
                    <a:pt x="113" y="37"/>
                  </a:lnTo>
                  <a:lnTo>
                    <a:pt x="109" y="33"/>
                  </a:lnTo>
                  <a:lnTo>
                    <a:pt x="106" y="29"/>
                  </a:lnTo>
                  <a:lnTo>
                    <a:pt x="96" y="18"/>
                  </a:lnTo>
                  <a:lnTo>
                    <a:pt x="89" y="0"/>
                  </a:lnTo>
                  <a:lnTo>
                    <a:pt x="83" y="5"/>
                  </a:lnTo>
                  <a:lnTo>
                    <a:pt x="80" y="11"/>
                  </a:lnTo>
                  <a:lnTo>
                    <a:pt x="78" y="14"/>
                  </a:lnTo>
                  <a:lnTo>
                    <a:pt x="78" y="20"/>
                  </a:lnTo>
                  <a:lnTo>
                    <a:pt x="78" y="24"/>
                  </a:lnTo>
                  <a:lnTo>
                    <a:pt x="80" y="29"/>
                  </a:lnTo>
                  <a:lnTo>
                    <a:pt x="85" y="38"/>
                  </a:lnTo>
                  <a:lnTo>
                    <a:pt x="87" y="46"/>
                  </a:lnTo>
                  <a:lnTo>
                    <a:pt x="80" y="55"/>
                  </a:lnTo>
                  <a:lnTo>
                    <a:pt x="71" y="66"/>
                  </a:lnTo>
                  <a:lnTo>
                    <a:pt x="69" y="70"/>
                  </a:lnTo>
                  <a:lnTo>
                    <a:pt x="67" y="75"/>
                  </a:lnTo>
                  <a:lnTo>
                    <a:pt x="69" y="81"/>
                  </a:lnTo>
                  <a:lnTo>
                    <a:pt x="72" y="86"/>
                  </a:lnTo>
                  <a:lnTo>
                    <a:pt x="74" y="88"/>
                  </a:lnTo>
                  <a:lnTo>
                    <a:pt x="76" y="88"/>
                  </a:lnTo>
                  <a:lnTo>
                    <a:pt x="78" y="86"/>
                  </a:lnTo>
                  <a:lnTo>
                    <a:pt x="80" y="83"/>
                  </a:lnTo>
                  <a:lnTo>
                    <a:pt x="85" y="86"/>
                  </a:lnTo>
                  <a:lnTo>
                    <a:pt x="100" y="90"/>
                  </a:lnTo>
                  <a:lnTo>
                    <a:pt x="96" y="96"/>
                  </a:lnTo>
                  <a:lnTo>
                    <a:pt x="89" y="105"/>
                  </a:lnTo>
                  <a:lnTo>
                    <a:pt x="85" y="118"/>
                  </a:lnTo>
                  <a:lnTo>
                    <a:pt x="85" y="125"/>
                  </a:lnTo>
                  <a:lnTo>
                    <a:pt x="74" y="131"/>
                  </a:lnTo>
                  <a:lnTo>
                    <a:pt x="61" y="138"/>
                  </a:lnTo>
                  <a:lnTo>
                    <a:pt x="65" y="151"/>
                  </a:lnTo>
                  <a:lnTo>
                    <a:pt x="72" y="164"/>
                  </a:lnTo>
                  <a:lnTo>
                    <a:pt x="65" y="177"/>
                  </a:lnTo>
                  <a:lnTo>
                    <a:pt x="58" y="190"/>
                  </a:lnTo>
                  <a:lnTo>
                    <a:pt x="67" y="199"/>
                  </a:lnTo>
                  <a:lnTo>
                    <a:pt x="74" y="210"/>
                  </a:lnTo>
                  <a:lnTo>
                    <a:pt x="69" y="221"/>
                  </a:lnTo>
                  <a:lnTo>
                    <a:pt x="65" y="231"/>
                  </a:lnTo>
                  <a:lnTo>
                    <a:pt x="58" y="238"/>
                  </a:lnTo>
                  <a:lnTo>
                    <a:pt x="52" y="244"/>
                  </a:lnTo>
                  <a:lnTo>
                    <a:pt x="45" y="249"/>
                  </a:lnTo>
                  <a:lnTo>
                    <a:pt x="35" y="253"/>
                  </a:lnTo>
                  <a:lnTo>
                    <a:pt x="28" y="255"/>
                  </a:lnTo>
                  <a:lnTo>
                    <a:pt x="19" y="25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3" name="Freeform 39"/>
            <p:cNvSpPr>
              <a:spLocks/>
            </p:cNvSpPr>
            <p:nvPr/>
          </p:nvSpPr>
          <p:spPr bwMode="auto">
            <a:xfrm>
              <a:off x="4619567" y="2627884"/>
              <a:ext cx="235850" cy="196436"/>
            </a:xfrm>
            <a:custGeom>
              <a:avLst/>
              <a:gdLst>
                <a:gd name="T0" fmla="*/ 1 w 452"/>
                <a:gd name="T1" fmla="*/ 229 h 386"/>
                <a:gd name="T2" fmla="*/ 16 w 452"/>
                <a:gd name="T3" fmla="*/ 233 h 386"/>
                <a:gd name="T4" fmla="*/ 38 w 452"/>
                <a:gd name="T5" fmla="*/ 229 h 386"/>
                <a:gd name="T6" fmla="*/ 55 w 452"/>
                <a:gd name="T7" fmla="*/ 233 h 386"/>
                <a:gd name="T8" fmla="*/ 68 w 452"/>
                <a:gd name="T9" fmla="*/ 223 h 386"/>
                <a:gd name="T10" fmla="*/ 66 w 452"/>
                <a:gd name="T11" fmla="*/ 244 h 386"/>
                <a:gd name="T12" fmla="*/ 40 w 452"/>
                <a:gd name="T13" fmla="*/ 242 h 386"/>
                <a:gd name="T14" fmla="*/ 31 w 452"/>
                <a:gd name="T15" fmla="*/ 251 h 386"/>
                <a:gd name="T16" fmla="*/ 37 w 452"/>
                <a:gd name="T17" fmla="*/ 273 h 386"/>
                <a:gd name="T18" fmla="*/ 57 w 452"/>
                <a:gd name="T19" fmla="*/ 305 h 386"/>
                <a:gd name="T20" fmla="*/ 77 w 452"/>
                <a:gd name="T21" fmla="*/ 307 h 386"/>
                <a:gd name="T22" fmla="*/ 112 w 452"/>
                <a:gd name="T23" fmla="*/ 316 h 386"/>
                <a:gd name="T24" fmla="*/ 164 w 452"/>
                <a:gd name="T25" fmla="*/ 316 h 386"/>
                <a:gd name="T26" fmla="*/ 210 w 452"/>
                <a:gd name="T27" fmla="*/ 307 h 386"/>
                <a:gd name="T28" fmla="*/ 245 w 452"/>
                <a:gd name="T29" fmla="*/ 295 h 386"/>
                <a:gd name="T30" fmla="*/ 264 w 452"/>
                <a:gd name="T31" fmla="*/ 325 h 386"/>
                <a:gd name="T32" fmla="*/ 284 w 452"/>
                <a:gd name="T33" fmla="*/ 340 h 386"/>
                <a:gd name="T34" fmla="*/ 282 w 452"/>
                <a:gd name="T35" fmla="*/ 355 h 386"/>
                <a:gd name="T36" fmla="*/ 277 w 452"/>
                <a:gd name="T37" fmla="*/ 369 h 386"/>
                <a:gd name="T38" fmla="*/ 293 w 452"/>
                <a:gd name="T39" fmla="*/ 382 h 386"/>
                <a:gd name="T40" fmla="*/ 306 w 452"/>
                <a:gd name="T41" fmla="*/ 369 h 386"/>
                <a:gd name="T42" fmla="*/ 315 w 452"/>
                <a:gd name="T43" fmla="*/ 360 h 386"/>
                <a:gd name="T44" fmla="*/ 330 w 452"/>
                <a:gd name="T45" fmla="*/ 343 h 386"/>
                <a:gd name="T46" fmla="*/ 352 w 452"/>
                <a:gd name="T47" fmla="*/ 343 h 386"/>
                <a:gd name="T48" fmla="*/ 384 w 452"/>
                <a:gd name="T49" fmla="*/ 351 h 386"/>
                <a:gd name="T50" fmla="*/ 412 w 452"/>
                <a:gd name="T51" fmla="*/ 345 h 386"/>
                <a:gd name="T52" fmla="*/ 428 w 452"/>
                <a:gd name="T53" fmla="*/ 332 h 386"/>
                <a:gd name="T54" fmla="*/ 436 w 452"/>
                <a:gd name="T55" fmla="*/ 310 h 386"/>
                <a:gd name="T56" fmla="*/ 437 w 452"/>
                <a:gd name="T57" fmla="*/ 258 h 386"/>
                <a:gd name="T58" fmla="*/ 445 w 452"/>
                <a:gd name="T59" fmla="*/ 223 h 386"/>
                <a:gd name="T60" fmla="*/ 443 w 452"/>
                <a:gd name="T61" fmla="*/ 209 h 386"/>
                <a:gd name="T62" fmla="*/ 430 w 452"/>
                <a:gd name="T63" fmla="*/ 196 h 386"/>
                <a:gd name="T64" fmla="*/ 404 w 452"/>
                <a:gd name="T65" fmla="*/ 207 h 386"/>
                <a:gd name="T66" fmla="*/ 391 w 452"/>
                <a:gd name="T67" fmla="*/ 212 h 386"/>
                <a:gd name="T68" fmla="*/ 386 w 452"/>
                <a:gd name="T69" fmla="*/ 177 h 386"/>
                <a:gd name="T70" fmla="*/ 386 w 452"/>
                <a:gd name="T71" fmla="*/ 140 h 386"/>
                <a:gd name="T72" fmla="*/ 365 w 452"/>
                <a:gd name="T73" fmla="*/ 149 h 386"/>
                <a:gd name="T74" fmla="*/ 336 w 452"/>
                <a:gd name="T75" fmla="*/ 151 h 386"/>
                <a:gd name="T76" fmla="*/ 304 w 452"/>
                <a:gd name="T77" fmla="*/ 109 h 386"/>
                <a:gd name="T78" fmla="*/ 258 w 452"/>
                <a:gd name="T79" fmla="*/ 109 h 386"/>
                <a:gd name="T80" fmla="*/ 249 w 452"/>
                <a:gd name="T81" fmla="*/ 92 h 386"/>
                <a:gd name="T82" fmla="*/ 208 w 452"/>
                <a:gd name="T83" fmla="*/ 44 h 386"/>
                <a:gd name="T84" fmla="*/ 140 w 452"/>
                <a:gd name="T85" fmla="*/ 9 h 386"/>
                <a:gd name="T86" fmla="*/ 103 w 452"/>
                <a:gd name="T87" fmla="*/ 16 h 386"/>
                <a:gd name="T88" fmla="*/ 81 w 452"/>
                <a:gd name="T89" fmla="*/ 44 h 386"/>
                <a:gd name="T90" fmla="*/ 85 w 452"/>
                <a:gd name="T91" fmla="*/ 61 h 386"/>
                <a:gd name="T92" fmla="*/ 83 w 452"/>
                <a:gd name="T93" fmla="*/ 76 h 386"/>
                <a:gd name="T94" fmla="*/ 66 w 452"/>
                <a:gd name="T95" fmla="*/ 79 h 386"/>
                <a:gd name="T96" fmla="*/ 42 w 452"/>
                <a:gd name="T97" fmla="*/ 70 h 386"/>
                <a:gd name="T98" fmla="*/ 18 w 452"/>
                <a:gd name="T99" fmla="*/ 94 h 386"/>
                <a:gd name="T100" fmla="*/ 14 w 452"/>
                <a:gd name="T101" fmla="*/ 113 h 386"/>
                <a:gd name="T102" fmla="*/ 5 w 452"/>
                <a:gd name="T103" fmla="*/ 140 h 386"/>
                <a:gd name="T104" fmla="*/ 16 w 452"/>
                <a:gd name="T105" fmla="*/ 168 h 386"/>
                <a:gd name="T106" fmla="*/ 7 w 452"/>
                <a:gd name="T107" fmla="*/ 188 h 386"/>
                <a:gd name="T108" fmla="*/ 0 w 452"/>
                <a:gd name="T109" fmla="*/ 201 h 38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2"/>
                <a:gd name="T166" fmla="*/ 0 h 386"/>
                <a:gd name="T167" fmla="*/ 452 w 452"/>
                <a:gd name="T168" fmla="*/ 386 h 38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2" h="386">
                  <a:moveTo>
                    <a:pt x="1" y="229"/>
                  </a:moveTo>
                  <a:lnTo>
                    <a:pt x="1" y="229"/>
                  </a:lnTo>
                  <a:lnTo>
                    <a:pt x="7" y="233"/>
                  </a:lnTo>
                  <a:lnTo>
                    <a:pt x="13" y="233"/>
                  </a:lnTo>
                  <a:lnTo>
                    <a:pt x="16" y="233"/>
                  </a:lnTo>
                  <a:lnTo>
                    <a:pt x="22" y="233"/>
                  </a:lnTo>
                  <a:lnTo>
                    <a:pt x="31" y="231"/>
                  </a:lnTo>
                  <a:lnTo>
                    <a:pt x="38" y="229"/>
                  </a:lnTo>
                  <a:lnTo>
                    <a:pt x="46" y="231"/>
                  </a:lnTo>
                  <a:lnTo>
                    <a:pt x="51" y="233"/>
                  </a:lnTo>
                  <a:lnTo>
                    <a:pt x="55" y="233"/>
                  </a:lnTo>
                  <a:lnTo>
                    <a:pt x="59" y="231"/>
                  </a:lnTo>
                  <a:lnTo>
                    <a:pt x="64" y="227"/>
                  </a:lnTo>
                  <a:lnTo>
                    <a:pt x="68" y="223"/>
                  </a:lnTo>
                  <a:lnTo>
                    <a:pt x="70" y="231"/>
                  </a:lnTo>
                  <a:lnTo>
                    <a:pt x="68" y="236"/>
                  </a:lnTo>
                  <a:lnTo>
                    <a:pt x="66" y="244"/>
                  </a:lnTo>
                  <a:lnTo>
                    <a:pt x="61" y="247"/>
                  </a:lnTo>
                  <a:lnTo>
                    <a:pt x="49" y="246"/>
                  </a:lnTo>
                  <a:lnTo>
                    <a:pt x="40" y="242"/>
                  </a:lnTo>
                  <a:lnTo>
                    <a:pt x="37" y="244"/>
                  </a:lnTo>
                  <a:lnTo>
                    <a:pt x="33" y="246"/>
                  </a:lnTo>
                  <a:lnTo>
                    <a:pt x="31" y="251"/>
                  </a:lnTo>
                  <a:lnTo>
                    <a:pt x="31" y="257"/>
                  </a:lnTo>
                  <a:lnTo>
                    <a:pt x="33" y="268"/>
                  </a:lnTo>
                  <a:lnTo>
                    <a:pt x="37" y="273"/>
                  </a:lnTo>
                  <a:lnTo>
                    <a:pt x="42" y="281"/>
                  </a:lnTo>
                  <a:lnTo>
                    <a:pt x="51" y="292"/>
                  </a:lnTo>
                  <a:lnTo>
                    <a:pt x="57" y="305"/>
                  </a:lnTo>
                  <a:lnTo>
                    <a:pt x="68" y="331"/>
                  </a:lnTo>
                  <a:lnTo>
                    <a:pt x="73" y="316"/>
                  </a:lnTo>
                  <a:lnTo>
                    <a:pt x="77" y="307"/>
                  </a:lnTo>
                  <a:lnTo>
                    <a:pt x="85" y="314"/>
                  </a:lnTo>
                  <a:lnTo>
                    <a:pt x="98" y="323"/>
                  </a:lnTo>
                  <a:lnTo>
                    <a:pt x="112" y="316"/>
                  </a:lnTo>
                  <a:lnTo>
                    <a:pt x="127" y="312"/>
                  </a:lnTo>
                  <a:lnTo>
                    <a:pt x="146" y="314"/>
                  </a:lnTo>
                  <a:lnTo>
                    <a:pt x="164" y="316"/>
                  </a:lnTo>
                  <a:lnTo>
                    <a:pt x="181" y="312"/>
                  </a:lnTo>
                  <a:lnTo>
                    <a:pt x="195" y="307"/>
                  </a:lnTo>
                  <a:lnTo>
                    <a:pt x="210" y="307"/>
                  </a:lnTo>
                  <a:lnTo>
                    <a:pt x="225" y="307"/>
                  </a:lnTo>
                  <a:lnTo>
                    <a:pt x="238" y="299"/>
                  </a:lnTo>
                  <a:lnTo>
                    <a:pt x="245" y="295"/>
                  </a:lnTo>
                  <a:lnTo>
                    <a:pt x="247" y="305"/>
                  </a:lnTo>
                  <a:lnTo>
                    <a:pt x="253" y="316"/>
                  </a:lnTo>
                  <a:lnTo>
                    <a:pt x="264" y="325"/>
                  </a:lnTo>
                  <a:lnTo>
                    <a:pt x="277" y="334"/>
                  </a:lnTo>
                  <a:lnTo>
                    <a:pt x="280" y="336"/>
                  </a:lnTo>
                  <a:lnTo>
                    <a:pt x="284" y="340"/>
                  </a:lnTo>
                  <a:lnTo>
                    <a:pt x="286" y="343"/>
                  </a:lnTo>
                  <a:lnTo>
                    <a:pt x="286" y="349"/>
                  </a:lnTo>
                  <a:lnTo>
                    <a:pt x="282" y="355"/>
                  </a:lnTo>
                  <a:lnTo>
                    <a:pt x="279" y="360"/>
                  </a:lnTo>
                  <a:lnTo>
                    <a:pt x="275" y="364"/>
                  </a:lnTo>
                  <a:lnTo>
                    <a:pt x="277" y="369"/>
                  </a:lnTo>
                  <a:lnTo>
                    <a:pt x="280" y="379"/>
                  </a:lnTo>
                  <a:lnTo>
                    <a:pt x="284" y="386"/>
                  </a:lnTo>
                  <a:lnTo>
                    <a:pt x="293" y="382"/>
                  </a:lnTo>
                  <a:lnTo>
                    <a:pt x="301" y="377"/>
                  </a:lnTo>
                  <a:lnTo>
                    <a:pt x="304" y="373"/>
                  </a:lnTo>
                  <a:lnTo>
                    <a:pt x="306" y="369"/>
                  </a:lnTo>
                  <a:lnTo>
                    <a:pt x="308" y="366"/>
                  </a:lnTo>
                  <a:lnTo>
                    <a:pt x="308" y="360"/>
                  </a:lnTo>
                  <a:lnTo>
                    <a:pt x="315" y="360"/>
                  </a:lnTo>
                  <a:lnTo>
                    <a:pt x="321" y="360"/>
                  </a:lnTo>
                  <a:lnTo>
                    <a:pt x="327" y="351"/>
                  </a:lnTo>
                  <a:lnTo>
                    <a:pt x="330" y="343"/>
                  </a:lnTo>
                  <a:lnTo>
                    <a:pt x="338" y="345"/>
                  </a:lnTo>
                  <a:lnTo>
                    <a:pt x="343" y="349"/>
                  </a:lnTo>
                  <a:lnTo>
                    <a:pt x="352" y="343"/>
                  </a:lnTo>
                  <a:lnTo>
                    <a:pt x="360" y="340"/>
                  </a:lnTo>
                  <a:lnTo>
                    <a:pt x="373" y="343"/>
                  </a:lnTo>
                  <a:lnTo>
                    <a:pt x="384" y="351"/>
                  </a:lnTo>
                  <a:lnTo>
                    <a:pt x="393" y="349"/>
                  </a:lnTo>
                  <a:lnTo>
                    <a:pt x="404" y="349"/>
                  </a:lnTo>
                  <a:lnTo>
                    <a:pt x="412" y="345"/>
                  </a:lnTo>
                  <a:lnTo>
                    <a:pt x="417" y="342"/>
                  </a:lnTo>
                  <a:lnTo>
                    <a:pt x="424" y="338"/>
                  </a:lnTo>
                  <a:lnTo>
                    <a:pt x="428" y="332"/>
                  </a:lnTo>
                  <a:lnTo>
                    <a:pt x="430" y="331"/>
                  </a:lnTo>
                  <a:lnTo>
                    <a:pt x="432" y="331"/>
                  </a:lnTo>
                  <a:lnTo>
                    <a:pt x="436" y="310"/>
                  </a:lnTo>
                  <a:lnTo>
                    <a:pt x="437" y="290"/>
                  </a:lnTo>
                  <a:lnTo>
                    <a:pt x="436" y="273"/>
                  </a:lnTo>
                  <a:lnTo>
                    <a:pt x="437" y="258"/>
                  </a:lnTo>
                  <a:lnTo>
                    <a:pt x="445" y="246"/>
                  </a:lnTo>
                  <a:lnTo>
                    <a:pt x="452" y="227"/>
                  </a:lnTo>
                  <a:lnTo>
                    <a:pt x="445" y="223"/>
                  </a:lnTo>
                  <a:lnTo>
                    <a:pt x="439" y="218"/>
                  </a:lnTo>
                  <a:lnTo>
                    <a:pt x="441" y="214"/>
                  </a:lnTo>
                  <a:lnTo>
                    <a:pt x="443" y="209"/>
                  </a:lnTo>
                  <a:lnTo>
                    <a:pt x="441" y="203"/>
                  </a:lnTo>
                  <a:lnTo>
                    <a:pt x="437" y="199"/>
                  </a:lnTo>
                  <a:lnTo>
                    <a:pt x="430" y="196"/>
                  </a:lnTo>
                  <a:lnTo>
                    <a:pt x="424" y="194"/>
                  </a:lnTo>
                  <a:lnTo>
                    <a:pt x="415" y="201"/>
                  </a:lnTo>
                  <a:lnTo>
                    <a:pt x="404" y="207"/>
                  </a:lnTo>
                  <a:lnTo>
                    <a:pt x="400" y="209"/>
                  </a:lnTo>
                  <a:lnTo>
                    <a:pt x="395" y="210"/>
                  </a:lnTo>
                  <a:lnTo>
                    <a:pt x="391" y="212"/>
                  </a:lnTo>
                  <a:lnTo>
                    <a:pt x="384" y="210"/>
                  </a:lnTo>
                  <a:lnTo>
                    <a:pt x="386" y="199"/>
                  </a:lnTo>
                  <a:lnTo>
                    <a:pt x="386" y="177"/>
                  </a:lnTo>
                  <a:lnTo>
                    <a:pt x="391" y="159"/>
                  </a:lnTo>
                  <a:lnTo>
                    <a:pt x="393" y="138"/>
                  </a:lnTo>
                  <a:lnTo>
                    <a:pt x="386" y="140"/>
                  </a:lnTo>
                  <a:lnTo>
                    <a:pt x="376" y="146"/>
                  </a:lnTo>
                  <a:lnTo>
                    <a:pt x="371" y="148"/>
                  </a:lnTo>
                  <a:lnTo>
                    <a:pt x="365" y="149"/>
                  </a:lnTo>
                  <a:lnTo>
                    <a:pt x="358" y="149"/>
                  </a:lnTo>
                  <a:lnTo>
                    <a:pt x="351" y="148"/>
                  </a:lnTo>
                  <a:lnTo>
                    <a:pt x="336" y="151"/>
                  </a:lnTo>
                  <a:lnTo>
                    <a:pt x="325" y="153"/>
                  </a:lnTo>
                  <a:lnTo>
                    <a:pt x="315" y="133"/>
                  </a:lnTo>
                  <a:lnTo>
                    <a:pt x="304" y="109"/>
                  </a:lnTo>
                  <a:lnTo>
                    <a:pt x="279" y="111"/>
                  </a:lnTo>
                  <a:lnTo>
                    <a:pt x="262" y="113"/>
                  </a:lnTo>
                  <a:lnTo>
                    <a:pt x="258" y="109"/>
                  </a:lnTo>
                  <a:lnTo>
                    <a:pt x="255" y="103"/>
                  </a:lnTo>
                  <a:lnTo>
                    <a:pt x="253" y="98"/>
                  </a:lnTo>
                  <a:lnTo>
                    <a:pt x="249" y="92"/>
                  </a:lnTo>
                  <a:lnTo>
                    <a:pt x="245" y="79"/>
                  </a:lnTo>
                  <a:lnTo>
                    <a:pt x="242" y="68"/>
                  </a:lnTo>
                  <a:lnTo>
                    <a:pt x="208" y="44"/>
                  </a:lnTo>
                  <a:lnTo>
                    <a:pt x="175" y="24"/>
                  </a:lnTo>
                  <a:lnTo>
                    <a:pt x="157" y="16"/>
                  </a:lnTo>
                  <a:lnTo>
                    <a:pt x="140" y="9"/>
                  </a:lnTo>
                  <a:lnTo>
                    <a:pt x="122" y="3"/>
                  </a:lnTo>
                  <a:lnTo>
                    <a:pt x="101" y="0"/>
                  </a:lnTo>
                  <a:lnTo>
                    <a:pt x="103" y="16"/>
                  </a:lnTo>
                  <a:lnTo>
                    <a:pt x="103" y="31"/>
                  </a:lnTo>
                  <a:lnTo>
                    <a:pt x="92" y="39"/>
                  </a:lnTo>
                  <a:lnTo>
                    <a:pt x="81" y="44"/>
                  </a:lnTo>
                  <a:lnTo>
                    <a:pt x="81" y="52"/>
                  </a:lnTo>
                  <a:lnTo>
                    <a:pt x="83" y="57"/>
                  </a:lnTo>
                  <a:lnTo>
                    <a:pt x="85" y="61"/>
                  </a:lnTo>
                  <a:lnTo>
                    <a:pt x="86" y="64"/>
                  </a:lnTo>
                  <a:lnTo>
                    <a:pt x="85" y="70"/>
                  </a:lnTo>
                  <a:lnTo>
                    <a:pt x="83" y="76"/>
                  </a:lnTo>
                  <a:lnTo>
                    <a:pt x="77" y="79"/>
                  </a:lnTo>
                  <a:lnTo>
                    <a:pt x="72" y="79"/>
                  </a:lnTo>
                  <a:lnTo>
                    <a:pt x="66" y="79"/>
                  </a:lnTo>
                  <a:lnTo>
                    <a:pt x="61" y="76"/>
                  </a:lnTo>
                  <a:lnTo>
                    <a:pt x="51" y="72"/>
                  </a:lnTo>
                  <a:lnTo>
                    <a:pt x="42" y="70"/>
                  </a:lnTo>
                  <a:lnTo>
                    <a:pt x="33" y="79"/>
                  </a:lnTo>
                  <a:lnTo>
                    <a:pt x="25" y="92"/>
                  </a:lnTo>
                  <a:lnTo>
                    <a:pt x="18" y="94"/>
                  </a:lnTo>
                  <a:lnTo>
                    <a:pt x="11" y="98"/>
                  </a:lnTo>
                  <a:lnTo>
                    <a:pt x="13" y="105"/>
                  </a:lnTo>
                  <a:lnTo>
                    <a:pt x="14" y="113"/>
                  </a:lnTo>
                  <a:lnTo>
                    <a:pt x="7" y="118"/>
                  </a:lnTo>
                  <a:lnTo>
                    <a:pt x="1" y="127"/>
                  </a:lnTo>
                  <a:lnTo>
                    <a:pt x="5" y="140"/>
                  </a:lnTo>
                  <a:lnTo>
                    <a:pt x="13" y="153"/>
                  </a:lnTo>
                  <a:lnTo>
                    <a:pt x="14" y="161"/>
                  </a:lnTo>
                  <a:lnTo>
                    <a:pt x="16" y="168"/>
                  </a:lnTo>
                  <a:lnTo>
                    <a:pt x="16" y="175"/>
                  </a:lnTo>
                  <a:lnTo>
                    <a:pt x="14" y="185"/>
                  </a:lnTo>
                  <a:lnTo>
                    <a:pt x="7" y="188"/>
                  </a:lnTo>
                  <a:lnTo>
                    <a:pt x="3" y="192"/>
                  </a:lnTo>
                  <a:lnTo>
                    <a:pt x="1" y="196"/>
                  </a:lnTo>
                  <a:lnTo>
                    <a:pt x="0" y="201"/>
                  </a:lnTo>
                  <a:lnTo>
                    <a:pt x="0" y="216"/>
                  </a:lnTo>
                  <a:lnTo>
                    <a:pt x="1" y="22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4" name="Freeform 40"/>
            <p:cNvSpPr>
              <a:spLocks noEditPoints="1"/>
            </p:cNvSpPr>
            <p:nvPr/>
          </p:nvSpPr>
          <p:spPr bwMode="auto">
            <a:xfrm>
              <a:off x="4562692" y="1956132"/>
              <a:ext cx="400736" cy="519081"/>
            </a:xfrm>
            <a:custGeom>
              <a:avLst/>
              <a:gdLst>
                <a:gd name="T0" fmla="*/ 692 w 768"/>
                <a:gd name="T1" fmla="*/ 133 h 1020"/>
                <a:gd name="T2" fmla="*/ 691 w 768"/>
                <a:gd name="T3" fmla="*/ 1004 h 1020"/>
                <a:gd name="T4" fmla="*/ 713 w 768"/>
                <a:gd name="T5" fmla="*/ 908 h 1020"/>
                <a:gd name="T6" fmla="*/ 759 w 768"/>
                <a:gd name="T7" fmla="*/ 819 h 1020"/>
                <a:gd name="T8" fmla="*/ 724 w 768"/>
                <a:gd name="T9" fmla="*/ 769 h 1020"/>
                <a:gd name="T10" fmla="*/ 707 w 768"/>
                <a:gd name="T11" fmla="*/ 680 h 1020"/>
                <a:gd name="T12" fmla="*/ 698 w 768"/>
                <a:gd name="T13" fmla="*/ 581 h 1020"/>
                <a:gd name="T14" fmla="*/ 740 w 768"/>
                <a:gd name="T15" fmla="*/ 503 h 1020"/>
                <a:gd name="T16" fmla="*/ 716 w 768"/>
                <a:gd name="T17" fmla="*/ 424 h 1020"/>
                <a:gd name="T18" fmla="*/ 659 w 768"/>
                <a:gd name="T19" fmla="*/ 363 h 1020"/>
                <a:gd name="T20" fmla="*/ 729 w 768"/>
                <a:gd name="T21" fmla="*/ 318 h 1020"/>
                <a:gd name="T22" fmla="*/ 707 w 768"/>
                <a:gd name="T23" fmla="*/ 228 h 1020"/>
                <a:gd name="T24" fmla="*/ 716 w 768"/>
                <a:gd name="T25" fmla="*/ 170 h 1020"/>
                <a:gd name="T26" fmla="*/ 689 w 768"/>
                <a:gd name="T27" fmla="*/ 200 h 1020"/>
                <a:gd name="T28" fmla="*/ 655 w 768"/>
                <a:gd name="T29" fmla="*/ 176 h 1020"/>
                <a:gd name="T30" fmla="*/ 661 w 768"/>
                <a:gd name="T31" fmla="*/ 233 h 1020"/>
                <a:gd name="T32" fmla="*/ 694 w 768"/>
                <a:gd name="T33" fmla="*/ 278 h 1020"/>
                <a:gd name="T34" fmla="*/ 613 w 768"/>
                <a:gd name="T35" fmla="*/ 217 h 1020"/>
                <a:gd name="T36" fmla="*/ 628 w 768"/>
                <a:gd name="T37" fmla="*/ 158 h 1020"/>
                <a:gd name="T38" fmla="*/ 644 w 768"/>
                <a:gd name="T39" fmla="*/ 95 h 1020"/>
                <a:gd name="T40" fmla="*/ 574 w 768"/>
                <a:gd name="T41" fmla="*/ 165 h 1020"/>
                <a:gd name="T42" fmla="*/ 543 w 768"/>
                <a:gd name="T43" fmla="*/ 278 h 1020"/>
                <a:gd name="T44" fmla="*/ 497 w 768"/>
                <a:gd name="T45" fmla="*/ 366 h 1020"/>
                <a:gd name="T46" fmla="*/ 541 w 768"/>
                <a:gd name="T47" fmla="*/ 374 h 1020"/>
                <a:gd name="T48" fmla="*/ 602 w 768"/>
                <a:gd name="T49" fmla="*/ 429 h 1020"/>
                <a:gd name="T50" fmla="*/ 580 w 768"/>
                <a:gd name="T51" fmla="*/ 485 h 1020"/>
                <a:gd name="T52" fmla="*/ 609 w 768"/>
                <a:gd name="T53" fmla="*/ 555 h 1020"/>
                <a:gd name="T54" fmla="*/ 554 w 768"/>
                <a:gd name="T55" fmla="*/ 520 h 1020"/>
                <a:gd name="T56" fmla="*/ 569 w 768"/>
                <a:gd name="T57" fmla="*/ 418 h 1020"/>
                <a:gd name="T58" fmla="*/ 508 w 768"/>
                <a:gd name="T59" fmla="*/ 405 h 1020"/>
                <a:gd name="T60" fmla="*/ 447 w 768"/>
                <a:gd name="T61" fmla="*/ 512 h 1020"/>
                <a:gd name="T62" fmla="*/ 327 w 768"/>
                <a:gd name="T63" fmla="*/ 549 h 1020"/>
                <a:gd name="T64" fmla="*/ 286 w 768"/>
                <a:gd name="T65" fmla="*/ 494 h 1020"/>
                <a:gd name="T66" fmla="*/ 351 w 768"/>
                <a:gd name="T67" fmla="*/ 522 h 1020"/>
                <a:gd name="T68" fmla="*/ 437 w 768"/>
                <a:gd name="T69" fmla="*/ 466 h 1020"/>
                <a:gd name="T70" fmla="*/ 474 w 768"/>
                <a:gd name="T71" fmla="*/ 403 h 1020"/>
                <a:gd name="T72" fmla="*/ 489 w 768"/>
                <a:gd name="T73" fmla="*/ 296 h 1020"/>
                <a:gd name="T74" fmla="*/ 519 w 768"/>
                <a:gd name="T75" fmla="*/ 180 h 1020"/>
                <a:gd name="T76" fmla="*/ 582 w 768"/>
                <a:gd name="T77" fmla="*/ 93 h 1020"/>
                <a:gd name="T78" fmla="*/ 493 w 768"/>
                <a:gd name="T79" fmla="*/ 56 h 1020"/>
                <a:gd name="T80" fmla="*/ 402 w 768"/>
                <a:gd name="T81" fmla="*/ 128 h 1020"/>
                <a:gd name="T82" fmla="*/ 375 w 768"/>
                <a:gd name="T83" fmla="*/ 161 h 1020"/>
                <a:gd name="T84" fmla="*/ 345 w 768"/>
                <a:gd name="T85" fmla="*/ 259 h 1020"/>
                <a:gd name="T86" fmla="*/ 349 w 768"/>
                <a:gd name="T87" fmla="*/ 342 h 1020"/>
                <a:gd name="T88" fmla="*/ 306 w 768"/>
                <a:gd name="T89" fmla="*/ 346 h 1020"/>
                <a:gd name="T90" fmla="*/ 273 w 768"/>
                <a:gd name="T91" fmla="*/ 267 h 1020"/>
                <a:gd name="T92" fmla="*/ 232 w 768"/>
                <a:gd name="T93" fmla="*/ 372 h 1020"/>
                <a:gd name="T94" fmla="*/ 88 w 768"/>
                <a:gd name="T95" fmla="*/ 409 h 1020"/>
                <a:gd name="T96" fmla="*/ 5 w 768"/>
                <a:gd name="T97" fmla="*/ 538 h 1020"/>
                <a:gd name="T98" fmla="*/ 98 w 768"/>
                <a:gd name="T99" fmla="*/ 577 h 1020"/>
                <a:gd name="T100" fmla="*/ 133 w 768"/>
                <a:gd name="T101" fmla="*/ 649 h 1020"/>
                <a:gd name="T102" fmla="*/ 201 w 768"/>
                <a:gd name="T103" fmla="*/ 647 h 1020"/>
                <a:gd name="T104" fmla="*/ 242 w 768"/>
                <a:gd name="T105" fmla="*/ 767 h 1020"/>
                <a:gd name="T106" fmla="*/ 338 w 768"/>
                <a:gd name="T107" fmla="*/ 830 h 1020"/>
                <a:gd name="T108" fmla="*/ 461 w 768"/>
                <a:gd name="T109" fmla="*/ 923 h 1020"/>
                <a:gd name="T110" fmla="*/ 561 w 768"/>
                <a:gd name="T111" fmla="*/ 913 h 1020"/>
                <a:gd name="T112" fmla="*/ 631 w 768"/>
                <a:gd name="T113" fmla="*/ 987 h 1020"/>
                <a:gd name="T114" fmla="*/ 694 w 768"/>
                <a:gd name="T115" fmla="*/ 84 h 1020"/>
                <a:gd name="T116" fmla="*/ 696 w 768"/>
                <a:gd name="T117" fmla="*/ 54 h 1020"/>
                <a:gd name="T118" fmla="*/ 670 w 768"/>
                <a:gd name="T119" fmla="*/ 52 h 1020"/>
                <a:gd name="T120" fmla="*/ 639 w 768"/>
                <a:gd name="T121" fmla="*/ 67 h 1020"/>
                <a:gd name="T122" fmla="*/ 582 w 768"/>
                <a:gd name="T123" fmla="*/ 26 h 10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8"/>
                <a:gd name="T187" fmla="*/ 0 h 1020"/>
                <a:gd name="T188" fmla="*/ 768 w 768"/>
                <a:gd name="T189" fmla="*/ 1020 h 10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8" h="1020">
                  <a:moveTo>
                    <a:pt x="715" y="150"/>
                  </a:moveTo>
                  <a:lnTo>
                    <a:pt x="709" y="154"/>
                  </a:lnTo>
                  <a:lnTo>
                    <a:pt x="700" y="154"/>
                  </a:lnTo>
                  <a:lnTo>
                    <a:pt x="689" y="154"/>
                  </a:lnTo>
                  <a:lnTo>
                    <a:pt x="678" y="154"/>
                  </a:lnTo>
                  <a:lnTo>
                    <a:pt x="676" y="148"/>
                  </a:lnTo>
                  <a:lnTo>
                    <a:pt x="676" y="145"/>
                  </a:lnTo>
                  <a:lnTo>
                    <a:pt x="679" y="143"/>
                  </a:lnTo>
                  <a:lnTo>
                    <a:pt x="683" y="143"/>
                  </a:lnTo>
                  <a:lnTo>
                    <a:pt x="689" y="135"/>
                  </a:lnTo>
                  <a:lnTo>
                    <a:pt x="692" y="133"/>
                  </a:lnTo>
                  <a:lnTo>
                    <a:pt x="698" y="132"/>
                  </a:lnTo>
                  <a:lnTo>
                    <a:pt x="702" y="133"/>
                  </a:lnTo>
                  <a:lnTo>
                    <a:pt x="709" y="141"/>
                  </a:lnTo>
                  <a:lnTo>
                    <a:pt x="715" y="150"/>
                  </a:lnTo>
                  <a:close/>
                  <a:moveTo>
                    <a:pt x="668" y="1020"/>
                  </a:moveTo>
                  <a:lnTo>
                    <a:pt x="670" y="1019"/>
                  </a:lnTo>
                  <a:lnTo>
                    <a:pt x="670" y="1017"/>
                  </a:lnTo>
                  <a:lnTo>
                    <a:pt x="676" y="1011"/>
                  </a:lnTo>
                  <a:lnTo>
                    <a:pt x="683" y="1009"/>
                  </a:lnTo>
                  <a:lnTo>
                    <a:pt x="687" y="1006"/>
                  </a:lnTo>
                  <a:lnTo>
                    <a:pt x="691" y="1004"/>
                  </a:lnTo>
                  <a:lnTo>
                    <a:pt x="694" y="998"/>
                  </a:lnTo>
                  <a:lnTo>
                    <a:pt x="698" y="993"/>
                  </a:lnTo>
                  <a:lnTo>
                    <a:pt x="705" y="978"/>
                  </a:lnTo>
                  <a:lnTo>
                    <a:pt x="709" y="965"/>
                  </a:lnTo>
                  <a:lnTo>
                    <a:pt x="716" y="959"/>
                  </a:lnTo>
                  <a:lnTo>
                    <a:pt x="722" y="952"/>
                  </a:lnTo>
                  <a:lnTo>
                    <a:pt x="726" y="947"/>
                  </a:lnTo>
                  <a:lnTo>
                    <a:pt x="727" y="939"/>
                  </a:lnTo>
                  <a:lnTo>
                    <a:pt x="718" y="924"/>
                  </a:lnTo>
                  <a:lnTo>
                    <a:pt x="709" y="910"/>
                  </a:lnTo>
                  <a:lnTo>
                    <a:pt x="713" y="908"/>
                  </a:lnTo>
                  <a:lnTo>
                    <a:pt x="716" y="910"/>
                  </a:lnTo>
                  <a:lnTo>
                    <a:pt x="718" y="908"/>
                  </a:lnTo>
                  <a:lnTo>
                    <a:pt x="722" y="893"/>
                  </a:lnTo>
                  <a:lnTo>
                    <a:pt x="740" y="889"/>
                  </a:lnTo>
                  <a:lnTo>
                    <a:pt x="755" y="884"/>
                  </a:lnTo>
                  <a:lnTo>
                    <a:pt x="757" y="871"/>
                  </a:lnTo>
                  <a:lnTo>
                    <a:pt x="755" y="856"/>
                  </a:lnTo>
                  <a:lnTo>
                    <a:pt x="763" y="841"/>
                  </a:lnTo>
                  <a:lnTo>
                    <a:pt x="768" y="826"/>
                  </a:lnTo>
                  <a:lnTo>
                    <a:pt x="764" y="821"/>
                  </a:lnTo>
                  <a:lnTo>
                    <a:pt x="759" y="819"/>
                  </a:lnTo>
                  <a:lnTo>
                    <a:pt x="751" y="817"/>
                  </a:lnTo>
                  <a:lnTo>
                    <a:pt x="744" y="817"/>
                  </a:lnTo>
                  <a:lnTo>
                    <a:pt x="737" y="815"/>
                  </a:lnTo>
                  <a:lnTo>
                    <a:pt x="729" y="813"/>
                  </a:lnTo>
                  <a:lnTo>
                    <a:pt x="724" y="810"/>
                  </a:lnTo>
                  <a:lnTo>
                    <a:pt x="718" y="804"/>
                  </a:lnTo>
                  <a:lnTo>
                    <a:pt x="716" y="797"/>
                  </a:lnTo>
                  <a:lnTo>
                    <a:pt x="716" y="789"/>
                  </a:lnTo>
                  <a:lnTo>
                    <a:pt x="718" y="782"/>
                  </a:lnTo>
                  <a:lnTo>
                    <a:pt x="722" y="777"/>
                  </a:lnTo>
                  <a:lnTo>
                    <a:pt x="724" y="769"/>
                  </a:lnTo>
                  <a:lnTo>
                    <a:pt x="726" y="762"/>
                  </a:lnTo>
                  <a:lnTo>
                    <a:pt x="726" y="751"/>
                  </a:lnTo>
                  <a:lnTo>
                    <a:pt x="724" y="740"/>
                  </a:lnTo>
                  <a:lnTo>
                    <a:pt x="713" y="725"/>
                  </a:lnTo>
                  <a:lnTo>
                    <a:pt x="700" y="708"/>
                  </a:lnTo>
                  <a:lnTo>
                    <a:pt x="698" y="701"/>
                  </a:lnTo>
                  <a:lnTo>
                    <a:pt x="698" y="695"/>
                  </a:lnTo>
                  <a:lnTo>
                    <a:pt x="698" y="692"/>
                  </a:lnTo>
                  <a:lnTo>
                    <a:pt x="700" y="690"/>
                  </a:lnTo>
                  <a:lnTo>
                    <a:pt x="703" y="686"/>
                  </a:lnTo>
                  <a:lnTo>
                    <a:pt x="707" y="680"/>
                  </a:lnTo>
                  <a:lnTo>
                    <a:pt x="702" y="668"/>
                  </a:lnTo>
                  <a:lnTo>
                    <a:pt x="698" y="656"/>
                  </a:lnTo>
                  <a:lnTo>
                    <a:pt x="702" y="651"/>
                  </a:lnTo>
                  <a:lnTo>
                    <a:pt x="707" y="645"/>
                  </a:lnTo>
                  <a:lnTo>
                    <a:pt x="711" y="642"/>
                  </a:lnTo>
                  <a:lnTo>
                    <a:pt x="713" y="638"/>
                  </a:lnTo>
                  <a:lnTo>
                    <a:pt x="715" y="634"/>
                  </a:lnTo>
                  <a:lnTo>
                    <a:pt x="715" y="629"/>
                  </a:lnTo>
                  <a:lnTo>
                    <a:pt x="702" y="610"/>
                  </a:lnTo>
                  <a:lnTo>
                    <a:pt x="692" y="594"/>
                  </a:lnTo>
                  <a:lnTo>
                    <a:pt x="698" y="581"/>
                  </a:lnTo>
                  <a:lnTo>
                    <a:pt x="702" y="568"/>
                  </a:lnTo>
                  <a:lnTo>
                    <a:pt x="696" y="547"/>
                  </a:lnTo>
                  <a:lnTo>
                    <a:pt x="691" y="529"/>
                  </a:lnTo>
                  <a:lnTo>
                    <a:pt x="702" y="533"/>
                  </a:lnTo>
                  <a:lnTo>
                    <a:pt x="718" y="536"/>
                  </a:lnTo>
                  <a:lnTo>
                    <a:pt x="720" y="527"/>
                  </a:lnTo>
                  <a:lnTo>
                    <a:pt x="720" y="518"/>
                  </a:lnTo>
                  <a:lnTo>
                    <a:pt x="727" y="514"/>
                  </a:lnTo>
                  <a:lnTo>
                    <a:pt x="735" y="510"/>
                  </a:lnTo>
                  <a:lnTo>
                    <a:pt x="737" y="509"/>
                  </a:lnTo>
                  <a:lnTo>
                    <a:pt x="740" y="503"/>
                  </a:lnTo>
                  <a:lnTo>
                    <a:pt x="742" y="496"/>
                  </a:lnTo>
                  <a:lnTo>
                    <a:pt x="744" y="486"/>
                  </a:lnTo>
                  <a:lnTo>
                    <a:pt x="742" y="477"/>
                  </a:lnTo>
                  <a:lnTo>
                    <a:pt x="740" y="466"/>
                  </a:lnTo>
                  <a:lnTo>
                    <a:pt x="739" y="457"/>
                  </a:lnTo>
                  <a:lnTo>
                    <a:pt x="739" y="448"/>
                  </a:lnTo>
                  <a:lnTo>
                    <a:pt x="739" y="437"/>
                  </a:lnTo>
                  <a:lnTo>
                    <a:pt x="733" y="424"/>
                  </a:lnTo>
                  <a:lnTo>
                    <a:pt x="729" y="422"/>
                  </a:lnTo>
                  <a:lnTo>
                    <a:pt x="724" y="422"/>
                  </a:lnTo>
                  <a:lnTo>
                    <a:pt x="716" y="424"/>
                  </a:lnTo>
                  <a:lnTo>
                    <a:pt x="709" y="425"/>
                  </a:lnTo>
                  <a:lnTo>
                    <a:pt x="700" y="427"/>
                  </a:lnTo>
                  <a:lnTo>
                    <a:pt x="692" y="427"/>
                  </a:lnTo>
                  <a:lnTo>
                    <a:pt x="683" y="427"/>
                  </a:lnTo>
                  <a:lnTo>
                    <a:pt x="678" y="424"/>
                  </a:lnTo>
                  <a:lnTo>
                    <a:pt x="670" y="400"/>
                  </a:lnTo>
                  <a:lnTo>
                    <a:pt x="663" y="385"/>
                  </a:lnTo>
                  <a:lnTo>
                    <a:pt x="661" y="379"/>
                  </a:lnTo>
                  <a:lnTo>
                    <a:pt x="659" y="376"/>
                  </a:lnTo>
                  <a:lnTo>
                    <a:pt x="657" y="370"/>
                  </a:lnTo>
                  <a:lnTo>
                    <a:pt x="659" y="363"/>
                  </a:lnTo>
                  <a:lnTo>
                    <a:pt x="663" y="357"/>
                  </a:lnTo>
                  <a:lnTo>
                    <a:pt x="666" y="353"/>
                  </a:lnTo>
                  <a:lnTo>
                    <a:pt x="672" y="352"/>
                  </a:lnTo>
                  <a:lnTo>
                    <a:pt x="678" y="350"/>
                  </a:lnTo>
                  <a:lnTo>
                    <a:pt x="685" y="346"/>
                  </a:lnTo>
                  <a:lnTo>
                    <a:pt x="691" y="342"/>
                  </a:lnTo>
                  <a:lnTo>
                    <a:pt x="698" y="335"/>
                  </a:lnTo>
                  <a:lnTo>
                    <a:pt x="705" y="324"/>
                  </a:lnTo>
                  <a:lnTo>
                    <a:pt x="716" y="324"/>
                  </a:lnTo>
                  <a:lnTo>
                    <a:pt x="726" y="324"/>
                  </a:lnTo>
                  <a:lnTo>
                    <a:pt x="729" y="318"/>
                  </a:lnTo>
                  <a:lnTo>
                    <a:pt x="731" y="311"/>
                  </a:lnTo>
                  <a:lnTo>
                    <a:pt x="731" y="302"/>
                  </a:lnTo>
                  <a:lnTo>
                    <a:pt x="731" y="292"/>
                  </a:lnTo>
                  <a:lnTo>
                    <a:pt x="731" y="279"/>
                  </a:lnTo>
                  <a:lnTo>
                    <a:pt x="729" y="270"/>
                  </a:lnTo>
                  <a:lnTo>
                    <a:pt x="727" y="261"/>
                  </a:lnTo>
                  <a:lnTo>
                    <a:pt x="722" y="254"/>
                  </a:lnTo>
                  <a:lnTo>
                    <a:pt x="718" y="248"/>
                  </a:lnTo>
                  <a:lnTo>
                    <a:pt x="713" y="241"/>
                  </a:lnTo>
                  <a:lnTo>
                    <a:pt x="709" y="235"/>
                  </a:lnTo>
                  <a:lnTo>
                    <a:pt x="707" y="228"/>
                  </a:lnTo>
                  <a:lnTo>
                    <a:pt x="709" y="222"/>
                  </a:lnTo>
                  <a:lnTo>
                    <a:pt x="713" y="220"/>
                  </a:lnTo>
                  <a:lnTo>
                    <a:pt x="720" y="218"/>
                  </a:lnTo>
                  <a:lnTo>
                    <a:pt x="726" y="217"/>
                  </a:lnTo>
                  <a:lnTo>
                    <a:pt x="731" y="213"/>
                  </a:lnTo>
                  <a:lnTo>
                    <a:pt x="737" y="207"/>
                  </a:lnTo>
                  <a:lnTo>
                    <a:pt x="740" y="196"/>
                  </a:lnTo>
                  <a:lnTo>
                    <a:pt x="740" y="180"/>
                  </a:lnTo>
                  <a:lnTo>
                    <a:pt x="727" y="178"/>
                  </a:lnTo>
                  <a:lnTo>
                    <a:pt x="720" y="174"/>
                  </a:lnTo>
                  <a:lnTo>
                    <a:pt x="716" y="170"/>
                  </a:lnTo>
                  <a:lnTo>
                    <a:pt x="716" y="167"/>
                  </a:lnTo>
                  <a:lnTo>
                    <a:pt x="715" y="163"/>
                  </a:lnTo>
                  <a:lnTo>
                    <a:pt x="716" y="159"/>
                  </a:lnTo>
                  <a:lnTo>
                    <a:pt x="703" y="161"/>
                  </a:lnTo>
                  <a:lnTo>
                    <a:pt x="689" y="163"/>
                  </a:lnTo>
                  <a:lnTo>
                    <a:pt x="694" y="174"/>
                  </a:lnTo>
                  <a:lnTo>
                    <a:pt x="702" y="187"/>
                  </a:lnTo>
                  <a:lnTo>
                    <a:pt x="700" y="193"/>
                  </a:lnTo>
                  <a:lnTo>
                    <a:pt x="698" y="198"/>
                  </a:lnTo>
                  <a:lnTo>
                    <a:pt x="694" y="200"/>
                  </a:lnTo>
                  <a:lnTo>
                    <a:pt x="689" y="200"/>
                  </a:lnTo>
                  <a:lnTo>
                    <a:pt x="683" y="198"/>
                  </a:lnTo>
                  <a:lnTo>
                    <a:pt x="679" y="196"/>
                  </a:lnTo>
                  <a:lnTo>
                    <a:pt x="676" y="193"/>
                  </a:lnTo>
                  <a:lnTo>
                    <a:pt x="676" y="189"/>
                  </a:lnTo>
                  <a:lnTo>
                    <a:pt x="674" y="183"/>
                  </a:lnTo>
                  <a:lnTo>
                    <a:pt x="672" y="176"/>
                  </a:lnTo>
                  <a:lnTo>
                    <a:pt x="670" y="174"/>
                  </a:lnTo>
                  <a:lnTo>
                    <a:pt x="668" y="172"/>
                  </a:lnTo>
                  <a:lnTo>
                    <a:pt x="663" y="174"/>
                  </a:lnTo>
                  <a:lnTo>
                    <a:pt x="659" y="176"/>
                  </a:lnTo>
                  <a:lnTo>
                    <a:pt x="655" y="176"/>
                  </a:lnTo>
                  <a:lnTo>
                    <a:pt x="650" y="176"/>
                  </a:lnTo>
                  <a:lnTo>
                    <a:pt x="646" y="176"/>
                  </a:lnTo>
                  <a:lnTo>
                    <a:pt x="644" y="178"/>
                  </a:lnTo>
                  <a:lnTo>
                    <a:pt x="642" y="189"/>
                  </a:lnTo>
                  <a:lnTo>
                    <a:pt x="642" y="196"/>
                  </a:lnTo>
                  <a:lnTo>
                    <a:pt x="642" y="204"/>
                  </a:lnTo>
                  <a:lnTo>
                    <a:pt x="642" y="209"/>
                  </a:lnTo>
                  <a:lnTo>
                    <a:pt x="648" y="217"/>
                  </a:lnTo>
                  <a:lnTo>
                    <a:pt x="654" y="224"/>
                  </a:lnTo>
                  <a:lnTo>
                    <a:pt x="657" y="228"/>
                  </a:lnTo>
                  <a:lnTo>
                    <a:pt x="661" y="233"/>
                  </a:lnTo>
                  <a:lnTo>
                    <a:pt x="666" y="237"/>
                  </a:lnTo>
                  <a:lnTo>
                    <a:pt x="676" y="239"/>
                  </a:lnTo>
                  <a:lnTo>
                    <a:pt x="679" y="250"/>
                  </a:lnTo>
                  <a:lnTo>
                    <a:pt x="683" y="261"/>
                  </a:lnTo>
                  <a:lnTo>
                    <a:pt x="687" y="265"/>
                  </a:lnTo>
                  <a:lnTo>
                    <a:pt x="692" y="268"/>
                  </a:lnTo>
                  <a:lnTo>
                    <a:pt x="696" y="270"/>
                  </a:lnTo>
                  <a:lnTo>
                    <a:pt x="698" y="272"/>
                  </a:lnTo>
                  <a:lnTo>
                    <a:pt x="698" y="274"/>
                  </a:lnTo>
                  <a:lnTo>
                    <a:pt x="698" y="278"/>
                  </a:lnTo>
                  <a:lnTo>
                    <a:pt x="694" y="278"/>
                  </a:lnTo>
                  <a:lnTo>
                    <a:pt x="689" y="278"/>
                  </a:lnTo>
                  <a:lnTo>
                    <a:pt x="681" y="274"/>
                  </a:lnTo>
                  <a:lnTo>
                    <a:pt x="670" y="267"/>
                  </a:lnTo>
                  <a:lnTo>
                    <a:pt x="665" y="255"/>
                  </a:lnTo>
                  <a:lnTo>
                    <a:pt x="657" y="244"/>
                  </a:lnTo>
                  <a:lnTo>
                    <a:pt x="644" y="244"/>
                  </a:lnTo>
                  <a:lnTo>
                    <a:pt x="633" y="241"/>
                  </a:lnTo>
                  <a:lnTo>
                    <a:pt x="626" y="230"/>
                  </a:lnTo>
                  <a:lnTo>
                    <a:pt x="618" y="222"/>
                  </a:lnTo>
                  <a:lnTo>
                    <a:pt x="615" y="220"/>
                  </a:lnTo>
                  <a:lnTo>
                    <a:pt x="613" y="217"/>
                  </a:lnTo>
                  <a:lnTo>
                    <a:pt x="613" y="211"/>
                  </a:lnTo>
                  <a:lnTo>
                    <a:pt x="617" y="206"/>
                  </a:lnTo>
                  <a:lnTo>
                    <a:pt x="620" y="198"/>
                  </a:lnTo>
                  <a:lnTo>
                    <a:pt x="624" y="193"/>
                  </a:lnTo>
                  <a:lnTo>
                    <a:pt x="624" y="187"/>
                  </a:lnTo>
                  <a:lnTo>
                    <a:pt x="624" y="182"/>
                  </a:lnTo>
                  <a:lnTo>
                    <a:pt x="622" y="178"/>
                  </a:lnTo>
                  <a:lnTo>
                    <a:pt x="622" y="172"/>
                  </a:lnTo>
                  <a:lnTo>
                    <a:pt x="622" y="169"/>
                  </a:lnTo>
                  <a:lnTo>
                    <a:pt x="624" y="165"/>
                  </a:lnTo>
                  <a:lnTo>
                    <a:pt x="628" y="158"/>
                  </a:lnTo>
                  <a:lnTo>
                    <a:pt x="633" y="154"/>
                  </a:lnTo>
                  <a:lnTo>
                    <a:pt x="641" y="148"/>
                  </a:lnTo>
                  <a:lnTo>
                    <a:pt x="650" y="146"/>
                  </a:lnTo>
                  <a:lnTo>
                    <a:pt x="648" y="139"/>
                  </a:lnTo>
                  <a:lnTo>
                    <a:pt x="648" y="130"/>
                  </a:lnTo>
                  <a:lnTo>
                    <a:pt x="650" y="122"/>
                  </a:lnTo>
                  <a:lnTo>
                    <a:pt x="650" y="113"/>
                  </a:lnTo>
                  <a:lnTo>
                    <a:pt x="652" y="106"/>
                  </a:lnTo>
                  <a:lnTo>
                    <a:pt x="652" y="100"/>
                  </a:lnTo>
                  <a:lnTo>
                    <a:pt x="650" y="97"/>
                  </a:lnTo>
                  <a:lnTo>
                    <a:pt x="644" y="95"/>
                  </a:lnTo>
                  <a:lnTo>
                    <a:pt x="641" y="102"/>
                  </a:lnTo>
                  <a:lnTo>
                    <a:pt x="635" y="108"/>
                  </a:lnTo>
                  <a:lnTo>
                    <a:pt x="637" y="115"/>
                  </a:lnTo>
                  <a:lnTo>
                    <a:pt x="637" y="122"/>
                  </a:lnTo>
                  <a:lnTo>
                    <a:pt x="635" y="128"/>
                  </a:lnTo>
                  <a:lnTo>
                    <a:pt x="630" y="135"/>
                  </a:lnTo>
                  <a:lnTo>
                    <a:pt x="618" y="148"/>
                  </a:lnTo>
                  <a:lnTo>
                    <a:pt x="607" y="158"/>
                  </a:lnTo>
                  <a:lnTo>
                    <a:pt x="594" y="158"/>
                  </a:lnTo>
                  <a:lnTo>
                    <a:pt x="582" y="158"/>
                  </a:lnTo>
                  <a:lnTo>
                    <a:pt x="574" y="165"/>
                  </a:lnTo>
                  <a:lnTo>
                    <a:pt x="567" y="174"/>
                  </a:lnTo>
                  <a:lnTo>
                    <a:pt x="559" y="178"/>
                  </a:lnTo>
                  <a:lnTo>
                    <a:pt x="552" y="185"/>
                  </a:lnTo>
                  <a:lnTo>
                    <a:pt x="557" y="198"/>
                  </a:lnTo>
                  <a:lnTo>
                    <a:pt x="561" y="211"/>
                  </a:lnTo>
                  <a:lnTo>
                    <a:pt x="557" y="220"/>
                  </a:lnTo>
                  <a:lnTo>
                    <a:pt x="556" y="230"/>
                  </a:lnTo>
                  <a:lnTo>
                    <a:pt x="557" y="246"/>
                  </a:lnTo>
                  <a:lnTo>
                    <a:pt x="557" y="261"/>
                  </a:lnTo>
                  <a:lnTo>
                    <a:pt x="550" y="270"/>
                  </a:lnTo>
                  <a:lnTo>
                    <a:pt x="543" y="278"/>
                  </a:lnTo>
                  <a:lnTo>
                    <a:pt x="535" y="281"/>
                  </a:lnTo>
                  <a:lnTo>
                    <a:pt x="528" y="287"/>
                  </a:lnTo>
                  <a:lnTo>
                    <a:pt x="526" y="294"/>
                  </a:lnTo>
                  <a:lnTo>
                    <a:pt x="522" y="303"/>
                  </a:lnTo>
                  <a:lnTo>
                    <a:pt x="515" y="315"/>
                  </a:lnTo>
                  <a:lnTo>
                    <a:pt x="508" y="326"/>
                  </a:lnTo>
                  <a:lnTo>
                    <a:pt x="508" y="339"/>
                  </a:lnTo>
                  <a:lnTo>
                    <a:pt x="506" y="348"/>
                  </a:lnTo>
                  <a:lnTo>
                    <a:pt x="502" y="357"/>
                  </a:lnTo>
                  <a:lnTo>
                    <a:pt x="497" y="364"/>
                  </a:lnTo>
                  <a:lnTo>
                    <a:pt x="497" y="366"/>
                  </a:lnTo>
                  <a:lnTo>
                    <a:pt x="498" y="368"/>
                  </a:lnTo>
                  <a:lnTo>
                    <a:pt x="500" y="368"/>
                  </a:lnTo>
                  <a:lnTo>
                    <a:pt x="504" y="368"/>
                  </a:lnTo>
                  <a:lnTo>
                    <a:pt x="511" y="368"/>
                  </a:lnTo>
                  <a:lnTo>
                    <a:pt x="517" y="370"/>
                  </a:lnTo>
                  <a:lnTo>
                    <a:pt x="522" y="377"/>
                  </a:lnTo>
                  <a:lnTo>
                    <a:pt x="526" y="381"/>
                  </a:lnTo>
                  <a:lnTo>
                    <a:pt x="530" y="381"/>
                  </a:lnTo>
                  <a:lnTo>
                    <a:pt x="533" y="379"/>
                  </a:lnTo>
                  <a:lnTo>
                    <a:pt x="537" y="377"/>
                  </a:lnTo>
                  <a:lnTo>
                    <a:pt x="541" y="374"/>
                  </a:lnTo>
                  <a:lnTo>
                    <a:pt x="546" y="374"/>
                  </a:lnTo>
                  <a:lnTo>
                    <a:pt x="552" y="376"/>
                  </a:lnTo>
                  <a:lnTo>
                    <a:pt x="561" y="383"/>
                  </a:lnTo>
                  <a:lnTo>
                    <a:pt x="567" y="390"/>
                  </a:lnTo>
                  <a:lnTo>
                    <a:pt x="576" y="394"/>
                  </a:lnTo>
                  <a:lnTo>
                    <a:pt x="580" y="398"/>
                  </a:lnTo>
                  <a:lnTo>
                    <a:pt x="580" y="403"/>
                  </a:lnTo>
                  <a:lnTo>
                    <a:pt x="582" y="411"/>
                  </a:lnTo>
                  <a:lnTo>
                    <a:pt x="594" y="420"/>
                  </a:lnTo>
                  <a:lnTo>
                    <a:pt x="600" y="425"/>
                  </a:lnTo>
                  <a:lnTo>
                    <a:pt x="602" y="429"/>
                  </a:lnTo>
                  <a:lnTo>
                    <a:pt x="602" y="433"/>
                  </a:lnTo>
                  <a:lnTo>
                    <a:pt x="602" y="437"/>
                  </a:lnTo>
                  <a:lnTo>
                    <a:pt x="598" y="442"/>
                  </a:lnTo>
                  <a:lnTo>
                    <a:pt x="600" y="455"/>
                  </a:lnTo>
                  <a:lnTo>
                    <a:pt x="602" y="461"/>
                  </a:lnTo>
                  <a:lnTo>
                    <a:pt x="600" y="464"/>
                  </a:lnTo>
                  <a:lnTo>
                    <a:pt x="594" y="470"/>
                  </a:lnTo>
                  <a:lnTo>
                    <a:pt x="593" y="475"/>
                  </a:lnTo>
                  <a:lnTo>
                    <a:pt x="591" y="481"/>
                  </a:lnTo>
                  <a:lnTo>
                    <a:pt x="585" y="481"/>
                  </a:lnTo>
                  <a:lnTo>
                    <a:pt x="580" y="485"/>
                  </a:lnTo>
                  <a:lnTo>
                    <a:pt x="578" y="490"/>
                  </a:lnTo>
                  <a:lnTo>
                    <a:pt x="576" y="498"/>
                  </a:lnTo>
                  <a:lnTo>
                    <a:pt x="572" y="505"/>
                  </a:lnTo>
                  <a:lnTo>
                    <a:pt x="572" y="512"/>
                  </a:lnTo>
                  <a:lnTo>
                    <a:pt x="572" y="516"/>
                  </a:lnTo>
                  <a:lnTo>
                    <a:pt x="574" y="520"/>
                  </a:lnTo>
                  <a:lnTo>
                    <a:pt x="583" y="527"/>
                  </a:lnTo>
                  <a:lnTo>
                    <a:pt x="600" y="533"/>
                  </a:lnTo>
                  <a:lnTo>
                    <a:pt x="602" y="536"/>
                  </a:lnTo>
                  <a:lnTo>
                    <a:pt x="604" y="549"/>
                  </a:lnTo>
                  <a:lnTo>
                    <a:pt x="609" y="555"/>
                  </a:lnTo>
                  <a:lnTo>
                    <a:pt x="615" y="564"/>
                  </a:lnTo>
                  <a:lnTo>
                    <a:pt x="617" y="570"/>
                  </a:lnTo>
                  <a:lnTo>
                    <a:pt x="618" y="573"/>
                  </a:lnTo>
                  <a:lnTo>
                    <a:pt x="617" y="577"/>
                  </a:lnTo>
                  <a:lnTo>
                    <a:pt x="615" y="579"/>
                  </a:lnTo>
                  <a:lnTo>
                    <a:pt x="604" y="564"/>
                  </a:lnTo>
                  <a:lnTo>
                    <a:pt x="591" y="544"/>
                  </a:lnTo>
                  <a:lnTo>
                    <a:pt x="572" y="536"/>
                  </a:lnTo>
                  <a:lnTo>
                    <a:pt x="557" y="529"/>
                  </a:lnTo>
                  <a:lnTo>
                    <a:pt x="556" y="525"/>
                  </a:lnTo>
                  <a:lnTo>
                    <a:pt x="554" y="520"/>
                  </a:lnTo>
                  <a:lnTo>
                    <a:pt x="554" y="514"/>
                  </a:lnTo>
                  <a:lnTo>
                    <a:pt x="554" y="509"/>
                  </a:lnTo>
                  <a:lnTo>
                    <a:pt x="554" y="503"/>
                  </a:lnTo>
                  <a:lnTo>
                    <a:pt x="556" y="498"/>
                  </a:lnTo>
                  <a:lnTo>
                    <a:pt x="559" y="492"/>
                  </a:lnTo>
                  <a:lnTo>
                    <a:pt x="563" y="488"/>
                  </a:lnTo>
                  <a:lnTo>
                    <a:pt x="572" y="477"/>
                  </a:lnTo>
                  <a:lnTo>
                    <a:pt x="576" y="466"/>
                  </a:lnTo>
                  <a:lnTo>
                    <a:pt x="576" y="455"/>
                  </a:lnTo>
                  <a:lnTo>
                    <a:pt x="570" y="437"/>
                  </a:lnTo>
                  <a:lnTo>
                    <a:pt x="569" y="418"/>
                  </a:lnTo>
                  <a:lnTo>
                    <a:pt x="569" y="409"/>
                  </a:lnTo>
                  <a:lnTo>
                    <a:pt x="565" y="407"/>
                  </a:lnTo>
                  <a:lnTo>
                    <a:pt x="561" y="407"/>
                  </a:lnTo>
                  <a:lnTo>
                    <a:pt x="552" y="405"/>
                  </a:lnTo>
                  <a:lnTo>
                    <a:pt x="539" y="405"/>
                  </a:lnTo>
                  <a:lnTo>
                    <a:pt x="530" y="405"/>
                  </a:lnTo>
                  <a:lnTo>
                    <a:pt x="521" y="401"/>
                  </a:lnTo>
                  <a:lnTo>
                    <a:pt x="515" y="401"/>
                  </a:lnTo>
                  <a:lnTo>
                    <a:pt x="513" y="401"/>
                  </a:lnTo>
                  <a:lnTo>
                    <a:pt x="509" y="403"/>
                  </a:lnTo>
                  <a:lnTo>
                    <a:pt x="508" y="405"/>
                  </a:lnTo>
                  <a:lnTo>
                    <a:pt x="506" y="411"/>
                  </a:lnTo>
                  <a:lnTo>
                    <a:pt x="504" y="416"/>
                  </a:lnTo>
                  <a:lnTo>
                    <a:pt x="498" y="420"/>
                  </a:lnTo>
                  <a:lnTo>
                    <a:pt x="493" y="427"/>
                  </a:lnTo>
                  <a:lnTo>
                    <a:pt x="495" y="438"/>
                  </a:lnTo>
                  <a:lnTo>
                    <a:pt x="497" y="451"/>
                  </a:lnTo>
                  <a:lnTo>
                    <a:pt x="497" y="464"/>
                  </a:lnTo>
                  <a:lnTo>
                    <a:pt x="491" y="477"/>
                  </a:lnTo>
                  <a:lnTo>
                    <a:pt x="478" y="485"/>
                  </a:lnTo>
                  <a:lnTo>
                    <a:pt x="461" y="496"/>
                  </a:lnTo>
                  <a:lnTo>
                    <a:pt x="447" y="512"/>
                  </a:lnTo>
                  <a:lnTo>
                    <a:pt x="426" y="531"/>
                  </a:lnTo>
                  <a:lnTo>
                    <a:pt x="402" y="538"/>
                  </a:lnTo>
                  <a:lnTo>
                    <a:pt x="386" y="544"/>
                  </a:lnTo>
                  <a:lnTo>
                    <a:pt x="375" y="549"/>
                  </a:lnTo>
                  <a:lnTo>
                    <a:pt x="367" y="553"/>
                  </a:lnTo>
                  <a:lnTo>
                    <a:pt x="364" y="557"/>
                  </a:lnTo>
                  <a:lnTo>
                    <a:pt x="360" y="558"/>
                  </a:lnTo>
                  <a:lnTo>
                    <a:pt x="356" y="560"/>
                  </a:lnTo>
                  <a:lnTo>
                    <a:pt x="349" y="562"/>
                  </a:lnTo>
                  <a:lnTo>
                    <a:pt x="338" y="555"/>
                  </a:lnTo>
                  <a:lnTo>
                    <a:pt x="327" y="549"/>
                  </a:lnTo>
                  <a:lnTo>
                    <a:pt x="317" y="546"/>
                  </a:lnTo>
                  <a:lnTo>
                    <a:pt x="304" y="542"/>
                  </a:lnTo>
                  <a:lnTo>
                    <a:pt x="297" y="534"/>
                  </a:lnTo>
                  <a:lnTo>
                    <a:pt x="290" y="525"/>
                  </a:lnTo>
                  <a:lnTo>
                    <a:pt x="284" y="520"/>
                  </a:lnTo>
                  <a:lnTo>
                    <a:pt x="280" y="512"/>
                  </a:lnTo>
                  <a:lnTo>
                    <a:pt x="277" y="499"/>
                  </a:lnTo>
                  <a:lnTo>
                    <a:pt x="275" y="488"/>
                  </a:lnTo>
                  <a:lnTo>
                    <a:pt x="279" y="488"/>
                  </a:lnTo>
                  <a:lnTo>
                    <a:pt x="282" y="490"/>
                  </a:lnTo>
                  <a:lnTo>
                    <a:pt x="286" y="494"/>
                  </a:lnTo>
                  <a:lnTo>
                    <a:pt x="288" y="499"/>
                  </a:lnTo>
                  <a:lnTo>
                    <a:pt x="291" y="509"/>
                  </a:lnTo>
                  <a:lnTo>
                    <a:pt x="297" y="514"/>
                  </a:lnTo>
                  <a:lnTo>
                    <a:pt x="301" y="503"/>
                  </a:lnTo>
                  <a:lnTo>
                    <a:pt x="304" y="496"/>
                  </a:lnTo>
                  <a:lnTo>
                    <a:pt x="310" y="509"/>
                  </a:lnTo>
                  <a:lnTo>
                    <a:pt x="312" y="522"/>
                  </a:lnTo>
                  <a:lnTo>
                    <a:pt x="319" y="525"/>
                  </a:lnTo>
                  <a:lnTo>
                    <a:pt x="330" y="525"/>
                  </a:lnTo>
                  <a:lnTo>
                    <a:pt x="343" y="525"/>
                  </a:lnTo>
                  <a:lnTo>
                    <a:pt x="351" y="522"/>
                  </a:lnTo>
                  <a:lnTo>
                    <a:pt x="352" y="512"/>
                  </a:lnTo>
                  <a:lnTo>
                    <a:pt x="356" y="507"/>
                  </a:lnTo>
                  <a:lnTo>
                    <a:pt x="371" y="505"/>
                  </a:lnTo>
                  <a:lnTo>
                    <a:pt x="380" y="505"/>
                  </a:lnTo>
                  <a:lnTo>
                    <a:pt x="388" y="501"/>
                  </a:lnTo>
                  <a:lnTo>
                    <a:pt x="391" y="499"/>
                  </a:lnTo>
                  <a:lnTo>
                    <a:pt x="399" y="488"/>
                  </a:lnTo>
                  <a:lnTo>
                    <a:pt x="412" y="468"/>
                  </a:lnTo>
                  <a:lnTo>
                    <a:pt x="421" y="468"/>
                  </a:lnTo>
                  <a:lnTo>
                    <a:pt x="432" y="468"/>
                  </a:lnTo>
                  <a:lnTo>
                    <a:pt x="437" y="466"/>
                  </a:lnTo>
                  <a:lnTo>
                    <a:pt x="439" y="461"/>
                  </a:lnTo>
                  <a:lnTo>
                    <a:pt x="441" y="455"/>
                  </a:lnTo>
                  <a:lnTo>
                    <a:pt x="441" y="449"/>
                  </a:lnTo>
                  <a:lnTo>
                    <a:pt x="443" y="437"/>
                  </a:lnTo>
                  <a:lnTo>
                    <a:pt x="445" y="429"/>
                  </a:lnTo>
                  <a:lnTo>
                    <a:pt x="450" y="422"/>
                  </a:lnTo>
                  <a:lnTo>
                    <a:pt x="461" y="418"/>
                  </a:lnTo>
                  <a:lnTo>
                    <a:pt x="469" y="414"/>
                  </a:lnTo>
                  <a:lnTo>
                    <a:pt x="473" y="411"/>
                  </a:lnTo>
                  <a:lnTo>
                    <a:pt x="474" y="407"/>
                  </a:lnTo>
                  <a:lnTo>
                    <a:pt x="474" y="403"/>
                  </a:lnTo>
                  <a:lnTo>
                    <a:pt x="469" y="392"/>
                  </a:lnTo>
                  <a:lnTo>
                    <a:pt x="461" y="379"/>
                  </a:lnTo>
                  <a:lnTo>
                    <a:pt x="461" y="364"/>
                  </a:lnTo>
                  <a:lnTo>
                    <a:pt x="463" y="353"/>
                  </a:lnTo>
                  <a:lnTo>
                    <a:pt x="467" y="344"/>
                  </a:lnTo>
                  <a:lnTo>
                    <a:pt x="474" y="333"/>
                  </a:lnTo>
                  <a:lnTo>
                    <a:pt x="476" y="324"/>
                  </a:lnTo>
                  <a:lnTo>
                    <a:pt x="480" y="313"/>
                  </a:lnTo>
                  <a:lnTo>
                    <a:pt x="482" y="307"/>
                  </a:lnTo>
                  <a:lnTo>
                    <a:pt x="485" y="302"/>
                  </a:lnTo>
                  <a:lnTo>
                    <a:pt x="489" y="296"/>
                  </a:lnTo>
                  <a:lnTo>
                    <a:pt x="495" y="292"/>
                  </a:lnTo>
                  <a:lnTo>
                    <a:pt x="498" y="278"/>
                  </a:lnTo>
                  <a:lnTo>
                    <a:pt x="502" y="261"/>
                  </a:lnTo>
                  <a:lnTo>
                    <a:pt x="509" y="254"/>
                  </a:lnTo>
                  <a:lnTo>
                    <a:pt x="515" y="250"/>
                  </a:lnTo>
                  <a:lnTo>
                    <a:pt x="519" y="244"/>
                  </a:lnTo>
                  <a:lnTo>
                    <a:pt x="522" y="239"/>
                  </a:lnTo>
                  <a:lnTo>
                    <a:pt x="526" y="230"/>
                  </a:lnTo>
                  <a:lnTo>
                    <a:pt x="528" y="215"/>
                  </a:lnTo>
                  <a:lnTo>
                    <a:pt x="524" y="196"/>
                  </a:lnTo>
                  <a:lnTo>
                    <a:pt x="519" y="180"/>
                  </a:lnTo>
                  <a:lnTo>
                    <a:pt x="519" y="176"/>
                  </a:lnTo>
                  <a:lnTo>
                    <a:pt x="521" y="172"/>
                  </a:lnTo>
                  <a:lnTo>
                    <a:pt x="524" y="169"/>
                  </a:lnTo>
                  <a:lnTo>
                    <a:pt x="528" y="167"/>
                  </a:lnTo>
                  <a:lnTo>
                    <a:pt x="535" y="163"/>
                  </a:lnTo>
                  <a:lnTo>
                    <a:pt x="543" y="161"/>
                  </a:lnTo>
                  <a:lnTo>
                    <a:pt x="556" y="141"/>
                  </a:lnTo>
                  <a:lnTo>
                    <a:pt x="570" y="124"/>
                  </a:lnTo>
                  <a:lnTo>
                    <a:pt x="576" y="115"/>
                  </a:lnTo>
                  <a:lnTo>
                    <a:pt x="580" y="104"/>
                  </a:lnTo>
                  <a:lnTo>
                    <a:pt x="582" y="93"/>
                  </a:lnTo>
                  <a:lnTo>
                    <a:pt x="582" y="76"/>
                  </a:lnTo>
                  <a:lnTo>
                    <a:pt x="580" y="69"/>
                  </a:lnTo>
                  <a:lnTo>
                    <a:pt x="576" y="63"/>
                  </a:lnTo>
                  <a:lnTo>
                    <a:pt x="572" y="60"/>
                  </a:lnTo>
                  <a:lnTo>
                    <a:pt x="567" y="56"/>
                  </a:lnTo>
                  <a:lnTo>
                    <a:pt x="552" y="50"/>
                  </a:lnTo>
                  <a:lnTo>
                    <a:pt x="533" y="47"/>
                  </a:lnTo>
                  <a:lnTo>
                    <a:pt x="530" y="37"/>
                  </a:lnTo>
                  <a:lnTo>
                    <a:pt x="524" y="32"/>
                  </a:lnTo>
                  <a:lnTo>
                    <a:pt x="506" y="45"/>
                  </a:lnTo>
                  <a:lnTo>
                    <a:pt x="493" y="56"/>
                  </a:lnTo>
                  <a:lnTo>
                    <a:pt x="491" y="61"/>
                  </a:lnTo>
                  <a:lnTo>
                    <a:pt x="487" y="67"/>
                  </a:lnTo>
                  <a:lnTo>
                    <a:pt x="484" y="71"/>
                  </a:lnTo>
                  <a:lnTo>
                    <a:pt x="480" y="76"/>
                  </a:lnTo>
                  <a:lnTo>
                    <a:pt x="469" y="84"/>
                  </a:lnTo>
                  <a:lnTo>
                    <a:pt x="460" y="95"/>
                  </a:lnTo>
                  <a:lnTo>
                    <a:pt x="450" y="104"/>
                  </a:lnTo>
                  <a:lnTo>
                    <a:pt x="441" y="113"/>
                  </a:lnTo>
                  <a:lnTo>
                    <a:pt x="432" y="119"/>
                  </a:lnTo>
                  <a:lnTo>
                    <a:pt x="421" y="122"/>
                  </a:lnTo>
                  <a:lnTo>
                    <a:pt x="402" y="128"/>
                  </a:lnTo>
                  <a:lnTo>
                    <a:pt x="380" y="132"/>
                  </a:lnTo>
                  <a:lnTo>
                    <a:pt x="376" y="133"/>
                  </a:lnTo>
                  <a:lnTo>
                    <a:pt x="376" y="135"/>
                  </a:lnTo>
                  <a:lnTo>
                    <a:pt x="376" y="137"/>
                  </a:lnTo>
                  <a:lnTo>
                    <a:pt x="378" y="139"/>
                  </a:lnTo>
                  <a:lnTo>
                    <a:pt x="382" y="145"/>
                  </a:lnTo>
                  <a:lnTo>
                    <a:pt x="382" y="148"/>
                  </a:lnTo>
                  <a:lnTo>
                    <a:pt x="376" y="152"/>
                  </a:lnTo>
                  <a:lnTo>
                    <a:pt x="375" y="156"/>
                  </a:lnTo>
                  <a:lnTo>
                    <a:pt x="373" y="158"/>
                  </a:lnTo>
                  <a:lnTo>
                    <a:pt x="375" y="161"/>
                  </a:lnTo>
                  <a:lnTo>
                    <a:pt x="380" y="167"/>
                  </a:lnTo>
                  <a:lnTo>
                    <a:pt x="382" y="172"/>
                  </a:lnTo>
                  <a:lnTo>
                    <a:pt x="376" y="178"/>
                  </a:lnTo>
                  <a:lnTo>
                    <a:pt x="369" y="183"/>
                  </a:lnTo>
                  <a:lnTo>
                    <a:pt x="365" y="196"/>
                  </a:lnTo>
                  <a:lnTo>
                    <a:pt x="364" y="206"/>
                  </a:lnTo>
                  <a:lnTo>
                    <a:pt x="341" y="220"/>
                  </a:lnTo>
                  <a:lnTo>
                    <a:pt x="332" y="230"/>
                  </a:lnTo>
                  <a:lnTo>
                    <a:pt x="336" y="239"/>
                  </a:lnTo>
                  <a:lnTo>
                    <a:pt x="343" y="252"/>
                  </a:lnTo>
                  <a:lnTo>
                    <a:pt x="345" y="259"/>
                  </a:lnTo>
                  <a:lnTo>
                    <a:pt x="345" y="265"/>
                  </a:lnTo>
                  <a:lnTo>
                    <a:pt x="349" y="267"/>
                  </a:lnTo>
                  <a:lnTo>
                    <a:pt x="356" y="267"/>
                  </a:lnTo>
                  <a:lnTo>
                    <a:pt x="352" y="279"/>
                  </a:lnTo>
                  <a:lnTo>
                    <a:pt x="343" y="291"/>
                  </a:lnTo>
                  <a:lnTo>
                    <a:pt x="343" y="300"/>
                  </a:lnTo>
                  <a:lnTo>
                    <a:pt x="343" y="307"/>
                  </a:lnTo>
                  <a:lnTo>
                    <a:pt x="345" y="315"/>
                  </a:lnTo>
                  <a:lnTo>
                    <a:pt x="349" y="322"/>
                  </a:lnTo>
                  <a:lnTo>
                    <a:pt x="351" y="335"/>
                  </a:lnTo>
                  <a:lnTo>
                    <a:pt x="349" y="342"/>
                  </a:lnTo>
                  <a:lnTo>
                    <a:pt x="345" y="346"/>
                  </a:lnTo>
                  <a:lnTo>
                    <a:pt x="332" y="352"/>
                  </a:lnTo>
                  <a:lnTo>
                    <a:pt x="327" y="355"/>
                  </a:lnTo>
                  <a:lnTo>
                    <a:pt x="321" y="359"/>
                  </a:lnTo>
                  <a:lnTo>
                    <a:pt x="319" y="361"/>
                  </a:lnTo>
                  <a:lnTo>
                    <a:pt x="316" y="363"/>
                  </a:lnTo>
                  <a:lnTo>
                    <a:pt x="312" y="363"/>
                  </a:lnTo>
                  <a:lnTo>
                    <a:pt x="308" y="361"/>
                  </a:lnTo>
                  <a:lnTo>
                    <a:pt x="310" y="355"/>
                  </a:lnTo>
                  <a:lnTo>
                    <a:pt x="312" y="350"/>
                  </a:lnTo>
                  <a:lnTo>
                    <a:pt x="306" y="346"/>
                  </a:lnTo>
                  <a:lnTo>
                    <a:pt x="301" y="340"/>
                  </a:lnTo>
                  <a:lnTo>
                    <a:pt x="303" y="333"/>
                  </a:lnTo>
                  <a:lnTo>
                    <a:pt x="304" y="324"/>
                  </a:lnTo>
                  <a:lnTo>
                    <a:pt x="299" y="316"/>
                  </a:lnTo>
                  <a:lnTo>
                    <a:pt x="293" y="309"/>
                  </a:lnTo>
                  <a:lnTo>
                    <a:pt x="293" y="303"/>
                  </a:lnTo>
                  <a:lnTo>
                    <a:pt x="291" y="298"/>
                  </a:lnTo>
                  <a:lnTo>
                    <a:pt x="284" y="289"/>
                  </a:lnTo>
                  <a:lnTo>
                    <a:pt x="275" y="279"/>
                  </a:lnTo>
                  <a:lnTo>
                    <a:pt x="275" y="272"/>
                  </a:lnTo>
                  <a:lnTo>
                    <a:pt x="273" y="267"/>
                  </a:lnTo>
                  <a:lnTo>
                    <a:pt x="266" y="265"/>
                  </a:lnTo>
                  <a:lnTo>
                    <a:pt x="260" y="267"/>
                  </a:lnTo>
                  <a:lnTo>
                    <a:pt x="258" y="278"/>
                  </a:lnTo>
                  <a:lnTo>
                    <a:pt x="255" y="287"/>
                  </a:lnTo>
                  <a:lnTo>
                    <a:pt x="249" y="294"/>
                  </a:lnTo>
                  <a:lnTo>
                    <a:pt x="245" y="300"/>
                  </a:lnTo>
                  <a:lnTo>
                    <a:pt x="234" y="309"/>
                  </a:lnTo>
                  <a:lnTo>
                    <a:pt x="225" y="322"/>
                  </a:lnTo>
                  <a:lnTo>
                    <a:pt x="234" y="344"/>
                  </a:lnTo>
                  <a:lnTo>
                    <a:pt x="242" y="370"/>
                  </a:lnTo>
                  <a:lnTo>
                    <a:pt x="232" y="372"/>
                  </a:lnTo>
                  <a:lnTo>
                    <a:pt x="227" y="372"/>
                  </a:lnTo>
                  <a:lnTo>
                    <a:pt x="225" y="377"/>
                  </a:lnTo>
                  <a:lnTo>
                    <a:pt x="223" y="385"/>
                  </a:lnTo>
                  <a:lnTo>
                    <a:pt x="208" y="388"/>
                  </a:lnTo>
                  <a:lnTo>
                    <a:pt x="184" y="390"/>
                  </a:lnTo>
                  <a:lnTo>
                    <a:pt x="171" y="401"/>
                  </a:lnTo>
                  <a:lnTo>
                    <a:pt x="155" y="411"/>
                  </a:lnTo>
                  <a:lnTo>
                    <a:pt x="133" y="405"/>
                  </a:lnTo>
                  <a:lnTo>
                    <a:pt x="105" y="401"/>
                  </a:lnTo>
                  <a:lnTo>
                    <a:pt x="96" y="405"/>
                  </a:lnTo>
                  <a:lnTo>
                    <a:pt x="88" y="409"/>
                  </a:lnTo>
                  <a:lnTo>
                    <a:pt x="83" y="413"/>
                  </a:lnTo>
                  <a:lnTo>
                    <a:pt x="79" y="418"/>
                  </a:lnTo>
                  <a:lnTo>
                    <a:pt x="70" y="427"/>
                  </a:lnTo>
                  <a:lnTo>
                    <a:pt x="61" y="437"/>
                  </a:lnTo>
                  <a:lnTo>
                    <a:pt x="48" y="437"/>
                  </a:lnTo>
                  <a:lnTo>
                    <a:pt x="33" y="437"/>
                  </a:lnTo>
                  <a:lnTo>
                    <a:pt x="37" y="457"/>
                  </a:lnTo>
                  <a:lnTo>
                    <a:pt x="38" y="479"/>
                  </a:lnTo>
                  <a:lnTo>
                    <a:pt x="14" y="512"/>
                  </a:lnTo>
                  <a:lnTo>
                    <a:pt x="0" y="533"/>
                  </a:lnTo>
                  <a:lnTo>
                    <a:pt x="5" y="538"/>
                  </a:lnTo>
                  <a:lnTo>
                    <a:pt x="16" y="542"/>
                  </a:lnTo>
                  <a:lnTo>
                    <a:pt x="18" y="549"/>
                  </a:lnTo>
                  <a:lnTo>
                    <a:pt x="20" y="555"/>
                  </a:lnTo>
                  <a:lnTo>
                    <a:pt x="24" y="562"/>
                  </a:lnTo>
                  <a:lnTo>
                    <a:pt x="27" y="566"/>
                  </a:lnTo>
                  <a:lnTo>
                    <a:pt x="38" y="570"/>
                  </a:lnTo>
                  <a:lnTo>
                    <a:pt x="51" y="571"/>
                  </a:lnTo>
                  <a:lnTo>
                    <a:pt x="62" y="571"/>
                  </a:lnTo>
                  <a:lnTo>
                    <a:pt x="74" y="573"/>
                  </a:lnTo>
                  <a:lnTo>
                    <a:pt x="86" y="573"/>
                  </a:lnTo>
                  <a:lnTo>
                    <a:pt x="98" y="577"/>
                  </a:lnTo>
                  <a:lnTo>
                    <a:pt x="110" y="586"/>
                  </a:lnTo>
                  <a:lnTo>
                    <a:pt x="125" y="597"/>
                  </a:lnTo>
                  <a:lnTo>
                    <a:pt x="127" y="603"/>
                  </a:lnTo>
                  <a:lnTo>
                    <a:pt x="125" y="607"/>
                  </a:lnTo>
                  <a:lnTo>
                    <a:pt x="122" y="610"/>
                  </a:lnTo>
                  <a:lnTo>
                    <a:pt x="118" y="612"/>
                  </a:lnTo>
                  <a:lnTo>
                    <a:pt x="114" y="614"/>
                  </a:lnTo>
                  <a:lnTo>
                    <a:pt x="110" y="616"/>
                  </a:lnTo>
                  <a:lnTo>
                    <a:pt x="109" y="619"/>
                  </a:lnTo>
                  <a:lnTo>
                    <a:pt x="109" y="623"/>
                  </a:lnTo>
                  <a:lnTo>
                    <a:pt x="133" y="649"/>
                  </a:lnTo>
                  <a:lnTo>
                    <a:pt x="149" y="662"/>
                  </a:lnTo>
                  <a:lnTo>
                    <a:pt x="158" y="656"/>
                  </a:lnTo>
                  <a:lnTo>
                    <a:pt x="168" y="649"/>
                  </a:lnTo>
                  <a:lnTo>
                    <a:pt x="175" y="651"/>
                  </a:lnTo>
                  <a:lnTo>
                    <a:pt x="182" y="653"/>
                  </a:lnTo>
                  <a:lnTo>
                    <a:pt x="184" y="642"/>
                  </a:lnTo>
                  <a:lnTo>
                    <a:pt x="186" y="632"/>
                  </a:lnTo>
                  <a:lnTo>
                    <a:pt x="192" y="632"/>
                  </a:lnTo>
                  <a:lnTo>
                    <a:pt x="195" y="634"/>
                  </a:lnTo>
                  <a:lnTo>
                    <a:pt x="197" y="640"/>
                  </a:lnTo>
                  <a:lnTo>
                    <a:pt x="201" y="647"/>
                  </a:lnTo>
                  <a:lnTo>
                    <a:pt x="203" y="655"/>
                  </a:lnTo>
                  <a:lnTo>
                    <a:pt x="208" y="664"/>
                  </a:lnTo>
                  <a:lnTo>
                    <a:pt x="214" y="671"/>
                  </a:lnTo>
                  <a:lnTo>
                    <a:pt x="223" y="679"/>
                  </a:lnTo>
                  <a:lnTo>
                    <a:pt x="223" y="699"/>
                  </a:lnTo>
                  <a:lnTo>
                    <a:pt x="223" y="728"/>
                  </a:lnTo>
                  <a:lnTo>
                    <a:pt x="225" y="738"/>
                  </a:lnTo>
                  <a:lnTo>
                    <a:pt x="231" y="745"/>
                  </a:lnTo>
                  <a:lnTo>
                    <a:pt x="236" y="753"/>
                  </a:lnTo>
                  <a:lnTo>
                    <a:pt x="242" y="760"/>
                  </a:lnTo>
                  <a:lnTo>
                    <a:pt x="242" y="767"/>
                  </a:lnTo>
                  <a:lnTo>
                    <a:pt x="242" y="777"/>
                  </a:lnTo>
                  <a:lnTo>
                    <a:pt x="243" y="780"/>
                  </a:lnTo>
                  <a:lnTo>
                    <a:pt x="245" y="782"/>
                  </a:lnTo>
                  <a:lnTo>
                    <a:pt x="251" y="786"/>
                  </a:lnTo>
                  <a:lnTo>
                    <a:pt x="256" y="788"/>
                  </a:lnTo>
                  <a:lnTo>
                    <a:pt x="271" y="788"/>
                  </a:lnTo>
                  <a:lnTo>
                    <a:pt x="286" y="791"/>
                  </a:lnTo>
                  <a:lnTo>
                    <a:pt x="297" y="801"/>
                  </a:lnTo>
                  <a:lnTo>
                    <a:pt x="310" y="812"/>
                  </a:lnTo>
                  <a:lnTo>
                    <a:pt x="323" y="823"/>
                  </a:lnTo>
                  <a:lnTo>
                    <a:pt x="338" y="830"/>
                  </a:lnTo>
                  <a:lnTo>
                    <a:pt x="358" y="834"/>
                  </a:lnTo>
                  <a:lnTo>
                    <a:pt x="376" y="836"/>
                  </a:lnTo>
                  <a:lnTo>
                    <a:pt x="382" y="854"/>
                  </a:lnTo>
                  <a:lnTo>
                    <a:pt x="389" y="873"/>
                  </a:lnTo>
                  <a:lnTo>
                    <a:pt x="402" y="873"/>
                  </a:lnTo>
                  <a:lnTo>
                    <a:pt x="417" y="876"/>
                  </a:lnTo>
                  <a:lnTo>
                    <a:pt x="424" y="898"/>
                  </a:lnTo>
                  <a:lnTo>
                    <a:pt x="432" y="919"/>
                  </a:lnTo>
                  <a:lnTo>
                    <a:pt x="443" y="923"/>
                  </a:lnTo>
                  <a:lnTo>
                    <a:pt x="454" y="923"/>
                  </a:lnTo>
                  <a:lnTo>
                    <a:pt x="461" y="923"/>
                  </a:lnTo>
                  <a:lnTo>
                    <a:pt x="469" y="924"/>
                  </a:lnTo>
                  <a:lnTo>
                    <a:pt x="478" y="928"/>
                  </a:lnTo>
                  <a:lnTo>
                    <a:pt x="491" y="934"/>
                  </a:lnTo>
                  <a:lnTo>
                    <a:pt x="498" y="934"/>
                  </a:lnTo>
                  <a:lnTo>
                    <a:pt x="509" y="932"/>
                  </a:lnTo>
                  <a:lnTo>
                    <a:pt x="519" y="928"/>
                  </a:lnTo>
                  <a:lnTo>
                    <a:pt x="528" y="923"/>
                  </a:lnTo>
                  <a:lnTo>
                    <a:pt x="537" y="919"/>
                  </a:lnTo>
                  <a:lnTo>
                    <a:pt x="546" y="915"/>
                  </a:lnTo>
                  <a:lnTo>
                    <a:pt x="554" y="913"/>
                  </a:lnTo>
                  <a:lnTo>
                    <a:pt x="561" y="913"/>
                  </a:lnTo>
                  <a:lnTo>
                    <a:pt x="570" y="928"/>
                  </a:lnTo>
                  <a:lnTo>
                    <a:pt x="583" y="948"/>
                  </a:lnTo>
                  <a:lnTo>
                    <a:pt x="589" y="948"/>
                  </a:lnTo>
                  <a:lnTo>
                    <a:pt x="594" y="948"/>
                  </a:lnTo>
                  <a:lnTo>
                    <a:pt x="598" y="950"/>
                  </a:lnTo>
                  <a:lnTo>
                    <a:pt x="604" y="952"/>
                  </a:lnTo>
                  <a:lnTo>
                    <a:pt x="611" y="963"/>
                  </a:lnTo>
                  <a:lnTo>
                    <a:pt x="622" y="983"/>
                  </a:lnTo>
                  <a:lnTo>
                    <a:pt x="624" y="985"/>
                  </a:lnTo>
                  <a:lnTo>
                    <a:pt x="628" y="987"/>
                  </a:lnTo>
                  <a:lnTo>
                    <a:pt x="631" y="987"/>
                  </a:lnTo>
                  <a:lnTo>
                    <a:pt x="637" y="985"/>
                  </a:lnTo>
                  <a:lnTo>
                    <a:pt x="644" y="982"/>
                  </a:lnTo>
                  <a:lnTo>
                    <a:pt x="654" y="980"/>
                  </a:lnTo>
                  <a:lnTo>
                    <a:pt x="663" y="998"/>
                  </a:lnTo>
                  <a:lnTo>
                    <a:pt x="668" y="1020"/>
                  </a:lnTo>
                  <a:close/>
                  <a:moveTo>
                    <a:pt x="683" y="85"/>
                  </a:moveTo>
                  <a:lnTo>
                    <a:pt x="683" y="84"/>
                  </a:lnTo>
                  <a:lnTo>
                    <a:pt x="687" y="82"/>
                  </a:lnTo>
                  <a:lnTo>
                    <a:pt x="689" y="82"/>
                  </a:lnTo>
                  <a:lnTo>
                    <a:pt x="694" y="84"/>
                  </a:lnTo>
                  <a:lnTo>
                    <a:pt x="692" y="85"/>
                  </a:lnTo>
                  <a:lnTo>
                    <a:pt x="687" y="85"/>
                  </a:lnTo>
                  <a:lnTo>
                    <a:pt x="683" y="85"/>
                  </a:lnTo>
                  <a:close/>
                  <a:moveTo>
                    <a:pt x="694" y="52"/>
                  </a:moveTo>
                  <a:lnTo>
                    <a:pt x="694" y="58"/>
                  </a:lnTo>
                  <a:lnTo>
                    <a:pt x="694" y="61"/>
                  </a:lnTo>
                  <a:lnTo>
                    <a:pt x="696" y="63"/>
                  </a:lnTo>
                  <a:lnTo>
                    <a:pt x="700" y="65"/>
                  </a:lnTo>
                  <a:lnTo>
                    <a:pt x="702" y="61"/>
                  </a:lnTo>
                  <a:lnTo>
                    <a:pt x="700" y="58"/>
                  </a:lnTo>
                  <a:lnTo>
                    <a:pt x="696" y="54"/>
                  </a:lnTo>
                  <a:lnTo>
                    <a:pt x="694" y="52"/>
                  </a:lnTo>
                  <a:close/>
                  <a:moveTo>
                    <a:pt x="670" y="48"/>
                  </a:moveTo>
                  <a:lnTo>
                    <a:pt x="676" y="47"/>
                  </a:lnTo>
                  <a:lnTo>
                    <a:pt x="681" y="43"/>
                  </a:lnTo>
                  <a:lnTo>
                    <a:pt x="685" y="47"/>
                  </a:lnTo>
                  <a:lnTo>
                    <a:pt x="685" y="50"/>
                  </a:lnTo>
                  <a:lnTo>
                    <a:pt x="683" y="50"/>
                  </a:lnTo>
                  <a:lnTo>
                    <a:pt x="681" y="50"/>
                  </a:lnTo>
                  <a:lnTo>
                    <a:pt x="676" y="52"/>
                  </a:lnTo>
                  <a:lnTo>
                    <a:pt x="670" y="54"/>
                  </a:lnTo>
                  <a:lnTo>
                    <a:pt x="670" y="52"/>
                  </a:lnTo>
                  <a:lnTo>
                    <a:pt x="670" y="48"/>
                  </a:lnTo>
                  <a:close/>
                  <a:moveTo>
                    <a:pt x="648" y="65"/>
                  </a:moveTo>
                  <a:lnTo>
                    <a:pt x="648" y="71"/>
                  </a:lnTo>
                  <a:lnTo>
                    <a:pt x="646" y="74"/>
                  </a:lnTo>
                  <a:lnTo>
                    <a:pt x="642" y="76"/>
                  </a:lnTo>
                  <a:lnTo>
                    <a:pt x="637" y="80"/>
                  </a:lnTo>
                  <a:lnTo>
                    <a:pt x="635" y="80"/>
                  </a:lnTo>
                  <a:lnTo>
                    <a:pt x="635" y="76"/>
                  </a:lnTo>
                  <a:lnTo>
                    <a:pt x="635" y="74"/>
                  </a:lnTo>
                  <a:lnTo>
                    <a:pt x="635" y="73"/>
                  </a:lnTo>
                  <a:lnTo>
                    <a:pt x="639" y="67"/>
                  </a:lnTo>
                  <a:lnTo>
                    <a:pt x="648" y="65"/>
                  </a:lnTo>
                  <a:close/>
                  <a:moveTo>
                    <a:pt x="533" y="23"/>
                  </a:moveTo>
                  <a:lnTo>
                    <a:pt x="543" y="15"/>
                  </a:lnTo>
                  <a:lnTo>
                    <a:pt x="548" y="6"/>
                  </a:lnTo>
                  <a:lnTo>
                    <a:pt x="556" y="2"/>
                  </a:lnTo>
                  <a:lnTo>
                    <a:pt x="563" y="0"/>
                  </a:lnTo>
                  <a:lnTo>
                    <a:pt x="570" y="2"/>
                  </a:lnTo>
                  <a:lnTo>
                    <a:pt x="578" y="10"/>
                  </a:lnTo>
                  <a:lnTo>
                    <a:pt x="582" y="17"/>
                  </a:lnTo>
                  <a:lnTo>
                    <a:pt x="583" y="23"/>
                  </a:lnTo>
                  <a:lnTo>
                    <a:pt x="582" y="26"/>
                  </a:lnTo>
                  <a:lnTo>
                    <a:pt x="580" y="28"/>
                  </a:lnTo>
                  <a:lnTo>
                    <a:pt x="576" y="32"/>
                  </a:lnTo>
                  <a:lnTo>
                    <a:pt x="570" y="34"/>
                  </a:lnTo>
                  <a:lnTo>
                    <a:pt x="561" y="34"/>
                  </a:lnTo>
                  <a:lnTo>
                    <a:pt x="552" y="30"/>
                  </a:lnTo>
                  <a:lnTo>
                    <a:pt x="543" y="30"/>
                  </a:lnTo>
                  <a:lnTo>
                    <a:pt x="537" y="30"/>
                  </a:lnTo>
                  <a:lnTo>
                    <a:pt x="533" y="28"/>
                  </a:lnTo>
                  <a:lnTo>
                    <a:pt x="533" y="2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5" name="Freeform 41"/>
            <p:cNvSpPr>
              <a:spLocks/>
            </p:cNvSpPr>
            <p:nvPr/>
          </p:nvSpPr>
          <p:spPr bwMode="auto">
            <a:xfrm>
              <a:off x="4446854" y="2178523"/>
              <a:ext cx="481092" cy="379641"/>
            </a:xfrm>
            <a:custGeom>
              <a:avLst/>
              <a:gdLst>
                <a:gd name="T0" fmla="*/ 486 w 922"/>
                <a:gd name="T1" fmla="*/ 700 h 746"/>
                <a:gd name="T2" fmla="*/ 545 w 922"/>
                <a:gd name="T3" fmla="*/ 661 h 746"/>
                <a:gd name="T4" fmla="*/ 580 w 922"/>
                <a:gd name="T5" fmla="*/ 622 h 746"/>
                <a:gd name="T6" fmla="*/ 611 w 922"/>
                <a:gd name="T7" fmla="*/ 617 h 746"/>
                <a:gd name="T8" fmla="*/ 658 w 922"/>
                <a:gd name="T9" fmla="*/ 633 h 746"/>
                <a:gd name="T10" fmla="*/ 700 w 922"/>
                <a:gd name="T11" fmla="*/ 657 h 746"/>
                <a:gd name="T12" fmla="*/ 733 w 922"/>
                <a:gd name="T13" fmla="*/ 676 h 746"/>
                <a:gd name="T14" fmla="*/ 794 w 922"/>
                <a:gd name="T15" fmla="*/ 680 h 746"/>
                <a:gd name="T16" fmla="*/ 872 w 922"/>
                <a:gd name="T17" fmla="*/ 680 h 746"/>
                <a:gd name="T18" fmla="*/ 920 w 922"/>
                <a:gd name="T19" fmla="*/ 663 h 746"/>
                <a:gd name="T20" fmla="*/ 898 w 922"/>
                <a:gd name="T21" fmla="*/ 628 h 746"/>
                <a:gd name="T22" fmla="*/ 890 w 922"/>
                <a:gd name="T23" fmla="*/ 583 h 746"/>
                <a:gd name="T24" fmla="*/ 853 w 922"/>
                <a:gd name="T25" fmla="*/ 550 h 746"/>
                <a:gd name="T26" fmla="*/ 826 w 922"/>
                <a:gd name="T27" fmla="*/ 515 h 746"/>
                <a:gd name="T28" fmla="*/ 792 w 922"/>
                <a:gd name="T29" fmla="*/ 491 h 746"/>
                <a:gd name="T30" fmla="*/ 750 w 922"/>
                <a:gd name="T31" fmla="*/ 486 h 746"/>
                <a:gd name="T32" fmla="*/ 700 w 922"/>
                <a:gd name="T33" fmla="*/ 491 h 746"/>
                <a:gd name="T34" fmla="*/ 654 w 922"/>
                <a:gd name="T35" fmla="*/ 482 h 746"/>
                <a:gd name="T36" fmla="*/ 604 w 922"/>
                <a:gd name="T37" fmla="*/ 417 h 746"/>
                <a:gd name="T38" fmla="*/ 532 w 922"/>
                <a:gd name="T39" fmla="*/ 375 h 746"/>
                <a:gd name="T40" fmla="*/ 473 w 922"/>
                <a:gd name="T41" fmla="*/ 349 h 746"/>
                <a:gd name="T42" fmla="*/ 464 w 922"/>
                <a:gd name="T43" fmla="*/ 323 h 746"/>
                <a:gd name="T44" fmla="*/ 445 w 922"/>
                <a:gd name="T45" fmla="*/ 262 h 746"/>
                <a:gd name="T46" fmla="*/ 423 w 922"/>
                <a:gd name="T47" fmla="*/ 210 h 746"/>
                <a:gd name="T48" fmla="*/ 406 w 922"/>
                <a:gd name="T49" fmla="*/ 205 h 746"/>
                <a:gd name="T50" fmla="*/ 371 w 922"/>
                <a:gd name="T51" fmla="*/ 225 h 746"/>
                <a:gd name="T52" fmla="*/ 336 w 922"/>
                <a:gd name="T53" fmla="*/ 177 h 746"/>
                <a:gd name="T54" fmla="*/ 347 w 922"/>
                <a:gd name="T55" fmla="*/ 160 h 746"/>
                <a:gd name="T56" fmla="*/ 284 w 922"/>
                <a:gd name="T57" fmla="*/ 134 h 746"/>
                <a:gd name="T58" fmla="*/ 242 w 922"/>
                <a:gd name="T59" fmla="*/ 118 h 746"/>
                <a:gd name="T60" fmla="*/ 236 w 922"/>
                <a:gd name="T61" fmla="*/ 75 h 746"/>
                <a:gd name="T62" fmla="*/ 240 w 922"/>
                <a:gd name="T63" fmla="*/ 0 h 746"/>
                <a:gd name="T64" fmla="*/ 199 w 922"/>
                <a:gd name="T65" fmla="*/ 25 h 746"/>
                <a:gd name="T66" fmla="*/ 163 w 922"/>
                <a:gd name="T67" fmla="*/ 5 h 746"/>
                <a:gd name="T68" fmla="*/ 140 w 922"/>
                <a:gd name="T69" fmla="*/ 24 h 746"/>
                <a:gd name="T70" fmla="*/ 114 w 922"/>
                <a:gd name="T71" fmla="*/ 38 h 746"/>
                <a:gd name="T72" fmla="*/ 96 w 922"/>
                <a:gd name="T73" fmla="*/ 92 h 746"/>
                <a:gd name="T74" fmla="*/ 39 w 922"/>
                <a:gd name="T75" fmla="*/ 157 h 746"/>
                <a:gd name="T76" fmla="*/ 31 w 922"/>
                <a:gd name="T77" fmla="*/ 184 h 746"/>
                <a:gd name="T78" fmla="*/ 0 w 922"/>
                <a:gd name="T79" fmla="*/ 210 h 746"/>
                <a:gd name="T80" fmla="*/ 26 w 922"/>
                <a:gd name="T81" fmla="*/ 251 h 746"/>
                <a:gd name="T82" fmla="*/ 63 w 922"/>
                <a:gd name="T83" fmla="*/ 291 h 746"/>
                <a:gd name="T84" fmla="*/ 65 w 922"/>
                <a:gd name="T85" fmla="*/ 358 h 746"/>
                <a:gd name="T86" fmla="*/ 55 w 922"/>
                <a:gd name="T87" fmla="*/ 408 h 746"/>
                <a:gd name="T88" fmla="*/ 59 w 922"/>
                <a:gd name="T89" fmla="*/ 491 h 746"/>
                <a:gd name="T90" fmla="*/ 72 w 922"/>
                <a:gd name="T91" fmla="*/ 543 h 746"/>
                <a:gd name="T92" fmla="*/ 89 w 922"/>
                <a:gd name="T93" fmla="*/ 593 h 746"/>
                <a:gd name="T94" fmla="*/ 155 w 922"/>
                <a:gd name="T95" fmla="*/ 587 h 746"/>
                <a:gd name="T96" fmla="*/ 238 w 922"/>
                <a:gd name="T97" fmla="*/ 569 h 746"/>
                <a:gd name="T98" fmla="*/ 299 w 922"/>
                <a:gd name="T99" fmla="*/ 583 h 746"/>
                <a:gd name="T100" fmla="*/ 344 w 922"/>
                <a:gd name="T101" fmla="*/ 602 h 746"/>
                <a:gd name="T102" fmla="*/ 369 w 922"/>
                <a:gd name="T103" fmla="*/ 678 h 746"/>
                <a:gd name="T104" fmla="*/ 390 w 922"/>
                <a:gd name="T105" fmla="*/ 707 h 746"/>
                <a:gd name="T106" fmla="*/ 412 w 922"/>
                <a:gd name="T107" fmla="*/ 728 h 74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22"/>
                <a:gd name="T163" fmla="*/ 0 h 746"/>
                <a:gd name="T164" fmla="*/ 922 w 922"/>
                <a:gd name="T165" fmla="*/ 746 h 74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22" h="746">
                  <a:moveTo>
                    <a:pt x="447" y="746"/>
                  </a:moveTo>
                  <a:lnTo>
                    <a:pt x="458" y="742"/>
                  </a:lnTo>
                  <a:lnTo>
                    <a:pt x="469" y="737"/>
                  </a:lnTo>
                  <a:lnTo>
                    <a:pt x="477" y="718"/>
                  </a:lnTo>
                  <a:lnTo>
                    <a:pt x="486" y="700"/>
                  </a:lnTo>
                  <a:lnTo>
                    <a:pt x="506" y="698"/>
                  </a:lnTo>
                  <a:lnTo>
                    <a:pt x="525" y="694"/>
                  </a:lnTo>
                  <a:lnTo>
                    <a:pt x="532" y="681"/>
                  </a:lnTo>
                  <a:lnTo>
                    <a:pt x="536" y="672"/>
                  </a:lnTo>
                  <a:lnTo>
                    <a:pt x="545" y="661"/>
                  </a:lnTo>
                  <a:lnTo>
                    <a:pt x="554" y="652"/>
                  </a:lnTo>
                  <a:lnTo>
                    <a:pt x="558" y="643"/>
                  </a:lnTo>
                  <a:lnTo>
                    <a:pt x="560" y="633"/>
                  </a:lnTo>
                  <a:lnTo>
                    <a:pt x="571" y="628"/>
                  </a:lnTo>
                  <a:lnTo>
                    <a:pt x="580" y="622"/>
                  </a:lnTo>
                  <a:lnTo>
                    <a:pt x="586" y="617"/>
                  </a:lnTo>
                  <a:lnTo>
                    <a:pt x="589" y="611"/>
                  </a:lnTo>
                  <a:lnTo>
                    <a:pt x="595" y="609"/>
                  </a:lnTo>
                  <a:lnTo>
                    <a:pt x="598" y="607"/>
                  </a:lnTo>
                  <a:lnTo>
                    <a:pt x="611" y="617"/>
                  </a:lnTo>
                  <a:lnTo>
                    <a:pt x="624" y="628"/>
                  </a:lnTo>
                  <a:lnTo>
                    <a:pt x="635" y="633"/>
                  </a:lnTo>
                  <a:lnTo>
                    <a:pt x="645" y="633"/>
                  </a:lnTo>
                  <a:lnTo>
                    <a:pt x="652" y="633"/>
                  </a:lnTo>
                  <a:lnTo>
                    <a:pt x="658" y="633"/>
                  </a:lnTo>
                  <a:lnTo>
                    <a:pt x="663" y="643"/>
                  </a:lnTo>
                  <a:lnTo>
                    <a:pt x="672" y="652"/>
                  </a:lnTo>
                  <a:lnTo>
                    <a:pt x="683" y="656"/>
                  </a:lnTo>
                  <a:lnTo>
                    <a:pt x="693" y="657"/>
                  </a:lnTo>
                  <a:lnTo>
                    <a:pt x="700" y="657"/>
                  </a:lnTo>
                  <a:lnTo>
                    <a:pt x="707" y="657"/>
                  </a:lnTo>
                  <a:lnTo>
                    <a:pt x="717" y="656"/>
                  </a:lnTo>
                  <a:lnTo>
                    <a:pt x="724" y="656"/>
                  </a:lnTo>
                  <a:lnTo>
                    <a:pt x="728" y="665"/>
                  </a:lnTo>
                  <a:lnTo>
                    <a:pt x="733" y="676"/>
                  </a:lnTo>
                  <a:lnTo>
                    <a:pt x="746" y="676"/>
                  </a:lnTo>
                  <a:lnTo>
                    <a:pt x="761" y="676"/>
                  </a:lnTo>
                  <a:lnTo>
                    <a:pt x="765" y="685"/>
                  </a:lnTo>
                  <a:lnTo>
                    <a:pt x="772" y="691"/>
                  </a:lnTo>
                  <a:lnTo>
                    <a:pt x="794" y="680"/>
                  </a:lnTo>
                  <a:lnTo>
                    <a:pt x="818" y="670"/>
                  </a:lnTo>
                  <a:lnTo>
                    <a:pt x="835" y="678"/>
                  </a:lnTo>
                  <a:lnTo>
                    <a:pt x="855" y="683"/>
                  </a:lnTo>
                  <a:lnTo>
                    <a:pt x="872" y="680"/>
                  </a:lnTo>
                  <a:lnTo>
                    <a:pt x="890" y="676"/>
                  </a:lnTo>
                  <a:lnTo>
                    <a:pt x="901" y="674"/>
                  </a:lnTo>
                  <a:lnTo>
                    <a:pt x="909" y="672"/>
                  </a:lnTo>
                  <a:lnTo>
                    <a:pt x="916" y="668"/>
                  </a:lnTo>
                  <a:lnTo>
                    <a:pt x="920" y="663"/>
                  </a:lnTo>
                  <a:lnTo>
                    <a:pt x="922" y="652"/>
                  </a:lnTo>
                  <a:lnTo>
                    <a:pt x="922" y="644"/>
                  </a:lnTo>
                  <a:lnTo>
                    <a:pt x="918" y="637"/>
                  </a:lnTo>
                  <a:lnTo>
                    <a:pt x="911" y="633"/>
                  </a:lnTo>
                  <a:lnTo>
                    <a:pt x="898" y="628"/>
                  </a:lnTo>
                  <a:lnTo>
                    <a:pt x="888" y="620"/>
                  </a:lnTo>
                  <a:lnTo>
                    <a:pt x="885" y="611"/>
                  </a:lnTo>
                  <a:lnTo>
                    <a:pt x="885" y="602"/>
                  </a:lnTo>
                  <a:lnTo>
                    <a:pt x="887" y="595"/>
                  </a:lnTo>
                  <a:lnTo>
                    <a:pt x="890" y="583"/>
                  </a:lnTo>
                  <a:lnTo>
                    <a:pt x="885" y="561"/>
                  </a:lnTo>
                  <a:lnTo>
                    <a:pt x="876" y="543"/>
                  </a:lnTo>
                  <a:lnTo>
                    <a:pt x="866" y="545"/>
                  </a:lnTo>
                  <a:lnTo>
                    <a:pt x="859" y="548"/>
                  </a:lnTo>
                  <a:lnTo>
                    <a:pt x="853" y="550"/>
                  </a:lnTo>
                  <a:lnTo>
                    <a:pt x="850" y="550"/>
                  </a:lnTo>
                  <a:lnTo>
                    <a:pt x="846" y="548"/>
                  </a:lnTo>
                  <a:lnTo>
                    <a:pt x="844" y="546"/>
                  </a:lnTo>
                  <a:lnTo>
                    <a:pt x="833" y="526"/>
                  </a:lnTo>
                  <a:lnTo>
                    <a:pt x="826" y="515"/>
                  </a:lnTo>
                  <a:lnTo>
                    <a:pt x="820" y="513"/>
                  </a:lnTo>
                  <a:lnTo>
                    <a:pt x="816" y="511"/>
                  </a:lnTo>
                  <a:lnTo>
                    <a:pt x="811" y="511"/>
                  </a:lnTo>
                  <a:lnTo>
                    <a:pt x="805" y="511"/>
                  </a:lnTo>
                  <a:lnTo>
                    <a:pt x="792" y="491"/>
                  </a:lnTo>
                  <a:lnTo>
                    <a:pt x="783" y="476"/>
                  </a:lnTo>
                  <a:lnTo>
                    <a:pt x="776" y="476"/>
                  </a:lnTo>
                  <a:lnTo>
                    <a:pt x="768" y="478"/>
                  </a:lnTo>
                  <a:lnTo>
                    <a:pt x="759" y="482"/>
                  </a:lnTo>
                  <a:lnTo>
                    <a:pt x="750" y="486"/>
                  </a:lnTo>
                  <a:lnTo>
                    <a:pt x="741" y="491"/>
                  </a:lnTo>
                  <a:lnTo>
                    <a:pt x="731" y="495"/>
                  </a:lnTo>
                  <a:lnTo>
                    <a:pt x="720" y="497"/>
                  </a:lnTo>
                  <a:lnTo>
                    <a:pt x="713" y="497"/>
                  </a:lnTo>
                  <a:lnTo>
                    <a:pt x="700" y="491"/>
                  </a:lnTo>
                  <a:lnTo>
                    <a:pt x="691" y="487"/>
                  </a:lnTo>
                  <a:lnTo>
                    <a:pt x="683" y="486"/>
                  </a:lnTo>
                  <a:lnTo>
                    <a:pt x="676" y="486"/>
                  </a:lnTo>
                  <a:lnTo>
                    <a:pt x="665" y="486"/>
                  </a:lnTo>
                  <a:lnTo>
                    <a:pt x="654" y="482"/>
                  </a:lnTo>
                  <a:lnTo>
                    <a:pt x="646" y="461"/>
                  </a:lnTo>
                  <a:lnTo>
                    <a:pt x="639" y="439"/>
                  </a:lnTo>
                  <a:lnTo>
                    <a:pt x="624" y="436"/>
                  </a:lnTo>
                  <a:lnTo>
                    <a:pt x="611" y="436"/>
                  </a:lnTo>
                  <a:lnTo>
                    <a:pt x="604" y="417"/>
                  </a:lnTo>
                  <a:lnTo>
                    <a:pt x="598" y="399"/>
                  </a:lnTo>
                  <a:lnTo>
                    <a:pt x="580" y="397"/>
                  </a:lnTo>
                  <a:lnTo>
                    <a:pt x="560" y="393"/>
                  </a:lnTo>
                  <a:lnTo>
                    <a:pt x="545" y="386"/>
                  </a:lnTo>
                  <a:lnTo>
                    <a:pt x="532" y="375"/>
                  </a:lnTo>
                  <a:lnTo>
                    <a:pt x="519" y="364"/>
                  </a:lnTo>
                  <a:lnTo>
                    <a:pt x="508" y="354"/>
                  </a:lnTo>
                  <a:lnTo>
                    <a:pt x="493" y="351"/>
                  </a:lnTo>
                  <a:lnTo>
                    <a:pt x="478" y="351"/>
                  </a:lnTo>
                  <a:lnTo>
                    <a:pt x="473" y="349"/>
                  </a:lnTo>
                  <a:lnTo>
                    <a:pt x="467" y="345"/>
                  </a:lnTo>
                  <a:lnTo>
                    <a:pt x="465" y="343"/>
                  </a:lnTo>
                  <a:lnTo>
                    <a:pt x="464" y="340"/>
                  </a:lnTo>
                  <a:lnTo>
                    <a:pt x="464" y="330"/>
                  </a:lnTo>
                  <a:lnTo>
                    <a:pt x="464" y="323"/>
                  </a:lnTo>
                  <a:lnTo>
                    <a:pt x="458" y="316"/>
                  </a:lnTo>
                  <a:lnTo>
                    <a:pt x="453" y="308"/>
                  </a:lnTo>
                  <a:lnTo>
                    <a:pt x="447" y="301"/>
                  </a:lnTo>
                  <a:lnTo>
                    <a:pt x="445" y="291"/>
                  </a:lnTo>
                  <a:lnTo>
                    <a:pt x="445" y="262"/>
                  </a:lnTo>
                  <a:lnTo>
                    <a:pt x="445" y="242"/>
                  </a:lnTo>
                  <a:lnTo>
                    <a:pt x="436" y="234"/>
                  </a:lnTo>
                  <a:lnTo>
                    <a:pt x="430" y="227"/>
                  </a:lnTo>
                  <a:lnTo>
                    <a:pt x="425" y="218"/>
                  </a:lnTo>
                  <a:lnTo>
                    <a:pt x="423" y="210"/>
                  </a:lnTo>
                  <a:lnTo>
                    <a:pt x="419" y="203"/>
                  </a:lnTo>
                  <a:lnTo>
                    <a:pt x="417" y="197"/>
                  </a:lnTo>
                  <a:lnTo>
                    <a:pt x="414" y="195"/>
                  </a:lnTo>
                  <a:lnTo>
                    <a:pt x="408" y="195"/>
                  </a:lnTo>
                  <a:lnTo>
                    <a:pt x="406" y="205"/>
                  </a:lnTo>
                  <a:lnTo>
                    <a:pt x="404" y="216"/>
                  </a:lnTo>
                  <a:lnTo>
                    <a:pt x="397" y="214"/>
                  </a:lnTo>
                  <a:lnTo>
                    <a:pt x="390" y="212"/>
                  </a:lnTo>
                  <a:lnTo>
                    <a:pt x="380" y="219"/>
                  </a:lnTo>
                  <a:lnTo>
                    <a:pt x="371" y="225"/>
                  </a:lnTo>
                  <a:lnTo>
                    <a:pt x="355" y="212"/>
                  </a:lnTo>
                  <a:lnTo>
                    <a:pt x="331" y="186"/>
                  </a:lnTo>
                  <a:lnTo>
                    <a:pt x="331" y="182"/>
                  </a:lnTo>
                  <a:lnTo>
                    <a:pt x="332" y="179"/>
                  </a:lnTo>
                  <a:lnTo>
                    <a:pt x="336" y="177"/>
                  </a:lnTo>
                  <a:lnTo>
                    <a:pt x="340" y="175"/>
                  </a:lnTo>
                  <a:lnTo>
                    <a:pt x="344" y="173"/>
                  </a:lnTo>
                  <a:lnTo>
                    <a:pt x="347" y="170"/>
                  </a:lnTo>
                  <a:lnTo>
                    <a:pt x="349" y="166"/>
                  </a:lnTo>
                  <a:lnTo>
                    <a:pt x="347" y="160"/>
                  </a:lnTo>
                  <a:lnTo>
                    <a:pt x="332" y="149"/>
                  </a:lnTo>
                  <a:lnTo>
                    <a:pt x="320" y="140"/>
                  </a:lnTo>
                  <a:lnTo>
                    <a:pt x="308" y="136"/>
                  </a:lnTo>
                  <a:lnTo>
                    <a:pt x="296" y="136"/>
                  </a:lnTo>
                  <a:lnTo>
                    <a:pt x="284" y="134"/>
                  </a:lnTo>
                  <a:lnTo>
                    <a:pt x="273" y="134"/>
                  </a:lnTo>
                  <a:lnTo>
                    <a:pt x="260" y="133"/>
                  </a:lnTo>
                  <a:lnTo>
                    <a:pt x="249" y="129"/>
                  </a:lnTo>
                  <a:lnTo>
                    <a:pt x="246" y="125"/>
                  </a:lnTo>
                  <a:lnTo>
                    <a:pt x="242" y="118"/>
                  </a:lnTo>
                  <a:lnTo>
                    <a:pt x="240" y="112"/>
                  </a:lnTo>
                  <a:lnTo>
                    <a:pt x="238" y="105"/>
                  </a:lnTo>
                  <a:lnTo>
                    <a:pt x="227" y="101"/>
                  </a:lnTo>
                  <a:lnTo>
                    <a:pt x="222" y="96"/>
                  </a:lnTo>
                  <a:lnTo>
                    <a:pt x="236" y="75"/>
                  </a:lnTo>
                  <a:lnTo>
                    <a:pt x="260" y="42"/>
                  </a:lnTo>
                  <a:lnTo>
                    <a:pt x="259" y="20"/>
                  </a:lnTo>
                  <a:lnTo>
                    <a:pt x="255" y="0"/>
                  </a:lnTo>
                  <a:lnTo>
                    <a:pt x="247" y="0"/>
                  </a:lnTo>
                  <a:lnTo>
                    <a:pt x="240" y="0"/>
                  </a:lnTo>
                  <a:lnTo>
                    <a:pt x="231" y="5"/>
                  </a:lnTo>
                  <a:lnTo>
                    <a:pt x="222" y="9"/>
                  </a:lnTo>
                  <a:lnTo>
                    <a:pt x="214" y="14"/>
                  </a:lnTo>
                  <a:lnTo>
                    <a:pt x="207" y="20"/>
                  </a:lnTo>
                  <a:lnTo>
                    <a:pt x="199" y="25"/>
                  </a:lnTo>
                  <a:lnTo>
                    <a:pt x="192" y="31"/>
                  </a:lnTo>
                  <a:lnTo>
                    <a:pt x="183" y="35"/>
                  </a:lnTo>
                  <a:lnTo>
                    <a:pt x="172" y="38"/>
                  </a:lnTo>
                  <a:lnTo>
                    <a:pt x="168" y="18"/>
                  </a:lnTo>
                  <a:lnTo>
                    <a:pt x="163" y="5"/>
                  </a:lnTo>
                  <a:lnTo>
                    <a:pt x="157" y="5"/>
                  </a:lnTo>
                  <a:lnTo>
                    <a:pt x="151" y="9"/>
                  </a:lnTo>
                  <a:lnTo>
                    <a:pt x="146" y="14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38" y="27"/>
                  </a:lnTo>
                  <a:lnTo>
                    <a:pt x="137" y="31"/>
                  </a:lnTo>
                  <a:lnTo>
                    <a:pt x="133" y="33"/>
                  </a:lnTo>
                  <a:lnTo>
                    <a:pt x="126" y="35"/>
                  </a:lnTo>
                  <a:lnTo>
                    <a:pt x="114" y="38"/>
                  </a:lnTo>
                  <a:lnTo>
                    <a:pt x="114" y="48"/>
                  </a:lnTo>
                  <a:lnTo>
                    <a:pt x="113" y="61"/>
                  </a:lnTo>
                  <a:lnTo>
                    <a:pt x="111" y="70"/>
                  </a:lnTo>
                  <a:lnTo>
                    <a:pt x="105" y="81"/>
                  </a:lnTo>
                  <a:lnTo>
                    <a:pt x="96" y="92"/>
                  </a:lnTo>
                  <a:lnTo>
                    <a:pt x="85" y="103"/>
                  </a:lnTo>
                  <a:lnTo>
                    <a:pt x="72" y="112"/>
                  </a:lnTo>
                  <a:lnTo>
                    <a:pt x="59" y="123"/>
                  </a:lnTo>
                  <a:lnTo>
                    <a:pt x="48" y="144"/>
                  </a:lnTo>
                  <a:lnTo>
                    <a:pt x="39" y="157"/>
                  </a:lnTo>
                  <a:lnTo>
                    <a:pt x="35" y="162"/>
                  </a:lnTo>
                  <a:lnTo>
                    <a:pt x="31" y="168"/>
                  </a:lnTo>
                  <a:lnTo>
                    <a:pt x="31" y="173"/>
                  </a:lnTo>
                  <a:lnTo>
                    <a:pt x="31" y="179"/>
                  </a:lnTo>
                  <a:lnTo>
                    <a:pt x="31" y="184"/>
                  </a:lnTo>
                  <a:lnTo>
                    <a:pt x="28" y="190"/>
                  </a:lnTo>
                  <a:lnTo>
                    <a:pt x="26" y="194"/>
                  </a:lnTo>
                  <a:lnTo>
                    <a:pt x="20" y="199"/>
                  </a:lnTo>
                  <a:lnTo>
                    <a:pt x="11" y="205"/>
                  </a:lnTo>
                  <a:lnTo>
                    <a:pt x="0" y="210"/>
                  </a:lnTo>
                  <a:lnTo>
                    <a:pt x="5" y="221"/>
                  </a:lnTo>
                  <a:lnTo>
                    <a:pt x="9" y="234"/>
                  </a:lnTo>
                  <a:lnTo>
                    <a:pt x="13" y="240"/>
                  </a:lnTo>
                  <a:lnTo>
                    <a:pt x="18" y="245"/>
                  </a:lnTo>
                  <a:lnTo>
                    <a:pt x="26" y="251"/>
                  </a:lnTo>
                  <a:lnTo>
                    <a:pt x="37" y="256"/>
                  </a:lnTo>
                  <a:lnTo>
                    <a:pt x="42" y="264"/>
                  </a:lnTo>
                  <a:lnTo>
                    <a:pt x="54" y="279"/>
                  </a:lnTo>
                  <a:lnTo>
                    <a:pt x="59" y="284"/>
                  </a:lnTo>
                  <a:lnTo>
                    <a:pt x="63" y="291"/>
                  </a:lnTo>
                  <a:lnTo>
                    <a:pt x="66" y="301"/>
                  </a:lnTo>
                  <a:lnTo>
                    <a:pt x="70" y="312"/>
                  </a:lnTo>
                  <a:lnTo>
                    <a:pt x="74" y="332"/>
                  </a:lnTo>
                  <a:lnTo>
                    <a:pt x="76" y="347"/>
                  </a:lnTo>
                  <a:lnTo>
                    <a:pt x="65" y="358"/>
                  </a:lnTo>
                  <a:lnTo>
                    <a:pt x="55" y="369"/>
                  </a:lnTo>
                  <a:lnTo>
                    <a:pt x="57" y="375"/>
                  </a:lnTo>
                  <a:lnTo>
                    <a:pt x="59" y="382"/>
                  </a:lnTo>
                  <a:lnTo>
                    <a:pt x="57" y="395"/>
                  </a:lnTo>
                  <a:lnTo>
                    <a:pt x="55" y="408"/>
                  </a:lnTo>
                  <a:lnTo>
                    <a:pt x="59" y="421"/>
                  </a:lnTo>
                  <a:lnTo>
                    <a:pt x="63" y="432"/>
                  </a:lnTo>
                  <a:lnTo>
                    <a:pt x="54" y="454"/>
                  </a:lnTo>
                  <a:lnTo>
                    <a:pt x="44" y="476"/>
                  </a:lnTo>
                  <a:lnTo>
                    <a:pt x="59" y="491"/>
                  </a:lnTo>
                  <a:lnTo>
                    <a:pt x="74" y="506"/>
                  </a:lnTo>
                  <a:lnTo>
                    <a:pt x="76" y="515"/>
                  </a:lnTo>
                  <a:lnTo>
                    <a:pt x="76" y="524"/>
                  </a:lnTo>
                  <a:lnTo>
                    <a:pt x="74" y="534"/>
                  </a:lnTo>
                  <a:lnTo>
                    <a:pt x="72" y="543"/>
                  </a:lnTo>
                  <a:lnTo>
                    <a:pt x="70" y="554"/>
                  </a:lnTo>
                  <a:lnTo>
                    <a:pt x="72" y="563"/>
                  </a:lnTo>
                  <a:lnTo>
                    <a:pt x="74" y="574"/>
                  </a:lnTo>
                  <a:lnTo>
                    <a:pt x="79" y="587"/>
                  </a:lnTo>
                  <a:lnTo>
                    <a:pt x="89" y="593"/>
                  </a:lnTo>
                  <a:lnTo>
                    <a:pt x="98" y="595"/>
                  </a:lnTo>
                  <a:lnTo>
                    <a:pt x="107" y="596"/>
                  </a:lnTo>
                  <a:lnTo>
                    <a:pt x="116" y="595"/>
                  </a:lnTo>
                  <a:lnTo>
                    <a:pt x="135" y="591"/>
                  </a:lnTo>
                  <a:lnTo>
                    <a:pt x="155" y="587"/>
                  </a:lnTo>
                  <a:lnTo>
                    <a:pt x="168" y="585"/>
                  </a:lnTo>
                  <a:lnTo>
                    <a:pt x="183" y="585"/>
                  </a:lnTo>
                  <a:lnTo>
                    <a:pt x="198" y="587"/>
                  </a:lnTo>
                  <a:lnTo>
                    <a:pt x="211" y="585"/>
                  </a:lnTo>
                  <a:lnTo>
                    <a:pt x="238" y="569"/>
                  </a:lnTo>
                  <a:lnTo>
                    <a:pt x="255" y="558"/>
                  </a:lnTo>
                  <a:lnTo>
                    <a:pt x="264" y="572"/>
                  </a:lnTo>
                  <a:lnTo>
                    <a:pt x="271" y="587"/>
                  </a:lnTo>
                  <a:lnTo>
                    <a:pt x="284" y="587"/>
                  </a:lnTo>
                  <a:lnTo>
                    <a:pt x="299" y="583"/>
                  </a:lnTo>
                  <a:lnTo>
                    <a:pt x="308" y="583"/>
                  </a:lnTo>
                  <a:lnTo>
                    <a:pt x="318" y="583"/>
                  </a:lnTo>
                  <a:lnTo>
                    <a:pt x="327" y="587"/>
                  </a:lnTo>
                  <a:lnTo>
                    <a:pt x="336" y="593"/>
                  </a:lnTo>
                  <a:lnTo>
                    <a:pt x="344" y="602"/>
                  </a:lnTo>
                  <a:lnTo>
                    <a:pt x="349" y="613"/>
                  </a:lnTo>
                  <a:lnTo>
                    <a:pt x="353" y="630"/>
                  </a:lnTo>
                  <a:lnTo>
                    <a:pt x="353" y="654"/>
                  </a:lnTo>
                  <a:lnTo>
                    <a:pt x="362" y="667"/>
                  </a:lnTo>
                  <a:lnTo>
                    <a:pt x="369" y="678"/>
                  </a:lnTo>
                  <a:lnTo>
                    <a:pt x="366" y="685"/>
                  </a:lnTo>
                  <a:lnTo>
                    <a:pt x="364" y="698"/>
                  </a:lnTo>
                  <a:lnTo>
                    <a:pt x="371" y="704"/>
                  </a:lnTo>
                  <a:lnTo>
                    <a:pt x="380" y="705"/>
                  </a:lnTo>
                  <a:lnTo>
                    <a:pt x="390" y="707"/>
                  </a:lnTo>
                  <a:lnTo>
                    <a:pt x="395" y="707"/>
                  </a:lnTo>
                  <a:lnTo>
                    <a:pt x="403" y="713"/>
                  </a:lnTo>
                  <a:lnTo>
                    <a:pt x="406" y="716"/>
                  </a:lnTo>
                  <a:lnTo>
                    <a:pt x="410" y="722"/>
                  </a:lnTo>
                  <a:lnTo>
                    <a:pt x="412" y="728"/>
                  </a:lnTo>
                  <a:lnTo>
                    <a:pt x="417" y="733"/>
                  </a:lnTo>
                  <a:lnTo>
                    <a:pt x="423" y="737"/>
                  </a:lnTo>
                  <a:lnTo>
                    <a:pt x="432" y="742"/>
                  </a:lnTo>
                  <a:lnTo>
                    <a:pt x="447" y="74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6" name="Freeform 42"/>
            <p:cNvSpPr>
              <a:spLocks/>
            </p:cNvSpPr>
            <p:nvPr/>
          </p:nvSpPr>
          <p:spPr bwMode="auto">
            <a:xfrm>
              <a:off x="4420764" y="2462490"/>
              <a:ext cx="259331" cy="189821"/>
            </a:xfrm>
            <a:custGeom>
              <a:avLst/>
              <a:gdLst>
                <a:gd name="T0" fmla="*/ 133 w 497"/>
                <a:gd name="T1" fmla="*/ 340 h 373"/>
                <a:gd name="T2" fmla="*/ 152 w 497"/>
                <a:gd name="T3" fmla="*/ 358 h 373"/>
                <a:gd name="T4" fmla="*/ 170 w 497"/>
                <a:gd name="T5" fmla="*/ 371 h 373"/>
                <a:gd name="T6" fmla="*/ 201 w 497"/>
                <a:gd name="T7" fmla="*/ 362 h 373"/>
                <a:gd name="T8" fmla="*/ 211 w 497"/>
                <a:gd name="T9" fmla="*/ 325 h 373"/>
                <a:gd name="T10" fmla="*/ 224 w 497"/>
                <a:gd name="T11" fmla="*/ 319 h 373"/>
                <a:gd name="T12" fmla="*/ 225 w 497"/>
                <a:gd name="T13" fmla="*/ 312 h 373"/>
                <a:gd name="T14" fmla="*/ 240 w 497"/>
                <a:gd name="T15" fmla="*/ 303 h 373"/>
                <a:gd name="T16" fmla="*/ 251 w 497"/>
                <a:gd name="T17" fmla="*/ 288 h 373"/>
                <a:gd name="T18" fmla="*/ 261 w 497"/>
                <a:gd name="T19" fmla="*/ 282 h 373"/>
                <a:gd name="T20" fmla="*/ 277 w 497"/>
                <a:gd name="T21" fmla="*/ 282 h 373"/>
                <a:gd name="T22" fmla="*/ 285 w 497"/>
                <a:gd name="T23" fmla="*/ 275 h 373"/>
                <a:gd name="T24" fmla="*/ 286 w 497"/>
                <a:gd name="T25" fmla="*/ 247 h 373"/>
                <a:gd name="T26" fmla="*/ 273 w 497"/>
                <a:gd name="T27" fmla="*/ 188 h 373"/>
                <a:gd name="T28" fmla="*/ 290 w 497"/>
                <a:gd name="T29" fmla="*/ 147 h 373"/>
                <a:gd name="T30" fmla="*/ 309 w 497"/>
                <a:gd name="T31" fmla="*/ 133 h 373"/>
                <a:gd name="T32" fmla="*/ 321 w 497"/>
                <a:gd name="T33" fmla="*/ 134 h 373"/>
                <a:gd name="T34" fmla="*/ 323 w 497"/>
                <a:gd name="T35" fmla="*/ 177 h 373"/>
                <a:gd name="T36" fmla="*/ 375 w 497"/>
                <a:gd name="T37" fmla="*/ 201 h 373"/>
                <a:gd name="T38" fmla="*/ 419 w 497"/>
                <a:gd name="T39" fmla="*/ 201 h 373"/>
                <a:gd name="T40" fmla="*/ 467 w 497"/>
                <a:gd name="T41" fmla="*/ 203 h 373"/>
                <a:gd name="T42" fmla="*/ 497 w 497"/>
                <a:gd name="T43" fmla="*/ 188 h 373"/>
                <a:gd name="T44" fmla="*/ 473 w 497"/>
                <a:gd name="T45" fmla="*/ 179 h 373"/>
                <a:gd name="T46" fmla="*/ 460 w 497"/>
                <a:gd name="T47" fmla="*/ 164 h 373"/>
                <a:gd name="T48" fmla="*/ 445 w 497"/>
                <a:gd name="T49" fmla="*/ 149 h 373"/>
                <a:gd name="T50" fmla="*/ 421 w 497"/>
                <a:gd name="T51" fmla="*/ 146 h 373"/>
                <a:gd name="T52" fmla="*/ 419 w 497"/>
                <a:gd name="T53" fmla="*/ 120 h 373"/>
                <a:gd name="T54" fmla="*/ 403 w 497"/>
                <a:gd name="T55" fmla="*/ 72 h 373"/>
                <a:gd name="T56" fmla="*/ 386 w 497"/>
                <a:gd name="T57" fmla="*/ 35 h 373"/>
                <a:gd name="T58" fmla="*/ 358 w 497"/>
                <a:gd name="T59" fmla="*/ 25 h 373"/>
                <a:gd name="T60" fmla="*/ 321 w 497"/>
                <a:gd name="T61" fmla="*/ 29 h 373"/>
                <a:gd name="T62" fmla="*/ 288 w 497"/>
                <a:gd name="T63" fmla="*/ 11 h 373"/>
                <a:gd name="T64" fmla="*/ 233 w 497"/>
                <a:gd name="T65" fmla="*/ 27 h 373"/>
                <a:gd name="T66" fmla="*/ 185 w 497"/>
                <a:gd name="T67" fmla="*/ 33 h 373"/>
                <a:gd name="T68" fmla="*/ 148 w 497"/>
                <a:gd name="T69" fmla="*/ 37 h 373"/>
                <a:gd name="T70" fmla="*/ 129 w 497"/>
                <a:gd name="T71" fmla="*/ 29 h 373"/>
                <a:gd name="T72" fmla="*/ 120 w 497"/>
                <a:gd name="T73" fmla="*/ 42 h 373"/>
                <a:gd name="T74" fmla="*/ 118 w 497"/>
                <a:gd name="T75" fmla="*/ 64 h 373"/>
                <a:gd name="T76" fmla="*/ 116 w 497"/>
                <a:gd name="T77" fmla="*/ 72 h 373"/>
                <a:gd name="T78" fmla="*/ 74 w 497"/>
                <a:gd name="T79" fmla="*/ 81 h 373"/>
                <a:gd name="T80" fmla="*/ 50 w 497"/>
                <a:gd name="T81" fmla="*/ 75 h 373"/>
                <a:gd name="T82" fmla="*/ 31 w 497"/>
                <a:gd name="T83" fmla="*/ 107 h 373"/>
                <a:gd name="T84" fmla="*/ 7 w 497"/>
                <a:gd name="T85" fmla="*/ 146 h 373"/>
                <a:gd name="T86" fmla="*/ 0 w 497"/>
                <a:gd name="T87" fmla="*/ 162 h 373"/>
                <a:gd name="T88" fmla="*/ 7 w 497"/>
                <a:gd name="T89" fmla="*/ 181 h 373"/>
                <a:gd name="T90" fmla="*/ 35 w 497"/>
                <a:gd name="T91" fmla="*/ 212 h 373"/>
                <a:gd name="T92" fmla="*/ 61 w 497"/>
                <a:gd name="T93" fmla="*/ 236 h 373"/>
                <a:gd name="T94" fmla="*/ 91 w 497"/>
                <a:gd name="T95" fmla="*/ 280 h 373"/>
                <a:gd name="T96" fmla="*/ 115 w 497"/>
                <a:gd name="T97" fmla="*/ 310 h 373"/>
                <a:gd name="T98" fmla="*/ 116 w 497"/>
                <a:gd name="T99" fmla="*/ 319 h 373"/>
                <a:gd name="T100" fmla="*/ 115 w 497"/>
                <a:gd name="T101" fmla="*/ 336 h 3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97"/>
                <a:gd name="T154" fmla="*/ 0 h 373"/>
                <a:gd name="T155" fmla="*/ 497 w 497"/>
                <a:gd name="T156" fmla="*/ 373 h 3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97" h="373">
                  <a:moveTo>
                    <a:pt x="115" y="336"/>
                  </a:moveTo>
                  <a:lnTo>
                    <a:pt x="124" y="338"/>
                  </a:lnTo>
                  <a:lnTo>
                    <a:pt x="133" y="340"/>
                  </a:lnTo>
                  <a:lnTo>
                    <a:pt x="140" y="345"/>
                  </a:lnTo>
                  <a:lnTo>
                    <a:pt x="146" y="349"/>
                  </a:lnTo>
                  <a:lnTo>
                    <a:pt x="152" y="358"/>
                  </a:lnTo>
                  <a:lnTo>
                    <a:pt x="157" y="364"/>
                  </a:lnTo>
                  <a:lnTo>
                    <a:pt x="164" y="367"/>
                  </a:lnTo>
                  <a:lnTo>
                    <a:pt x="170" y="371"/>
                  </a:lnTo>
                  <a:lnTo>
                    <a:pt x="183" y="373"/>
                  </a:lnTo>
                  <a:lnTo>
                    <a:pt x="198" y="371"/>
                  </a:lnTo>
                  <a:lnTo>
                    <a:pt x="201" y="362"/>
                  </a:lnTo>
                  <a:lnTo>
                    <a:pt x="205" y="353"/>
                  </a:lnTo>
                  <a:lnTo>
                    <a:pt x="207" y="340"/>
                  </a:lnTo>
                  <a:lnTo>
                    <a:pt x="211" y="325"/>
                  </a:lnTo>
                  <a:lnTo>
                    <a:pt x="216" y="323"/>
                  </a:lnTo>
                  <a:lnTo>
                    <a:pt x="222" y="319"/>
                  </a:lnTo>
                  <a:lnTo>
                    <a:pt x="224" y="319"/>
                  </a:lnTo>
                  <a:lnTo>
                    <a:pt x="225" y="317"/>
                  </a:lnTo>
                  <a:lnTo>
                    <a:pt x="227" y="314"/>
                  </a:lnTo>
                  <a:lnTo>
                    <a:pt x="225" y="312"/>
                  </a:lnTo>
                  <a:lnTo>
                    <a:pt x="233" y="314"/>
                  </a:lnTo>
                  <a:lnTo>
                    <a:pt x="240" y="314"/>
                  </a:lnTo>
                  <a:lnTo>
                    <a:pt x="240" y="303"/>
                  </a:lnTo>
                  <a:lnTo>
                    <a:pt x="242" y="292"/>
                  </a:lnTo>
                  <a:lnTo>
                    <a:pt x="246" y="290"/>
                  </a:lnTo>
                  <a:lnTo>
                    <a:pt x="251" y="288"/>
                  </a:lnTo>
                  <a:lnTo>
                    <a:pt x="255" y="284"/>
                  </a:lnTo>
                  <a:lnTo>
                    <a:pt x="255" y="277"/>
                  </a:lnTo>
                  <a:lnTo>
                    <a:pt x="261" y="282"/>
                  </a:lnTo>
                  <a:lnTo>
                    <a:pt x="266" y="284"/>
                  </a:lnTo>
                  <a:lnTo>
                    <a:pt x="272" y="284"/>
                  </a:lnTo>
                  <a:lnTo>
                    <a:pt x="277" y="282"/>
                  </a:lnTo>
                  <a:lnTo>
                    <a:pt x="279" y="280"/>
                  </a:lnTo>
                  <a:lnTo>
                    <a:pt x="283" y="279"/>
                  </a:lnTo>
                  <a:lnTo>
                    <a:pt x="285" y="275"/>
                  </a:lnTo>
                  <a:lnTo>
                    <a:pt x="286" y="269"/>
                  </a:lnTo>
                  <a:lnTo>
                    <a:pt x="286" y="260"/>
                  </a:lnTo>
                  <a:lnTo>
                    <a:pt x="286" y="247"/>
                  </a:lnTo>
                  <a:lnTo>
                    <a:pt x="281" y="231"/>
                  </a:lnTo>
                  <a:lnTo>
                    <a:pt x="275" y="210"/>
                  </a:lnTo>
                  <a:lnTo>
                    <a:pt x="273" y="188"/>
                  </a:lnTo>
                  <a:lnTo>
                    <a:pt x="275" y="168"/>
                  </a:lnTo>
                  <a:lnTo>
                    <a:pt x="283" y="157"/>
                  </a:lnTo>
                  <a:lnTo>
                    <a:pt x="290" y="147"/>
                  </a:lnTo>
                  <a:lnTo>
                    <a:pt x="296" y="140"/>
                  </a:lnTo>
                  <a:lnTo>
                    <a:pt x="303" y="136"/>
                  </a:lnTo>
                  <a:lnTo>
                    <a:pt x="309" y="133"/>
                  </a:lnTo>
                  <a:lnTo>
                    <a:pt x="314" y="131"/>
                  </a:lnTo>
                  <a:lnTo>
                    <a:pt x="318" y="133"/>
                  </a:lnTo>
                  <a:lnTo>
                    <a:pt x="321" y="134"/>
                  </a:lnTo>
                  <a:lnTo>
                    <a:pt x="314" y="155"/>
                  </a:lnTo>
                  <a:lnTo>
                    <a:pt x="309" y="175"/>
                  </a:lnTo>
                  <a:lnTo>
                    <a:pt x="323" y="177"/>
                  </a:lnTo>
                  <a:lnTo>
                    <a:pt x="338" y="177"/>
                  </a:lnTo>
                  <a:lnTo>
                    <a:pt x="357" y="190"/>
                  </a:lnTo>
                  <a:lnTo>
                    <a:pt x="375" y="201"/>
                  </a:lnTo>
                  <a:lnTo>
                    <a:pt x="390" y="197"/>
                  </a:lnTo>
                  <a:lnTo>
                    <a:pt x="405" y="192"/>
                  </a:lnTo>
                  <a:lnTo>
                    <a:pt x="419" y="201"/>
                  </a:lnTo>
                  <a:lnTo>
                    <a:pt x="438" y="210"/>
                  </a:lnTo>
                  <a:lnTo>
                    <a:pt x="453" y="208"/>
                  </a:lnTo>
                  <a:lnTo>
                    <a:pt x="467" y="203"/>
                  </a:lnTo>
                  <a:lnTo>
                    <a:pt x="482" y="197"/>
                  </a:lnTo>
                  <a:lnTo>
                    <a:pt x="497" y="188"/>
                  </a:lnTo>
                  <a:lnTo>
                    <a:pt x="482" y="184"/>
                  </a:lnTo>
                  <a:lnTo>
                    <a:pt x="473" y="179"/>
                  </a:lnTo>
                  <a:lnTo>
                    <a:pt x="467" y="175"/>
                  </a:lnTo>
                  <a:lnTo>
                    <a:pt x="462" y="170"/>
                  </a:lnTo>
                  <a:lnTo>
                    <a:pt x="460" y="164"/>
                  </a:lnTo>
                  <a:lnTo>
                    <a:pt x="456" y="158"/>
                  </a:lnTo>
                  <a:lnTo>
                    <a:pt x="453" y="155"/>
                  </a:lnTo>
                  <a:lnTo>
                    <a:pt x="445" y="149"/>
                  </a:lnTo>
                  <a:lnTo>
                    <a:pt x="440" y="149"/>
                  </a:lnTo>
                  <a:lnTo>
                    <a:pt x="430" y="147"/>
                  </a:lnTo>
                  <a:lnTo>
                    <a:pt x="421" y="146"/>
                  </a:lnTo>
                  <a:lnTo>
                    <a:pt x="414" y="140"/>
                  </a:lnTo>
                  <a:lnTo>
                    <a:pt x="416" y="127"/>
                  </a:lnTo>
                  <a:lnTo>
                    <a:pt x="419" y="120"/>
                  </a:lnTo>
                  <a:lnTo>
                    <a:pt x="412" y="109"/>
                  </a:lnTo>
                  <a:lnTo>
                    <a:pt x="403" y="96"/>
                  </a:lnTo>
                  <a:lnTo>
                    <a:pt x="403" y="72"/>
                  </a:lnTo>
                  <a:lnTo>
                    <a:pt x="399" y="55"/>
                  </a:lnTo>
                  <a:lnTo>
                    <a:pt x="394" y="44"/>
                  </a:lnTo>
                  <a:lnTo>
                    <a:pt x="386" y="35"/>
                  </a:lnTo>
                  <a:lnTo>
                    <a:pt x="377" y="29"/>
                  </a:lnTo>
                  <a:lnTo>
                    <a:pt x="368" y="25"/>
                  </a:lnTo>
                  <a:lnTo>
                    <a:pt x="358" y="25"/>
                  </a:lnTo>
                  <a:lnTo>
                    <a:pt x="349" y="25"/>
                  </a:lnTo>
                  <a:lnTo>
                    <a:pt x="334" y="29"/>
                  </a:lnTo>
                  <a:lnTo>
                    <a:pt x="321" y="29"/>
                  </a:lnTo>
                  <a:lnTo>
                    <a:pt x="314" y="14"/>
                  </a:lnTo>
                  <a:lnTo>
                    <a:pt x="305" y="0"/>
                  </a:lnTo>
                  <a:lnTo>
                    <a:pt x="288" y="11"/>
                  </a:lnTo>
                  <a:lnTo>
                    <a:pt x="261" y="27"/>
                  </a:lnTo>
                  <a:lnTo>
                    <a:pt x="248" y="29"/>
                  </a:lnTo>
                  <a:lnTo>
                    <a:pt x="233" y="27"/>
                  </a:lnTo>
                  <a:lnTo>
                    <a:pt x="218" y="27"/>
                  </a:lnTo>
                  <a:lnTo>
                    <a:pt x="205" y="29"/>
                  </a:lnTo>
                  <a:lnTo>
                    <a:pt x="185" y="33"/>
                  </a:lnTo>
                  <a:lnTo>
                    <a:pt x="166" y="37"/>
                  </a:lnTo>
                  <a:lnTo>
                    <a:pt x="157" y="38"/>
                  </a:lnTo>
                  <a:lnTo>
                    <a:pt x="148" y="37"/>
                  </a:lnTo>
                  <a:lnTo>
                    <a:pt x="139" y="35"/>
                  </a:lnTo>
                  <a:lnTo>
                    <a:pt x="129" y="29"/>
                  </a:lnTo>
                  <a:lnTo>
                    <a:pt x="124" y="35"/>
                  </a:lnTo>
                  <a:lnTo>
                    <a:pt x="120" y="42"/>
                  </a:lnTo>
                  <a:lnTo>
                    <a:pt x="118" y="51"/>
                  </a:lnTo>
                  <a:lnTo>
                    <a:pt x="118" y="61"/>
                  </a:lnTo>
                  <a:lnTo>
                    <a:pt x="118" y="64"/>
                  </a:lnTo>
                  <a:lnTo>
                    <a:pt x="118" y="68"/>
                  </a:lnTo>
                  <a:lnTo>
                    <a:pt x="118" y="72"/>
                  </a:lnTo>
                  <a:lnTo>
                    <a:pt x="116" y="72"/>
                  </a:lnTo>
                  <a:lnTo>
                    <a:pt x="100" y="77"/>
                  </a:lnTo>
                  <a:lnTo>
                    <a:pt x="83" y="83"/>
                  </a:lnTo>
                  <a:lnTo>
                    <a:pt x="74" y="81"/>
                  </a:lnTo>
                  <a:lnTo>
                    <a:pt x="63" y="75"/>
                  </a:lnTo>
                  <a:lnTo>
                    <a:pt x="57" y="75"/>
                  </a:lnTo>
                  <a:lnTo>
                    <a:pt x="50" y="75"/>
                  </a:lnTo>
                  <a:lnTo>
                    <a:pt x="43" y="79"/>
                  </a:lnTo>
                  <a:lnTo>
                    <a:pt x="35" y="86"/>
                  </a:lnTo>
                  <a:lnTo>
                    <a:pt x="31" y="107"/>
                  </a:lnTo>
                  <a:lnTo>
                    <a:pt x="26" y="125"/>
                  </a:lnTo>
                  <a:lnTo>
                    <a:pt x="17" y="136"/>
                  </a:lnTo>
                  <a:lnTo>
                    <a:pt x="7" y="146"/>
                  </a:lnTo>
                  <a:lnTo>
                    <a:pt x="4" y="151"/>
                  </a:lnTo>
                  <a:lnTo>
                    <a:pt x="2" y="157"/>
                  </a:lnTo>
                  <a:lnTo>
                    <a:pt x="0" y="162"/>
                  </a:lnTo>
                  <a:lnTo>
                    <a:pt x="0" y="166"/>
                  </a:lnTo>
                  <a:lnTo>
                    <a:pt x="2" y="173"/>
                  </a:lnTo>
                  <a:lnTo>
                    <a:pt x="7" y="181"/>
                  </a:lnTo>
                  <a:lnTo>
                    <a:pt x="15" y="190"/>
                  </a:lnTo>
                  <a:lnTo>
                    <a:pt x="26" y="201"/>
                  </a:lnTo>
                  <a:lnTo>
                    <a:pt x="35" y="212"/>
                  </a:lnTo>
                  <a:lnTo>
                    <a:pt x="44" y="225"/>
                  </a:lnTo>
                  <a:lnTo>
                    <a:pt x="52" y="231"/>
                  </a:lnTo>
                  <a:lnTo>
                    <a:pt x="61" y="236"/>
                  </a:lnTo>
                  <a:lnTo>
                    <a:pt x="68" y="253"/>
                  </a:lnTo>
                  <a:lnTo>
                    <a:pt x="76" y="271"/>
                  </a:lnTo>
                  <a:lnTo>
                    <a:pt x="91" y="280"/>
                  </a:lnTo>
                  <a:lnTo>
                    <a:pt x="104" y="288"/>
                  </a:lnTo>
                  <a:lnTo>
                    <a:pt x="109" y="303"/>
                  </a:lnTo>
                  <a:lnTo>
                    <a:pt x="115" y="310"/>
                  </a:lnTo>
                  <a:lnTo>
                    <a:pt x="116" y="312"/>
                  </a:lnTo>
                  <a:lnTo>
                    <a:pt x="116" y="316"/>
                  </a:lnTo>
                  <a:lnTo>
                    <a:pt x="116" y="319"/>
                  </a:lnTo>
                  <a:lnTo>
                    <a:pt x="116" y="323"/>
                  </a:lnTo>
                  <a:lnTo>
                    <a:pt x="116" y="330"/>
                  </a:lnTo>
                  <a:lnTo>
                    <a:pt x="115" y="33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7" name="Freeform 43"/>
            <p:cNvSpPr>
              <a:spLocks/>
            </p:cNvSpPr>
            <p:nvPr/>
          </p:nvSpPr>
          <p:spPr bwMode="auto">
            <a:xfrm>
              <a:off x="4512600" y="2529157"/>
              <a:ext cx="167495" cy="228497"/>
            </a:xfrm>
            <a:custGeom>
              <a:avLst/>
              <a:gdLst>
                <a:gd name="T0" fmla="*/ 22 w 321"/>
                <a:gd name="T1" fmla="*/ 240 h 449"/>
                <a:gd name="T2" fmla="*/ 18 w 321"/>
                <a:gd name="T3" fmla="*/ 270 h 449"/>
                <a:gd name="T4" fmla="*/ 20 w 321"/>
                <a:gd name="T5" fmla="*/ 294 h 449"/>
                <a:gd name="T6" fmla="*/ 0 w 321"/>
                <a:gd name="T7" fmla="*/ 334 h 449"/>
                <a:gd name="T8" fmla="*/ 9 w 321"/>
                <a:gd name="T9" fmla="*/ 343 h 449"/>
                <a:gd name="T10" fmla="*/ 35 w 321"/>
                <a:gd name="T11" fmla="*/ 349 h 449"/>
                <a:gd name="T12" fmla="*/ 42 w 321"/>
                <a:gd name="T13" fmla="*/ 351 h 449"/>
                <a:gd name="T14" fmla="*/ 51 w 321"/>
                <a:gd name="T15" fmla="*/ 343 h 449"/>
                <a:gd name="T16" fmla="*/ 53 w 321"/>
                <a:gd name="T17" fmla="*/ 360 h 449"/>
                <a:gd name="T18" fmla="*/ 49 w 321"/>
                <a:gd name="T19" fmla="*/ 377 h 449"/>
                <a:gd name="T20" fmla="*/ 61 w 321"/>
                <a:gd name="T21" fmla="*/ 379 h 449"/>
                <a:gd name="T22" fmla="*/ 77 w 321"/>
                <a:gd name="T23" fmla="*/ 384 h 449"/>
                <a:gd name="T24" fmla="*/ 94 w 321"/>
                <a:gd name="T25" fmla="*/ 395 h 449"/>
                <a:gd name="T26" fmla="*/ 101 w 321"/>
                <a:gd name="T27" fmla="*/ 393 h 449"/>
                <a:gd name="T28" fmla="*/ 107 w 321"/>
                <a:gd name="T29" fmla="*/ 399 h 449"/>
                <a:gd name="T30" fmla="*/ 96 w 321"/>
                <a:gd name="T31" fmla="*/ 408 h 449"/>
                <a:gd name="T32" fmla="*/ 81 w 321"/>
                <a:gd name="T33" fmla="*/ 417 h 449"/>
                <a:gd name="T34" fmla="*/ 83 w 321"/>
                <a:gd name="T35" fmla="*/ 432 h 449"/>
                <a:gd name="T36" fmla="*/ 94 w 321"/>
                <a:gd name="T37" fmla="*/ 430 h 449"/>
                <a:gd name="T38" fmla="*/ 109 w 321"/>
                <a:gd name="T39" fmla="*/ 432 h 449"/>
                <a:gd name="T40" fmla="*/ 114 w 321"/>
                <a:gd name="T41" fmla="*/ 443 h 449"/>
                <a:gd name="T42" fmla="*/ 127 w 321"/>
                <a:gd name="T43" fmla="*/ 441 h 449"/>
                <a:gd name="T44" fmla="*/ 147 w 321"/>
                <a:gd name="T45" fmla="*/ 441 h 449"/>
                <a:gd name="T46" fmla="*/ 173 w 321"/>
                <a:gd name="T47" fmla="*/ 443 h 449"/>
                <a:gd name="T48" fmla="*/ 206 w 321"/>
                <a:gd name="T49" fmla="*/ 423 h 449"/>
                <a:gd name="T50" fmla="*/ 206 w 321"/>
                <a:gd name="T51" fmla="*/ 390 h 449"/>
                <a:gd name="T52" fmla="*/ 219 w 321"/>
                <a:gd name="T53" fmla="*/ 379 h 449"/>
                <a:gd name="T54" fmla="*/ 219 w 321"/>
                <a:gd name="T55" fmla="*/ 355 h 449"/>
                <a:gd name="T56" fmla="*/ 206 w 321"/>
                <a:gd name="T57" fmla="*/ 321 h 449"/>
                <a:gd name="T58" fmla="*/ 218 w 321"/>
                <a:gd name="T59" fmla="*/ 299 h 449"/>
                <a:gd name="T60" fmla="*/ 230 w 321"/>
                <a:gd name="T61" fmla="*/ 286 h 449"/>
                <a:gd name="T62" fmla="*/ 256 w 321"/>
                <a:gd name="T63" fmla="*/ 266 h 449"/>
                <a:gd name="T64" fmla="*/ 277 w 321"/>
                <a:gd name="T65" fmla="*/ 273 h 449"/>
                <a:gd name="T66" fmla="*/ 290 w 321"/>
                <a:gd name="T67" fmla="*/ 264 h 449"/>
                <a:gd name="T68" fmla="*/ 288 w 321"/>
                <a:gd name="T69" fmla="*/ 251 h 449"/>
                <a:gd name="T70" fmla="*/ 297 w 321"/>
                <a:gd name="T71" fmla="*/ 233 h 449"/>
                <a:gd name="T72" fmla="*/ 306 w 321"/>
                <a:gd name="T73" fmla="*/ 194 h 449"/>
                <a:gd name="T74" fmla="*/ 297 w 321"/>
                <a:gd name="T75" fmla="*/ 161 h 449"/>
                <a:gd name="T76" fmla="*/ 303 w 321"/>
                <a:gd name="T77" fmla="*/ 137 h 449"/>
                <a:gd name="T78" fmla="*/ 310 w 321"/>
                <a:gd name="T79" fmla="*/ 129 h 449"/>
                <a:gd name="T80" fmla="*/ 306 w 321"/>
                <a:gd name="T81" fmla="*/ 111 h 449"/>
                <a:gd name="T82" fmla="*/ 321 w 321"/>
                <a:gd name="T83" fmla="*/ 57 h 449"/>
                <a:gd name="T84" fmla="*/ 306 w 321"/>
                <a:gd name="T85" fmla="*/ 66 h 449"/>
                <a:gd name="T86" fmla="*/ 262 w 321"/>
                <a:gd name="T87" fmla="*/ 79 h 449"/>
                <a:gd name="T88" fmla="*/ 214 w 321"/>
                <a:gd name="T89" fmla="*/ 66 h 449"/>
                <a:gd name="T90" fmla="*/ 162 w 321"/>
                <a:gd name="T91" fmla="*/ 46 h 449"/>
                <a:gd name="T92" fmla="*/ 138 w 321"/>
                <a:gd name="T93" fmla="*/ 24 h 449"/>
                <a:gd name="T94" fmla="*/ 138 w 321"/>
                <a:gd name="T95" fmla="*/ 0 h 449"/>
                <a:gd name="T96" fmla="*/ 120 w 321"/>
                <a:gd name="T97" fmla="*/ 9 h 449"/>
                <a:gd name="T98" fmla="*/ 99 w 321"/>
                <a:gd name="T99" fmla="*/ 37 h 449"/>
                <a:gd name="T100" fmla="*/ 105 w 321"/>
                <a:gd name="T101" fmla="*/ 100 h 449"/>
                <a:gd name="T102" fmla="*/ 110 w 321"/>
                <a:gd name="T103" fmla="*/ 138 h 449"/>
                <a:gd name="T104" fmla="*/ 103 w 321"/>
                <a:gd name="T105" fmla="*/ 149 h 449"/>
                <a:gd name="T106" fmla="*/ 90 w 321"/>
                <a:gd name="T107" fmla="*/ 153 h 449"/>
                <a:gd name="T108" fmla="*/ 79 w 321"/>
                <a:gd name="T109" fmla="*/ 153 h 449"/>
                <a:gd name="T110" fmla="*/ 66 w 321"/>
                <a:gd name="T111" fmla="*/ 161 h 449"/>
                <a:gd name="T112" fmla="*/ 57 w 321"/>
                <a:gd name="T113" fmla="*/ 183 h 449"/>
                <a:gd name="T114" fmla="*/ 49 w 321"/>
                <a:gd name="T115" fmla="*/ 186 h 449"/>
                <a:gd name="T116" fmla="*/ 40 w 321"/>
                <a:gd name="T117" fmla="*/ 192 h 449"/>
                <a:gd name="T118" fmla="*/ 29 w 321"/>
                <a:gd name="T119" fmla="*/ 222 h 44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21"/>
                <a:gd name="T181" fmla="*/ 0 h 449"/>
                <a:gd name="T182" fmla="*/ 321 w 321"/>
                <a:gd name="T183" fmla="*/ 449 h 44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21" h="449">
                  <a:moveTo>
                    <a:pt x="22" y="240"/>
                  </a:moveTo>
                  <a:lnTo>
                    <a:pt x="22" y="240"/>
                  </a:lnTo>
                  <a:lnTo>
                    <a:pt x="22" y="255"/>
                  </a:lnTo>
                  <a:lnTo>
                    <a:pt x="20" y="264"/>
                  </a:lnTo>
                  <a:lnTo>
                    <a:pt x="18" y="270"/>
                  </a:lnTo>
                  <a:lnTo>
                    <a:pt x="18" y="275"/>
                  </a:lnTo>
                  <a:lnTo>
                    <a:pt x="18" y="282"/>
                  </a:lnTo>
                  <a:lnTo>
                    <a:pt x="20" y="294"/>
                  </a:lnTo>
                  <a:lnTo>
                    <a:pt x="12" y="308"/>
                  </a:lnTo>
                  <a:lnTo>
                    <a:pt x="1" y="329"/>
                  </a:lnTo>
                  <a:lnTo>
                    <a:pt x="0" y="334"/>
                  </a:lnTo>
                  <a:lnTo>
                    <a:pt x="1" y="340"/>
                  </a:lnTo>
                  <a:lnTo>
                    <a:pt x="3" y="342"/>
                  </a:lnTo>
                  <a:lnTo>
                    <a:pt x="9" y="343"/>
                  </a:lnTo>
                  <a:lnTo>
                    <a:pt x="18" y="345"/>
                  </a:lnTo>
                  <a:lnTo>
                    <a:pt x="31" y="347"/>
                  </a:lnTo>
                  <a:lnTo>
                    <a:pt x="35" y="349"/>
                  </a:lnTo>
                  <a:lnTo>
                    <a:pt x="38" y="353"/>
                  </a:lnTo>
                  <a:lnTo>
                    <a:pt x="40" y="353"/>
                  </a:lnTo>
                  <a:lnTo>
                    <a:pt x="42" y="351"/>
                  </a:lnTo>
                  <a:lnTo>
                    <a:pt x="44" y="347"/>
                  </a:lnTo>
                  <a:lnTo>
                    <a:pt x="46" y="340"/>
                  </a:lnTo>
                  <a:lnTo>
                    <a:pt x="51" y="343"/>
                  </a:lnTo>
                  <a:lnTo>
                    <a:pt x="55" y="349"/>
                  </a:lnTo>
                  <a:lnTo>
                    <a:pt x="55" y="355"/>
                  </a:lnTo>
                  <a:lnTo>
                    <a:pt x="53" y="360"/>
                  </a:lnTo>
                  <a:lnTo>
                    <a:pt x="51" y="367"/>
                  </a:lnTo>
                  <a:lnTo>
                    <a:pt x="49" y="373"/>
                  </a:lnTo>
                  <a:lnTo>
                    <a:pt x="49" y="377"/>
                  </a:lnTo>
                  <a:lnTo>
                    <a:pt x="51" y="380"/>
                  </a:lnTo>
                  <a:lnTo>
                    <a:pt x="55" y="380"/>
                  </a:lnTo>
                  <a:lnTo>
                    <a:pt x="61" y="379"/>
                  </a:lnTo>
                  <a:lnTo>
                    <a:pt x="66" y="375"/>
                  </a:lnTo>
                  <a:lnTo>
                    <a:pt x="70" y="371"/>
                  </a:lnTo>
                  <a:lnTo>
                    <a:pt x="77" y="384"/>
                  </a:lnTo>
                  <a:lnTo>
                    <a:pt x="86" y="393"/>
                  </a:lnTo>
                  <a:lnTo>
                    <a:pt x="90" y="395"/>
                  </a:lnTo>
                  <a:lnTo>
                    <a:pt x="94" y="395"/>
                  </a:lnTo>
                  <a:lnTo>
                    <a:pt x="97" y="395"/>
                  </a:lnTo>
                  <a:lnTo>
                    <a:pt x="99" y="395"/>
                  </a:lnTo>
                  <a:lnTo>
                    <a:pt x="101" y="393"/>
                  </a:lnTo>
                  <a:lnTo>
                    <a:pt x="105" y="393"/>
                  </a:lnTo>
                  <a:lnTo>
                    <a:pt x="107" y="395"/>
                  </a:lnTo>
                  <a:lnTo>
                    <a:pt x="107" y="399"/>
                  </a:lnTo>
                  <a:lnTo>
                    <a:pt x="107" y="403"/>
                  </a:lnTo>
                  <a:lnTo>
                    <a:pt x="101" y="406"/>
                  </a:lnTo>
                  <a:lnTo>
                    <a:pt x="96" y="408"/>
                  </a:lnTo>
                  <a:lnTo>
                    <a:pt x="90" y="410"/>
                  </a:lnTo>
                  <a:lnTo>
                    <a:pt x="85" y="414"/>
                  </a:lnTo>
                  <a:lnTo>
                    <a:pt x="81" y="417"/>
                  </a:lnTo>
                  <a:lnTo>
                    <a:pt x="79" y="423"/>
                  </a:lnTo>
                  <a:lnTo>
                    <a:pt x="79" y="430"/>
                  </a:lnTo>
                  <a:lnTo>
                    <a:pt x="83" y="432"/>
                  </a:lnTo>
                  <a:lnTo>
                    <a:pt x="86" y="434"/>
                  </a:lnTo>
                  <a:lnTo>
                    <a:pt x="90" y="432"/>
                  </a:lnTo>
                  <a:lnTo>
                    <a:pt x="94" y="430"/>
                  </a:lnTo>
                  <a:lnTo>
                    <a:pt x="101" y="427"/>
                  </a:lnTo>
                  <a:lnTo>
                    <a:pt x="107" y="427"/>
                  </a:lnTo>
                  <a:lnTo>
                    <a:pt x="109" y="432"/>
                  </a:lnTo>
                  <a:lnTo>
                    <a:pt x="110" y="438"/>
                  </a:lnTo>
                  <a:lnTo>
                    <a:pt x="112" y="441"/>
                  </a:lnTo>
                  <a:lnTo>
                    <a:pt x="114" y="443"/>
                  </a:lnTo>
                  <a:lnTo>
                    <a:pt x="118" y="447"/>
                  </a:lnTo>
                  <a:lnTo>
                    <a:pt x="121" y="449"/>
                  </a:lnTo>
                  <a:lnTo>
                    <a:pt x="127" y="441"/>
                  </a:lnTo>
                  <a:lnTo>
                    <a:pt x="133" y="436"/>
                  </a:lnTo>
                  <a:lnTo>
                    <a:pt x="138" y="436"/>
                  </a:lnTo>
                  <a:lnTo>
                    <a:pt x="147" y="441"/>
                  </a:lnTo>
                  <a:lnTo>
                    <a:pt x="153" y="443"/>
                  </a:lnTo>
                  <a:lnTo>
                    <a:pt x="162" y="445"/>
                  </a:lnTo>
                  <a:lnTo>
                    <a:pt x="173" y="443"/>
                  </a:lnTo>
                  <a:lnTo>
                    <a:pt x="188" y="440"/>
                  </a:lnTo>
                  <a:lnTo>
                    <a:pt x="199" y="432"/>
                  </a:lnTo>
                  <a:lnTo>
                    <a:pt x="206" y="423"/>
                  </a:lnTo>
                  <a:lnTo>
                    <a:pt x="205" y="410"/>
                  </a:lnTo>
                  <a:lnTo>
                    <a:pt x="205" y="395"/>
                  </a:lnTo>
                  <a:lnTo>
                    <a:pt x="206" y="390"/>
                  </a:lnTo>
                  <a:lnTo>
                    <a:pt x="208" y="386"/>
                  </a:lnTo>
                  <a:lnTo>
                    <a:pt x="212" y="382"/>
                  </a:lnTo>
                  <a:lnTo>
                    <a:pt x="219" y="379"/>
                  </a:lnTo>
                  <a:lnTo>
                    <a:pt x="221" y="369"/>
                  </a:lnTo>
                  <a:lnTo>
                    <a:pt x="221" y="362"/>
                  </a:lnTo>
                  <a:lnTo>
                    <a:pt x="219" y="355"/>
                  </a:lnTo>
                  <a:lnTo>
                    <a:pt x="218" y="347"/>
                  </a:lnTo>
                  <a:lnTo>
                    <a:pt x="210" y="334"/>
                  </a:lnTo>
                  <a:lnTo>
                    <a:pt x="206" y="321"/>
                  </a:lnTo>
                  <a:lnTo>
                    <a:pt x="212" y="312"/>
                  </a:lnTo>
                  <a:lnTo>
                    <a:pt x="219" y="307"/>
                  </a:lnTo>
                  <a:lnTo>
                    <a:pt x="218" y="299"/>
                  </a:lnTo>
                  <a:lnTo>
                    <a:pt x="216" y="292"/>
                  </a:lnTo>
                  <a:lnTo>
                    <a:pt x="223" y="288"/>
                  </a:lnTo>
                  <a:lnTo>
                    <a:pt x="230" y="286"/>
                  </a:lnTo>
                  <a:lnTo>
                    <a:pt x="238" y="273"/>
                  </a:lnTo>
                  <a:lnTo>
                    <a:pt x="247" y="264"/>
                  </a:lnTo>
                  <a:lnTo>
                    <a:pt x="256" y="266"/>
                  </a:lnTo>
                  <a:lnTo>
                    <a:pt x="266" y="270"/>
                  </a:lnTo>
                  <a:lnTo>
                    <a:pt x="271" y="273"/>
                  </a:lnTo>
                  <a:lnTo>
                    <a:pt x="277" y="273"/>
                  </a:lnTo>
                  <a:lnTo>
                    <a:pt x="282" y="273"/>
                  </a:lnTo>
                  <a:lnTo>
                    <a:pt x="288" y="270"/>
                  </a:lnTo>
                  <a:lnTo>
                    <a:pt x="290" y="264"/>
                  </a:lnTo>
                  <a:lnTo>
                    <a:pt x="291" y="258"/>
                  </a:lnTo>
                  <a:lnTo>
                    <a:pt x="290" y="255"/>
                  </a:lnTo>
                  <a:lnTo>
                    <a:pt x="288" y="251"/>
                  </a:lnTo>
                  <a:lnTo>
                    <a:pt x="286" y="246"/>
                  </a:lnTo>
                  <a:lnTo>
                    <a:pt x="286" y="238"/>
                  </a:lnTo>
                  <a:lnTo>
                    <a:pt x="297" y="233"/>
                  </a:lnTo>
                  <a:lnTo>
                    <a:pt x="308" y="225"/>
                  </a:lnTo>
                  <a:lnTo>
                    <a:pt x="308" y="210"/>
                  </a:lnTo>
                  <a:lnTo>
                    <a:pt x="306" y="194"/>
                  </a:lnTo>
                  <a:lnTo>
                    <a:pt x="301" y="175"/>
                  </a:lnTo>
                  <a:lnTo>
                    <a:pt x="297" y="161"/>
                  </a:lnTo>
                  <a:lnTo>
                    <a:pt x="299" y="149"/>
                  </a:lnTo>
                  <a:lnTo>
                    <a:pt x="301" y="140"/>
                  </a:lnTo>
                  <a:lnTo>
                    <a:pt x="303" y="137"/>
                  </a:lnTo>
                  <a:lnTo>
                    <a:pt x="304" y="133"/>
                  </a:lnTo>
                  <a:lnTo>
                    <a:pt x="308" y="131"/>
                  </a:lnTo>
                  <a:lnTo>
                    <a:pt x="310" y="129"/>
                  </a:lnTo>
                  <a:lnTo>
                    <a:pt x="312" y="127"/>
                  </a:lnTo>
                  <a:lnTo>
                    <a:pt x="312" y="122"/>
                  </a:lnTo>
                  <a:lnTo>
                    <a:pt x="306" y="111"/>
                  </a:lnTo>
                  <a:lnTo>
                    <a:pt x="303" y="101"/>
                  </a:lnTo>
                  <a:lnTo>
                    <a:pt x="312" y="81"/>
                  </a:lnTo>
                  <a:lnTo>
                    <a:pt x="321" y="57"/>
                  </a:lnTo>
                  <a:lnTo>
                    <a:pt x="306" y="66"/>
                  </a:lnTo>
                  <a:lnTo>
                    <a:pt x="291" y="72"/>
                  </a:lnTo>
                  <a:lnTo>
                    <a:pt x="277" y="77"/>
                  </a:lnTo>
                  <a:lnTo>
                    <a:pt x="262" y="79"/>
                  </a:lnTo>
                  <a:lnTo>
                    <a:pt x="243" y="70"/>
                  </a:lnTo>
                  <a:lnTo>
                    <a:pt x="229" y="61"/>
                  </a:lnTo>
                  <a:lnTo>
                    <a:pt x="214" y="66"/>
                  </a:lnTo>
                  <a:lnTo>
                    <a:pt x="199" y="70"/>
                  </a:lnTo>
                  <a:lnTo>
                    <a:pt x="181" y="59"/>
                  </a:lnTo>
                  <a:lnTo>
                    <a:pt x="162" y="46"/>
                  </a:lnTo>
                  <a:lnTo>
                    <a:pt x="147" y="46"/>
                  </a:lnTo>
                  <a:lnTo>
                    <a:pt x="133" y="44"/>
                  </a:lnTo>
                  <a:lnTo>
                    <a:pt x="138" y="24"/>
                  </a:lnTo>
                  <a:lnTo>
                    <a:pt x="145" y="3"/>
                  </a:lnTo>
                  <a:lnTo>
                    <a:pt x="142" y="2"/>
                  </a:lnTo>
                  <a:lnTo>
                    <a:pt x="138" y="0"/>
                  </a:lnTo>
                  <a:lnTo>
                    <a:pt x="133" y="2"/>
                  </a:lnTo>
                  <a:lnTo>
                    <a:pt x="127" y="5"/>
                  </a:lnTo>
                  <a:lnTo>
                    <a:pt x="120" y="9"/>
                  </a:lnTo>
                  <a:lnTo>
                    <a:pt x="114" y="16"/>
                  </a:lnTo>
                  <a:lnTo>
                    <a:pt x="107" y="26"/>
                  </a:lnTo>
                  <a:lnTo>
                    <a:pt x="99" y="37"/>
                  </a:lnTo>
                  <a:lnTo>
                    <a:pt x="97" y="57"/>
                  </a:lnTo>
                  <a:lnTo>
                    <a:pt x="99" y="79"/>
                  </a:lnTo>
                  <a:lnTo>
                    <a:pt x="105" y="100"/>
                  </a:lnTo>
                  <a:lnTo>
                    <a:pt x="110" y="116"/>
                  </a:lnTo>
                  <a:lnTo>
                    <a:pt x="110" y="129"/>
                  </a:lnTo>
                  <a:lnTo>
                    <a:pt x="110" y="138"/>
                  </a:lnTo>
                  <a:lnTo>
                    <a:pt x="109" y="144"/>
                  </a:lnTo>
                  <a:lnTo>
                    <a:pt x="107" y="148"/>
                  </a:lnTo>
                  <a:lnTo>
                    <a:pt x="103" y="149"/>
                  </a:lnTo>
                  <a:lnTo>
                    <a:pt x="101" y="151"/>
                  </a:lnTo>
                  <a:lnTo>
                    <a:pt x="96" y="153"/>
                  </a:lnTo>
                  <a:lnTo>
                    <a:pt x="90" y="153"/>
                  </a:lnTo>
                  <a:lnTo>
                    <a:pt x="85" y="151"/>
                  </a:lnTo>
                  <a:lnTo>
                    <a:pt x="79" y="146"/>
                  </a:lnTo>
                  <a:lnTo>
                    <a:pt x="79" y="153"/>
                  </a:lnTo>
                  <a:lnTo>
                    <a:pt x="75" y="157"/>
                  </a:lnTo>
                  <a:lnTo>
                    <a:pt x="70" y="159"/>
                  </a:lnTo>
                  <a:lnTo>
                    <a:pt x="66" y="161"/>
                  </a:lnTo>
                  <a:lnTo>
                    <a:pt x="64" y="172"/>
                  </a:lnTo>
                  <a:lnTo>
                    <a:pt x="64" y="183"/>
                  </a:lnTo>
                  <a:lnTo>
                    <a:pt x="57" y="183"/>
                  </a:lnTo>
                  <a:lnTo>
                    <a:pt x="49" y="181"/>
                  </a:lnTo>
                  <a:lnTo>
                    <a:pt x="51" y="183"/>
                  </a:lnTo>
                  <a:lnTo>
                    <a:pt x="49" y="186"/>
                  </a:lnTo>
                  <a:lnTo>
                    <a:pt x="48" y="188"/>
                  </a:lnTo>
                  <a:lnTo>
                    <a:pt x="46" y="188"/>
                  </a:lnTo>
                  <a:lnTo>
                    <a:pt x="40" y="192"/>
                  </a:lnTo>
                  <a:lnTo>
                    <a:pt x="35" y="194"/>
                  </a:lnTo>
                  <a:lnTo>
                    <a:pt x="31" y="209"/>
                  </a:lnTo>
                  <a:lnTo>
                    <a:pt x="29" y="222"/>
                  </a:lnTo>
                  <a:lnTo>
                    <a:pt x="25" y="231"/>
                  </a:lnTo>
                  <a:lnTo>
                    <a:pt x="22" y="24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8" name="Freeform 44"/>
            <p:cNvSpPr>
              <a:spLocks/>
            </p:cNvSpPr>
            <p:nvPr/>
          </p:nvSpPr>
          <p:spPr bwMode="auto">
            <a:xfrm>
              <a:off x="4667572" y="2487427"/>
              <a:ext cx="308379" cy="248344"/>
            </a:xfrm>
            <a:custGeom>
              <a:avLst/>
              <a:gdLst>
                <a:gd name="T0" fmla="*/ 345 w 591"/>
                <a:gd name="T1" fmla="*/ 475 h 488"/>
                <a:gd name="T2" fmla="*/ 390 w 591"/>
                <a:gd name="T3" fmla="*/ 466 h 488"/>
                <a:gd name="T4" fmla="*/ 421 w 591"/>
                <a:gd name="T5" fmla="*/ 457 h 488"/>
                <a:gd name="T6" fmla="*/ 454 w 591"/>
                <a:gd name="T7" fmla="*/ 446 h 488"/>
                <a:gd name="T8" fmla="*/ 490 w 591"/>
                <a:gd name="T9" fmla="*/ 446 h 488"/>
                <a:gd name="T10" fmla="*/ 528 w 591"/>
                <a:gd name="T11" fmla="*/ 455 h 488"/>
                <a:gd name="T12" fmla="*/ 550 w 591"/>
                <a:gd name="T13" fmla="*/ 444 h 488"/>
                <a:gd name="T14" fmla="*/ 556 w 591"/>
                <a:gd name="T15" fmla="*/ 414 h 488"/>
                <a:gd name="T16" fmla="*/ 591 w 591"/>
                <a:gd name="T17" fmla="*/ 376 h 488"/>
                <a:gd name="T18" fmla="*/ 582 w 591"/>
                <a:gd name="T19" fmla="*/ 364 h 488"/>
                <a:gd name="T20" fmla="*/ 560 w 591"/>
                <a:gd name="T21" fmla="*/ 357 h 488"/>
                <a:gd name="T22" fmla="*/ 539 w 591"/>
                <a:gd name="T23" fmla="*/ 329 h 488"/>
                <a:gd name="T24" fmla="*/ 545 w 591"/>
                <a:gd name="T25" fmla="*/ 294 h 488"/>
                <a:gd name="T26" fmla="*/ 563 w 591"/>
                <a:gd name="T27" fmla="*/ 274 h 488"/>
                <a:gd name="T28" fmla="*/ 586 w 591"/>
                <a:gd name="T29" fmla="*/ 274 h 488"/>
                <a:gd name="T30" fmla="*/ 586 w 591"/>
                <a:gd name="T31" fmla="*/ 248 h 488"/>
                <a:gd name="T32" fmla="*/ 563 w 591"/>
                <a:gd name="T33" fmla="*/ 246 h 488"/>
                <a:gd name="T34" fmla="*/ 550 w 591"/>
                <a:gd name="T35" fmla="*/ 244 h 488"/>
                <a:gd name="T36" fmla="*/ 543 w 591"/>
                <a:gd name="T37" fmla="*/ 228 h 488"/>
                <a:gd name="T38" fmla="*/ 543 w 591"/>
                <a:gd name="T39" fmla="*/ 207 h 488"/>
                <a:gd name="T40" fmla="*/ 532 w 591"/>
                <a:gd name="T41" fmla="*/ 189 h 488"/>
                <a:gd name="T42" fmla="*/ 497 w 591"/>
                <a:gd name="T43" fmla="*/ 180 h 488"/>
                <a:gd name="T44" fmla="*/ 456 w 591"/>
                <a:gd name="T45" fmla="*/ 178 h 488"/>
                <a:gd name="T46" fmla="*/ 436 w 591"/>
                <a:gd name="T47" fmla="*/ 163 h 488"/>
                <a:gd name="T48" fmla="*/ 438 w 591"/>
                <a:gd name="T49" fmla="*/ 148 h 488"/>
                <a:gd name="T50" fmla="*/ 447 w 591"/>
                <a:gd name="T51" fmla="*/ 135 h 488"/>
                <a:gd name="T52" fmla="*/ 443 w 591"/>
                <a:gd name="T53" fmla="*/ 108 h 488"/>
                <a:gd name="T54" fmla="*/ 412 w 591"/>
                <a:gd name="T55" fmla="*/ 71 h 488"/>
                <a:gd name="T56" fmla="*/ 349 w 591"/>
                <a:gd name="T57" fmla="*/ 84 h 488"/>
                <a:gd name="T58" fmla="*/ 323 w 591"/>
                <a:gd name="T59" fmla="*/ 69 h 488"/>
                <a:gd name="T60" fmla="*/ 301 w 591"/>
                <a:gd name="T61" fmla="*/ 49 h 488"/>
                <a:gd name="T62" fmla="*/ 277 w 591"/>
                <a:gd name="T63" fmla="*/ 50 h 488"/>
                <a:gd name="T64" fmla="*/ 249 w 591"/>
                <a:gd name="T65" fmla="*/ 45 h 488"/>
                <a:gd name="T66" fmla="*/ 229 w 591"/>
                <a:gd name="T67" fmla="*/ 26 h 488"/>
                <a:gd name="T68" fmla="*/ 201 w 591"/>
                <a:gd name="T69" fmla="*/ 21 h 488"/>
                <a:gd name="T70" fmla="*/ 172 w 591"/>
                <a:gd name="T71" fmla="*/ 2 h 488"/>
                <a:gd name="T72" fmla="*/ 157 w 591"/>
                <a:gd name="T73" fmla="*/ 15 h 488"/>
                <a:gd name="T74" fmla="*/ 135 w 591"/>
                <a:gd name="T75" fmla="*/ 36 h 488"/>
                <a:gd name="T76" fmla="*/ 113 w 591"/>
                <a:gd name="T77" fmla="*/ 65 h 488"/>
                <a:gd name="T78" fmla="*/ 83 w 591"/>
                <a:gd name="T79" fmla="*/ 91 h 488"/>
                <a:gd name="T80" fmla="*/ 46 w 591"/>
                <a:gd name="T81" fmla="*/ 130 h 488"/>
                <a:gd name="T82" fmla="*/ 24 w 591"/>
                <a:gd name="T83" fmla="*/ 139 h 488"/>
                <a:gd name="T84" fmla="*/ 9 w 591"/>
                <a:gd name="T85" fmla="*/ 193 h 488"/>
                <a:gd name="T86" fmla="*/ 13 w 591"/>
                <a:gd name="T87" fmla="*/ 211 h 488"/>
                <a:gd name="T88" fmla="*/ 6 w 591"/>
                <a:gd name="T89" fmla="*/ 219 h 488"/>
                <a:gd name="T90" fmla="*/ 0 w 591"/>
                <a:gd name="T91" fmla="*/ 243 h 488"/>
                <a:gd name="T92" fmla="*/ 9 w 591"/>
                <a:gd name="T93" fmla="*/ 276 h 488"/>
                <a:gd name="T94" fmla="*/ 65 w 591"/>
                <a:gd name="T95" fmla="*/ 292 h 488"/>
                <a:gd name="T96" fmla="*/ 150 w 591"/>
                <a:gd name="T97" fmla="*/ 344 h 488"/>
                <a:gd name="T98" fmla="*/ 161 w 591"/>
                <a:gd name="T99" fmla="*/ 374 h 488"/>
                <a:gd name="T100" fmla="*/ 170 w 591"/>
                <a:gd name="T101" fmla="*/ 389 h 488"/>
                <a:gd name="T102" fmla="*/ 223 w 591"/>
                <a:gd name="T103" fmla="*/ 409 h 488"/>
                <a:gd name="T104" fmla="*/ 259 w 591"/>
                <a:gd name="T105" fmla="*/ 424 h 488"/>
                <a:gd name="T106" fmla="*/ 279 w 591"/>
                <a:gd name="T107" fmla="*/ 424 h 488"/>
                <a:gd name="T108" fmla="*/ 301 w 591"/>
                <a:gd name="T109" fmla="*/ 414 h 488"/>
                <a:gd name="T110" fmla="*/ 294 w 591"/>
                <a:gd name="T111" fmla="*/ 475 h 488"/>
                <a:gd name="T112" fmla="*/ 303 w 591"/>
                <a:gd name="T113" fmla="*/ 486 h 488"/>
                <a:gd name="T114" fmla="*/ 323 w 591"/>
                <a:gd name="T115" fmla="*/ 477 h 488"/>
                <a:gd name="T116" fmla="*/ 345 w 591"/>
                <a:gd name="T117" fmla="*/ 475 h 4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91"/>
                <a:gd name="T178" fmla="*/ 0 h 488"/>
                <a:gd name="T179" fmla="*/ 591 w 591"/>
                <a:gd name="T180" fmla="*/ 488 h 4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91" h="488">
                  <a:moveTo>
                    <a:pt x="345" y="475"/>
                  </a:moveTo>
                  <a:lnTo>
                    <a:pt x="345" y="475"/>
                  </a:lnTo>
                  <a:lnTo>
                    <a:pt x="364" y="470"/>
                  </a:lnTo>
                  <a:lnTo>
                    <a:pt x="381" y="468"/>
                  </a:lnTo>
                  <a:lnTo>
                    <a:pt x="390" y="466"/>
                  </a:lnTo>
                  <a:lnTo>
                    <a:pt x="401" y="464"/>
                  </a:lnTo>
                  <a:lnTo>
                    <a:pt x="410" y="461"/>
                  </a:lnTo>
                  <a:lnTo>
                    <a:pt x="421" y="457"/>
                  </a:lnTo>
                  <a:lnTo>
                    <a:pt x="434" y="448"/>
                  </a:lnTo>
                  <a:lnTo>
                    <a:pt x="440" y="442"/>
                  </a:lnTo>
                  <a:lnTo>
                    <a:pt x="454" y="446"/>
                  </a:lnTo>
                  <a:lnTo>
                    <a:pt x="469" y="449"/>
                  </a:lnTo>
                  <a:lnTo>
                    <a:pt x="480" y="448"/>
                  </a:lnTo>
                  <a:lnTo>
                    <a:pt x="490" y="446"/>
                  </a:lnTo>
                  <a:lnTo>
                    <a:pt x="497" y="453"/>
                  </a:lnTo>
                  <a:lnTo>
                    <a:pt x="508" y="461"/>
                  </a:lnTo>
                  <a:lnTo>
                    <a:pt x="528" y="455"/>
                  </a:lnTo>
                  <a:lnTo>
                    <a:pt x="547" y="446"/>
                  </a:lnTo>
                  <a:lnTo>
                    <a:pt x="549" y="444"/>
                  </a:lnTo>
                  <a:lnTo>
                    <a:pt x="550" y="444"/>
                  </a:lnTo>
                  <a:lnTo>
                    <a:pt x="547" y="433"/>
                  </a:lnTo>
                  <a:lnTo>
                    <a:pt x="543" y="424"/>
                  </a:lnTo>
                  <a:lnTo>
                    <a:pt x="556" y="414"/>
                  </a:lnTo>
                  <a:lnTo>
                    <a:pt x="571" y="403"/>
                  </a:lnTo>
                  <a:lnTo>
                    <a:pt x="582" y="389"/>
                  </a:lnTo>
                  <a:lnTo>
                    <a:pt x="591" y="376"/>
                  </a:lnTo>
                  <a:lnTo>
                    <a:pt x="589" y="370"/>
                  </a:lnTo>
                  <a:lnTo>
                    <a:pt x="587" y="368"/>
                  </a:lnTo>
                  <a:lnTo>
                    <a:pt x="582" y="364"/>
                  </a:lnTo>
                  <a:lnTo>
                    <a:pt x="576" y="363"/>
                  </a:lnTo>
                  <a:lnTo>
                    <a:pt x="569" y="361"/>
                  </a:lnTo>
                  <a:lnTo>
                    <a:pt x="560" y="357"/>
                  </a:lnTo>
                  <a:lnTo>
                    <a:pt x="550" y="350"/>
                  </a:lnTo>
                  <a:lnTo>
                    <a:pt x="541" y="340"/>
                  </a:lnTo>
                  <a:lnTo>
                    <a:pt x="539" y="329"/>
                  </a:lnTo>
                  <a:lnTo>
                    <a:pt x="539" y="318"/>
                  </a:lnTo>
                  <a:lnTo>
                    <a:pt x="541" y="307"/>
                  </a:lnTo>
                  <a:lnTo>
                    <a:pt x="545" y="294"/>
                  </a:lnTo>
                  <a:lnTo>
                    <a:pt x="550" y="285"/>
                  </a:lnTo>
                  <a:lnTo>
                    <a:pt x="558" y="278"/>
                  </a:lnTo>
                  <a:lnTo>
                    <a:pt x="563" y="274"/>
                  </a:lnTo>
                  <a:lnTo>
                    <a:pt x="567" y="270"/>
                  </a:lnTo>
                  <a:lnTo>
                    <a:pt x="578" y="272"/>
                  </a:lnTo>
                  <a:lnTo>
                    <a:pt x="586" y="274"/>
                  </a:lnTo>
                  <a:lnTo>
                    <a:pt x="586" y="267"/>
                  </a:lnTo>
                  <a:lnTo>
                    <a:pt x="586" y="257"/>
                  </a:lnTo>
                  <a:lnTo>
                    <a:pt x="586" y="248"/>
                  </a:lnTo>
                  <a:lnTo>
                    <a:pt x="584" y="243"/>
                  </a:lnTo>
                  <a:lnTo>
                    <a:pt x="573" y="244"/>
                  </a:lnTo>
                  <a:lnTo>
                    <a:pt x="563" y="246"/>
                  </a:lnTo>
                  <a:lnTo>
                    <a:pt x="558" y="246"/>
                  </a:lnTo>
                  <a:lnTo>
                    <a:pt x="554" y="246"/>
                  </a:lnTo>
                  <a:lnTo>
                    <a:pt x="550" y="244"/>
                  </a:lnTo>
                  <a:lnTo>
                    <a:pt x="549" y="243"/>
                  </a:lnTo>
                  <a:lnTo>
                    <a:pt x="545" y="235"/>
                  </a:lnTo>
                  <a:lnTo>
                    <a:pt x="543" y="228"/>
                  </a:lnTo>
                  <a:lnTo>
                    <a:pt x="543" y="222"/>
                  </a:lnTo>
                  <a:lnTo>
                    <a:pt x="543" y="215"/>
                  </a:lnTo>
                  <a:lnTo>
                    <a:pt x="543" y="207"/>
                  </a:lnTo>
                  <a:lnTo>
                    <a:pt x="541" y="202"/>
                  </a:lnTo>
                  <a:lnTo>
                    <a:pt x="538" y="196"/>
                  </a:lnTo>
                  <a:lnTo>
                    <a:pt x="532" y="189"/>
                  </a:lnTo>
                  <a:lnTo>
                    <a:pt x="521" y="183"/>
                  </a:lnTo>
                  <a:lnTo>
                    <a:pt x="510" y="182"/>
                  </a:lnTo>
                  <a:lnTo>
                    <a:pt x="497" y="180"/>
                  </a:lnTo>
                  <a:lnTo>
                    <a:pt x="482" y="180"/>
                  </a:lnTo>
                  <a:lnTo>
                    <a:pt x="469" y="178"/>
                  </a:lnTo>
                  <a:lnTo>
                    <a:pt x="456" y="178"/>
                  </a:lnTo>
                  <a:lnTo>
                    <a:pt x="447" y="174"/>
                  </a:lnTo>
                  <a:lnTo>
                    <a:pt x="438" y="169"/>
                  </a:lnTo>
                  <a:lnTo>
                    <a:pt x="436" y="163"/>
                  </a:lnTo>
                  <a:lnTo>
                    <a:pt x="434" y="158"/>
                  </a:lnTo>
                  <a:lnTo>
                    <a:pt x="436" y="152"/>
                  </a:lnTo>
                  <a:lnTo>
                    <a:pt x="438" y="148"/>
                  </a:lnTo>
                  <a:lnTo>
                    <a:pt x="441" y="145"/>
                  </a:lnTo>
                  <a:lnTo>
                    <a:pt x="445" y="139"/>
                  </a:lnTo>
                  <a:lnTo>
                    <a:pt x="447" y="135"/>
                  </a:lnTo>
                  <a:lnTo>
                    <a:pt x="447" y="130"/>
                  </a:lnTo>
                  <a:lnTo>
                    <a:pt x="445" y="119"/>
                  </a:lnTo>
                  <a:lnTo>
                    <a:pt x="443" y="108"/>
                  </a:lnTo>
                  <a:lnTo>
                    <a:pt x="438" y="93"/>
                  </a:lnTo>
                  <a:lnTo>
                    <a:pt x="432" y="76"/>
                  </a:lnTo>
                  <a:lnTo>
                    <a:pt x="412" y="71"/>
                  </a:lnTo>
                  <a:lnTo>
                    <a:pt x="395" y="63"/>
                  </a:lnTo>
                  <a:lnTo>
                    <a:pt x="371" y="73"/>
                  </a:lnTo>
                  <a:lnTo>
                    <a:pt x="349" y="84"/>
                  </a:lnTo>
                  <a:lnTo>
                    <a:pt x="342" y="78"/>
                  </a:lnTo>
                  <a:lnTo>
                    <a:pt x="338" y="69"/>
                  </a:lnTo>
                  <a:lnTo>
                    <a:pt x="323" y="69"/>
                  </a:lnTo>
                  <a:lnTo>
                    <a:pt x="310" y="69"/>
                  </a:lnTo>
                  <a:lnTo>
                    <a:pt x="305" y="58"/>
                  </a:lnTo>
                  <a:lnTo>
                    <a:pt x="301" y="49"/>
                  </a:lnTo>
                  <a:lnTo>
                    <a:pt x="294" y="49"/>
                  </a:lnTo>
                  <a:lnTo>
                    <a:pt x="284" y="50"/>
                  </a:lnTo>
                  <a:lnTo>
                    <a:pt x="277" y="50"/>
                  </a:lnTo>
                  <a:lnTo>
                    <a:pt x="270" y="50"/>
                  </a:lnTo>
                  <a:lnTo>
                    <a:pt x="260" y="49"/>
                  </a:lnTo>
                  <a:lnTo>
                    <a:pt x="249" y="45"/>
                  </a:lnTo>
                  <a:lnTo>
                    <a:pt x="240" y="36"/>
                  </a:lnTo>
                  <a:lnTo>
                    <a:pt x="235" y="26"/>
                  </a:lnTo>
                  <a:lnTo>
                    <a:pt x="229" y="26"/>
                  </a:lnTo>
                  <a:lnTo>
                    <a:pt x="222" y="26"/>
                  </a:lnTo>
                  <a:lnTo>
                    <a:pt x="212" y="26"/>
                  </a:lnTo>
                  <a:lnTo>
                    <a:pt x="201" y="21"/>
                  </a:lnTo>
                  <a:lnTo>
                    <a:pt x="188" y="10"/>
                  </a:lnTo>
                  <a:lnTo>
                    <a:pt x="175" y="0"/>
                  </a:lnTo>
                  <a:lnTo>
                    <a:pt x="172" y="2"/>
                  </a:lnTo>
                  <a:lnTo>
                    <a:pt x="166" y="4"/>
                  </a:lnTo>
                  <a:lnTo>
                    <a:pt x="163" y="10"/>
                  </a:lnTo>
                  <a:lnTo>
                    <a:pt x="157" y="15"/>
                  </a:lnTo>
                  <a:lnTo>
                    <a:pt x="148" y="21"/>
                  </a:lnTo>
                  <a:lnTo>
                    <a:pt x="137" y="26"/>
                  </a:lnTo>
                  <a:lnTo>
                    <a:pt x="135" y="36"/>
                  </a:lnTo>
                  <a:lnTo>
                    <a:pt x="131" y="45"/>
                  </a:lnTo>
                  <a:lnTo>
                    <a:pt x="122" y="54"/>
                  </a:lnTo>
                  <a:lnTo>
                    <a:pt x="113" y="65"/>
                  </a:lnTo>
                  <a:lnTo>
                    <a:pt x="109" y="74"/>
                  </a:lnTo>
                  <a:lnTo>
                    <a:pt x="102" y="87"/>
                  </a:lnTo>
                  <a:lnTo>
                    <a:pt x="83" y="91"/>
                  </a:lnTo>
                  <a:lnTo>
                    <a:pt x="63" y="93"/>
                  </a:lnTo>
                  <a:lnTo>
                    <a:pt x="54" y="111"/>
                  </a:lnTo>
                  <a:lnTo>
                    <a:pt x="46" y="130"/>
                  </a:lnTo>
                  <a:lnTo>
                    <a:pt x="35" y="135"/>
                  </a:lnTo>
                  <a:lnTo>
                    <a:pt x="24" y="139"/>
                  </a:lnTo>
                  <a:lnTo>
                    <a:pt x="15" y="163"/>
                  </a:lnTo>
                  <a:lnTo>
                    <a:pt x="6" y="183"/>
                  </a:lnTo>
                  <a:lnTo>
                    <a:pt x="9" y="193"/>
                  </a:lnTo>
                  <a:lnTo>
                    <a:pt x="15" y="204"/>
                  </a:lnTo>
                  <a:lnTo>
                    <a:pt x="15" y="209"/>
                  </a:lnTo>
                  <a:lnTo>
                    <a:pt x="13" y="211"/>
                  </a:lnTo>
                  <a:lnTo>
                    <a:pt x="11" y="213"/>
                  </a:lnTo>
                  <a:lnTo>
                    <a:pt x="7" y="215"/>
                  </a:lnTo>
                  <a:lnTo>
                    <a:pt x="6" y="219"/>
                  </a:lnTo>
                  <a:lnTo>
                    <a:pt x="4" y="222"/>
                  </a:lnTo>
                  <a:lnTo>
                    <a:pt x="2" y="231"/>
                  </a:lnTo>
                  <a:lnTo>
                    <a:pt x="0" y="243"/>
                  </a:lnTo>
                  <a:lnTo>
                    <a:pt x="4" y="257"/>
                  </a:lnTo>
                  <a:lnTo>
                    <a:pt x="9" y="276"/>
                  </a:lnTo>
                  <a:lnTo>
                    <a:pt x="30" y="279"/>
                  </a:lnTo>
                  <a:lnTo>
                    <a:pt x="48" y="285"/>
                  </a:lnTo>
                  <a:lnTo>
                    <a:pt x="65" y="292"/>
                  </a:lnTo>
                  <a:lnTo>
                    <a:pt x="83" y="300"/>
                  </a:lnTo>
                  <a:lnTo>
                    <a:pt x="116" y="320"/>
                  </a:lnTo>
                  <a:lnTo>
                    <a:pt x="150" y="344"/>
                  </a:lnTo>
                  <a:lnTo>
                    <a:pt x="153" y="355"/>
                  </a:lnTo>
                  <a:lnTo>
                    <a:pt x="157" y="368"/>
                  </a:lnTo>
                  <a:lnTo>
                    <a:pt x="161" y="374"/>
                  </a:lnTo>
                  <a:lnTo>
                    <a:pt x="163" y="379"/>
                  </a:lnTo>
                  <a:lnTo>
                    <a:pt x="166" y="385"/>
                  </a:lnTo>
                  <a:lnTo>
                    <a:pt x="170" y="389"/>
                  </a:lnTo>
                  <a:lnTo>
                    <a:pt x="187" y="387"/>
                  </a:lnTo>
                  <a:lnTo>
                    <a:pt x="212" y="385"/>
                  </a:lnTo>
                  <a:lnTo>
                    <a:pt x="223" y="409"/>
                  </a:lnTo>
                  <a:lnTo>
                    <a:pt x="233" y="429"/>
                  </a:lnTo>
                  <a:lnTo>
                    <a:pt x="244" y="427"/>
                  </a:lnTo>
                  <a:lnTo>
                    <a:pt x="259" y="424"/>
                  </a:lnTo>
                  <a:lnTo>
                    <a:pt x="266" y="425"/>
                  </a:lnTo>
                  <a:lnTo>
                    <a:pt x="273" y="425"/>
                  </a:lnTo>
                  <a:lnTo>
                    <a:pt x="279" y="424"/>
                  </a:lnTo>
                  <a:lnTo>
                    <a:pt x="284" y="422"/>
                  </a:lnTo>
                  <a:lnTo>
                    <a:pt x="294" y="416"/>
                  </a:lnTo>
                  <a:lnTo>
                    <a:pt x="301" y="414"/>
                  </a:lnTo>
                  <a:lnTo>
                    <a:pt x="299" y="435"/>
                  </a:lnTo>
                  <a:lnTo>
                    <a:pt x="294" y="453"/>
                  </a:lnTo>
                  <a:lnTo>
                    <a:pt x="294" y="475"/>
                  </a:lnTo>
                  <a:lnTo>
                    <a:pt x="292" y="486"/>
                  </a:lnTo>
                  <a:lnTo>
                    <a:pt x="299" y="488"/>
                  </a:lnTo>
                  <a:lnTo>
                    <a:pt x="303" y="486"/>
                  </a:lnTo>
                  <a:lnTo>
                    <a:pt x="308" y="485"/>
                  </a:lnTo>
                  <a:lnTo>
                    <a:pt x="312" y="483"/>
                  </a:lnTo>
                  <a:lnTo>
                    <a:pt x="323" y="477"/>
                  </a:lnTo>
                  <a:lnTo>
                    <a:pt x="332" y="470"/>
                  </a:lnTo>
                  <a:lnTo>
                    <a:pt x="338" y="472"/>
                  </a:lnTo>
                  <a:lnTo>
                    <a:pt x="345" y="47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69" name="Freeform 45"/>
            <p:cNvSpPr>
              <a:spLocks/>
            </p:cNvSpPr>
            <p:nvPr/>
          </p:nvSpPr>
          <p:spPr bwMode="auto">
            <a:xfrm>
              <a:off x="4326320" y="2514907"/>
              <a:ext cx="154972" cy="123154"/>
            </a:xfrm>
            <a:custGeom>
              <a:avLst/>
              <a:gdLst>
                <a:gd name="T0" fmla="*/ 44 w 297"/>
                <a:gd name="T1" fmla="*/ 196 h 242"/>
                <a:gd name="T2" fmla="*/ 85 w 297"/>
                <a:gd name="T3" fmla="*/ 211 h 242"/>
                <a:gd name="T4" fmla="*/ 115 w 297"/>
                <a:gd name="T5" fmla="*/ 218 h 242"/>
                <a:gd name="T6" fmla="*/ 131 w 297"/>
                <a:gd name="T7" fmla="*/ 213 h 242"/>
                <a:gd name="T8" fmla="*/ 148 w 297"/>
                <a:gd name="T9" fmla="*/ 214 h 242"/>
                <a:gd name="T10" fmla="*/ 179 w 297"/>
                <a:gd name="T11" fmla="*/ 227 h 242"/>
                <a:gd name="T12" fmla="*/ 229 w 297"/>
                <a:gd name="T13" fmla="*/ 240 h 242"/>
                <a:gd name="T14" fmla="*/ 249 w 297"/>
                <a:gd name="T15" fmla="*/ 242 h 242"/>
                <a:gd name="T16" fmla="*/ 260 w 297"/>
                <a:gd name="T17" fmla="*/ 238 h 242"/>
                <a:gd name="T18" fmla="*/ 273 w 297"/>
                <a:gd name="T19" fmla="*/ 237 h 242"/>
                <a:gd name="T20" fmla="*/ 288 w 297"/>
                <a:gd name="T21" fmla="*/ 235 h 242"/>
                <a:gd name="T22" fmla="*/ 296 w 297"/>
                <a:gd name="T23" fmla="*/ 233 h 242"/>
                <a:gd name="T24" fmla="*/ 297 w 297"/>
                <a:gd name="T25" fmla="*/ 227 h 242"/>
                <a:gd name="T26" fmla="*/ 297 w 297"/>
                <a:gd name="T27" fmla="*/ 216 h 242"/>
                <a:gd name="T28" fmla="*/ 297 w 297"/>
                <a:gd name="T29" fmla="*/ 209 h 242"/>
                <a:gd name="T30" fmla="*/ 290 w 297"/>
                <a:gd name="T31" fmla="*/ 200 h 242"/>
                <a:gd name="T32" fmla="*/ 272 w 297"/>
                <a:gd name="T33" fmla="*/ 177 h 242"/>
                <a:gd name="T34" fmla="*/ 249 w 297"/>
                <a:gd name="T35" fmla="*/ 150 h 242"/>
                <a:gd name="T36" fmla="*/ 233 w 297"/>
                <a:gd name="T37" fmla="*/ 128 h 242"/>
                <a:gd name="T38" fmla="*/ 216 w 297"/>
                <a:gd name="T39" fmla="*/ 109 h 242"/>
                <a:gd name="T40" fmla="*/ 196 w 297"/>
                <a:gd name="T41" fmla="*/ 87 h 242"/>
                <a:gd name="T42" fmla="*/ 183 w 297"/>
                <a:gd name="T43" fmla="*/ 70 h 242"/>
                <a:gd name="T44" fmla="*/ 181 w 297"/>
                <a:gd name="T45" fmla="*/ 55 h 242"/>
                <a:gd name="T46" fmla="*/ 192 w 297"/>
                <a:gd name="T47" fmla="*/ 39 h 242"/>
                <a:gd name="T48" fmla="*/ 188 w 297"/>
                <a:gd name="T49" fmla="*/ 30 h 242"/>
                <a:gd name="T50" fmla="*/ 164 w 297"/>
                <a:gd name="T51" fmla="*/ 33 h 242"/>
                <a:gd name="T52" fmla="*/ 146 w 297"/>
                <a:gd name="T53" fmla="*/ 39 h 242"/>
                <a:gd name="T54" fmla="*/ 131 w 297"/>
                <a:gd name="T55" fmla="*/ 28 h 242"/>
                <a:gd name="T56" fmla="*/ 113 w 297"/>
                <a:gd name="T57" fmla="*/ 13 h 242"/>
                <a:gd name="T58" fmla="*/ 96 w 297"/>
                <a:gd name="T59" fmla="*/ 2 h 242"/>
                <a:gd name="T60" fmla="*/ 74 w 297"/>
                <a:gd name="T61" fmla="*/ 6 h 242"/>
                <a:gd name="T62" fmla="*/ 59 w 297"/>
                <a:gd name="T63" fmla="*/ 22 h 242"/>
                <a:gd name="T64" fmla="*/ 55 w 297"/>
                <a:gd name="T65" fmla="*/ 50 h 242"/>
                <a:gd name="T66" fmla="*/ 46 w 297"/>
                <a:gd name="T67" fmla="*/ 72 h 242"/>
                <a:gd name="T68" fmla="*/ 30 w 297"/>
                <a:gd name="T69" fmla="*/ 83 h 242"/>
                <a:gd name="T70" fmla="*/ 9 w 297"/>
                <a:gd name="T71" fmla="*/ 96 h 242"/>
                <a:gd name="T72" fmla="*/ 0 w 297"/>
                <a:gd name="T73" fmla="*/ 105 h 242"/>
                <a:gd name="T74" fmla="*/ 2 w 297"/>
                <a:gd name="T75" fmla="*/ 111 h 242"/>
                <a:gd name="T76" fmla="*/ 13 w 297"/>
                <a:gd name="T77" fmla="*/ 124 h 242"/>
                <a:gd name="T78" fmla="*/ 22 w 297"/>
                <a:gd name="T79" fmla="*/ 139 h 242"/>
                <a:gd name="T80" fmla="*/ 28 w 297"/>
                <a:gd name="T81" fmla="*/ 159 h 242"/>
                <a:gd name="T82" fmla="*/ 26 w 297"/>
                <a:gd name="T83" fmla="*/ 179 h 24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7"/>
                <a:gd name="T127" fmla="*/ 0 h 242"/>
                <a:gd name="T128" fmla="*/ 297 w 297"/>
                <a:gd name="T129" fmla="*/ 242 h 24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7" h="242">
                  <a:moveTo>
                    <a:pt x="24" y="189"/>
                  </a:moveTo>
                  <a:lnTo>
                    <a:pt x="44" y="196"/>
                  </a:lnTo>
                  <a:lnTo>
                    <a:pt x="65" y="203"/>
                  </a:lnTo>
                  <a:lnTo>
                    <a:pt x="85" y="211"/>
                  </a:lnTo>
                  <a:lnTo>
                    <a:pt x="107" y="218"/>
                  </a:lnTo>
                  <a:lnTo>
                    <a:pt x="115" y="218"/>
                  </a:lnTo>
                  <a:lnTo>
                    <a:pt x="126" y="214"/>
                  </a:lnTo>
                  <a:lnTo>
                    <a:pt x="131" y="213"/>
                  </a:lnTo>
                  <a:lnTo>
                    <a:pt x="139" y="213"/>
                  </a:lnTo>
                  <a:lnTo>
                    <a:pt x="148" y="214"/>
                  </a:lnTo>
                  <a:lnTo>
                    <a:pt x="157" y="220"/>
                  </a:lnTo>
                  <a:lnTo>
                    <a:pt x="179" y="227"/>
                  </a:lnTo>
                  <a:lnTo>
                    <a:pt x="212" y="237"/>
                  </a:lnTo>
                  <a:lnTo>
                    <a:pt x="229" y="240"/>
                  </a:lnTo>
                  <a:lnTo>
                    <a:pt x="244" y="242"/>
                  </a:lnTo>
                  <a:lnTo>
                    <a:pt x="249" y="242"/>
                  </a:lnTo>
                  <a:lnTo>
                    <a:pt x="255" y="240"/>
                  </a:lnTo>
                  <a:lnTo>
                    <a:pt x="260" y="238"/>
                  </a:lnTo>
                  <a:lnTo>
                    <a:pt x="264" y="235"/>
                  </a:lnTo>
                  <a:lnTo>
                    <a:pt x="273" y="237"/>
                  </a:lnTo>
                  <a:lnTo>
                    <a:pt x="281" y="237"/>
                  </a:lnTo>
                  <a:lnTo>
                    <a:pt x="288" y="235"/>
                  </a:lnTo>
                  <a:lnTo>
                    <a:pt x="296" y="233"/>
                  </a:lnTo>
                  <a:lnTo>
                    <a:pt x="297" y="227"/>
                  </a:lnTo>
                  <a:lnTo>
                    <a:pt x="297" y="220"/>
                  </a:lnTo>
                  <a:lnTo>
                    <a:pt x="297" y="216"/>
                  </a:lnTo>
                  <a:lnTo>
                    <a:pt x="297" y="213"/>
                  </a:lnTo>
                  <a:lnTo>
                    <a:pt x="297" y="209"/>
                  </a:lnTo>
                  <a:lnTo>
                    <a:pt x="296" y="207"/>
                  </a:lnTo>
                  <a:lnTo>
                    <a:pt x="290" y="200"/>
                  </a:lnTo>
                  <a:lnTo>
                    <a:pt x="285" y="185"/>
                  </a:lnTo>
                  <a:lnTo>
                    <a:pt x="272" y="177"/>
                  </a:lnTo>
                  <a:lnTo>
                    <a:pt x="257" y="168"/>
                  </a:lnTo>
                  <a:lnTo>
                    <a:pt x="249" y="150"/>
                  </a:lnTo>
                  <a:lnTo>
                    <a:pt x="242" y="133"/>
                  </a:lnTo>
                  <a:lnTo>
                    <a:pt x="233" y="128"/>
                  </a:lnTo>
                  <a:lnTo>
                    <a:pt x="225" y="122"/>
                  </a:lnTo>
                  <a:lnTo>
                    <a:pt x="216" y="109"/>
                  </a:lnTo>
                  <a:lnTo>
                    <a:pt x="207" y="98"/>
                  </a:lnTo>
                  <a:lnTo>
                    <a:pt x="196" y="87"/>
                  </a:lnTo>
                  <a:lnTo>
                    <a:pt x="188" y="78"/>
                  </a:lnTo>
                  <a:lnTo>
                    <a:pt x="183" y="70"/>
                  </a:lnTo>
                  <a:lnTo>
                    <a:pt x="181" y="63"/>
                  </a:lnTo>
                  <a:lnTo>
                    <a:pt x="181" y="55"/>
                  </a:lnTo>
                  <a:lnTo>
                    <a:pt x="185" y="48"/>
                  </a:lnTo>
                  <a:lnTo>
                    <a:pt x="192" y="39"/>
                  </a:lnTo>
                  <a:lnTo>
                    <a:pt x="200" y="31"/>
                  </a:lnTo>
                  <a:lnTo>
                    <a:pt x="188" y="30"/>
                  </a:lnTo>
                  <a:lnTo>
                    <a:pt x="177" y="30"/>
                  </a:lnTo>
                  <a:lnTo>
                    <a:pt x="164" y="33"/>
                  </a:lnTo>
                  <a:lnTo>
                    <a:pt x="152" y="39"/>
                  </a:lnTo>
                  <a:lnTo>
                    <a:pt x="146" y="39"/>
                  </a:lnTo>
                  <a:lnTo>
                    <a:pt x="139" y="33"/>
                  </a:lnTo>
                  <a:lnTo>
                    <a:pt x="131" y="28"/>
                  </a:lnTo>
                  <a:lnTo>
                    <a:pt x="122" y="20"/>
                  </a:lnTo>
                  <a:lnTo>
                    <a:pt x="113" y="13"/>
                  </a:lnTo>
                  <a:lnTo>
                    <a:pt x="105" y="7"/>
                  </a:lnTo>
                  <a:lnTo>
                    <a:pt x="96" y="2"/>
                  </a:lnTo>
                  <a:lnTo>
                    <a:pt x="91" y="0"/>
                  </a:lnTo>
                  <a:lnTo>
                    <a:pt x="74" y="6"/>
                  </a:lnTo>
                  <a:lnTo>
                    <a:pt x="57" y="9"/>
                  </a:lnTo>
                  <a:lnTo>
                    <a:pt x="59" y="22"/>
                  </a:lnTo>
                  <a:lnTo>
                    <a:pt x="57" y="37"/>
                  </a:lnTo>
                  <a:lnTo>
                    <a:pt x="55" y="50"/>
                  </a:lnTo>
                  <a:lnTo>
                    <a:pt x="55" y="67"/>
                  </a:lnTo>
                  <a:lnTo>
                    <a:pt x="46" y="72"/>
                  </a:lnTo>
                  <a:lnTo>
                    <a:pt x="33" y="76"/>
                  </a:lnTo>
                  <a:lnTo>
                    <a:pt x="30" y="83"/>
                  </a:lnTo>
                  <a:lnTo>
                    <a:pt x="22" y="92"/>
                  </a:lnTo>
                  <a:lnTo>
                    <a:pt x="9" y="96"/>
                  </a:lnTo>
                  <a:lnTo>
                    <a:pt x="2" y="102"/>
                  </a:lnTo>
                  <a:lnTo>
                    <a:pt x="0" y="105"/>
                  </a:lnTo>
                  <a:lnTo>
                    <a:pt x="0" y="107"/>
                  </a:lnTo>
                  <a:lnTo>
                    <a:pt x="2" y="111"/>
                  </a:lnTo>
                  <a:lnTo>
                    <a:pt x="4" y="116"/>
                  </a:lnTo>
                  <a:lnTo>
                    <a:pt x="13" y="124"/>
                  </a:lnTo>
                  <a:lnTo>
                    <a:pt x="19" y="131"/>
                  </a:lnTo>
                  <a:lnTo>
                    <a:pt x="22" y="139"/>
                  </a:lnTo>
                  <a:lnTo>
                    <a:pt x="26" y="144"/>
                  </a:lnTo>
                  <a:lnTo>
                    <a:pt x="28" y="159"/>
                  </a:lnTo>
                  <a:lnTo>
                    <a:pt x="28" y="172"/>
                  </a:lnTo>
                  <a:lnTo>
                    <a:pt x="26" y="179"/>
                  </a:lnTo>
                  <a:lnTo>
                    <a:pt x="24" y="18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0" name="Freeform 46"/>
            <p:cNvSpPr>
              <a:spLocks/>
            </p:cNvSpPr>
            <p:nvPr/>
          </p:nvSpPr>
          <p:spPr bwMode="auto">
            <a:xfrm>
              <a:off x="4199003" y="2481829"/>
              <a:ext cx="158103" cy="166411"/>
            </a:xfrm>
            <a:custGeom>
              <a:avLst/>
              <a:gdLst>
                <a:gd name="T0" fmla="*/ 30 w 303"/>
                <a:gd name="T1" fmla="*/ 315 h 327"/>
                <a:gd name="T2" fmla="*/ 67 w 303"/>
                <a:gd name="T3" fmla="*/ 327 h 327"/>
                <a:gd name="T4" fmla="*/ 91 w 303"/>
                <a:gd name="T5" fmla="*/ 322 h 327"/>
                <a:gd name="T6" fmla="*/ 91 w 303"/>
                <a:gd name="T7" fmla="*/ 283 h 327"/>
                <a:gd name="T8" fmla="*/ 104 w 303"/>
                <a:gd name="T9" fmla="*/ 279 h 327"/>
                <a:gd name="T10" fmla="*/ 133 w 303"/>
                <a:gd name="T11" fmla="*/ 281 h 327"/>
                <a:gd name="T12" fmla="*/ 152 w 303"/>
                <a:gd name="T13" fmla="*/ 303 h 327"/>
                <a:gd name="T14" fmla="*/ 163 w 303"/>
                <a:gd name="T15" fmla="*/ 302 h 327"/>
                <a:gd name="T16" fmla="*/ 142 w 303"/>
                <a:gd name="T17" fmla="*/ 259 h 327"/>
                <a:gd name="T18" fmla="*/ 155 w 303"/>
                <a:gd name="T19" fmla="*/ 239 h 327"/>
                <a:gd name="T20" fmla="*/ 159 w 303"/>
                <a:gd name="T21" fmla="*/ 213 h 327"/>
                <a:gd name="T22" fmla="*/ 189 w 303"/>
                <a:gd name="T23" fmla="*/ 224 h 327"/>
                <a:gd name="T24" fmla="*/ 222 w 303"/>
                <a:gd name="T25" fmla="*/ 242 h 327"/>
                <a:gd name="T26" fmla="*/ 257 w 303"/>
                <a:gd name="T27" fmla="*/ 248 h 327"/>
                <a:gd name="T28" fmla="*/ 272 w 303"/>
                <a:gd name="T29" fmla="*/ 237 h 327"/>
                <a:gd name="T30" fmla="*/ 266 w 303"/>
                <a:gd name="T31" fmla="*/ 204 h 327"/>
                <a:gd name="T32" fmla="*/ 248 w 303"/>
                <a:gd name="T33" fmla="*/ 181 h 327"/>
                <a:gd name="T34" fmla="*/ 244 w 303"/>
                <a:gd name="T35" fmla="*/ 170 h 327"/>
                <a:gd name="T36" fmla="*/ 266 w 303"/>
                <a:gd name="T37" fmla="*/ 157 h 327"/>
                <a:gd name="T38" fmla="*/ 290 w 303"/>
                <a:gd name="T39" fmla="*/ 137 h 327"/>
                <a:gd name="T40" fmla="*/ 301 w 303"/>
                <a:gd name="T41" fmla="*/ 102 h 327"/>
                <a:gd name="T42" fmla="*/ 290 w 303"/>
                <a:gd name="T43" fmla="*/ 60 h 327"/>
                <a:gd name="T44" fmla="*/ 261 w 303"/>
                <a:gd name="T45" fmla="*/ 48 h 327"/>
                <a:gd name="T46" fmla="*/ 220 w 303"/>
                <a:gd name="T47" fmla="*/ 15 h 327"/>
                <a:gd name="T48" fmla="*/ 196 w 303"/>
                <a:gd name="T49" fmla="*/ 0 h 327"/>
                <a:gd name="T50" fmla="*/ 185 w 303"/>
                <a:gd name="T51" fmla="*/ 11 h 327"/>
                <a:gd name="T52" fmla="*/ 168 w 303"/>
                <a:gd name="T53" fmla="*/ 32 h 327"/>
                <a:gd name="T54" fmla="*/ 174 w 303"/>
                <a:gd name="T55" fmla="*/ 58 h 327"/>
                <a:gd name="T56" fmla="*/ 163 w 303"/>
                <a:gd name="T57" fmla="*/ 58 h 327"/>
                <a:gd name="T58" fmla="*/ 152 w 303"/>
                <a:gd name="T59" fmla="*/ 54 h 327"/>
                <a:gd name="T60" fmla="*/ 139 w 303"/>
                <a:gd name="T61" fmla="*/ 63 h 327"/>
                <a:gd name="T62" fmla="*/ 129 w 303"/>
                <a:gd name="T63" fmla="*/ 52 h 327"/>
                <a:gd name="T64" fmla="*/ 105 w 303"/>
                <a:gd name="T65" fmla="*/ 48 h 327"/>
                <a:gd name="T66" fmla="*/ 93 w 303"/>
                <a:gd name="T67" fmla="*/ 39 h 327"/>
                <a:gd name="T68" fmla="*/ 85 w 303"/>
                <a:gd name="T69" fmla="*/ 10 h 327"/>
                <a:gd name="T70" fmla="*/ 72 w 303"/>
                <a:gd name="T71" fmla="*/ 6 h 327"/>
                <a:gd name="T72" fmla="*/ 54 w 303"/>
                <a:gd name="T73" fmla="*/ 23 h 327"/>
                <a:gd name="T74" fmla="*/ 43 w 303"/>
                <a:gd name="T75" fmla="*/ 56 h 327"/>
                <a:gd name="T76" fmla="*/ 54 w 303"/>
                <a:gd name="T77" fmla="*/ 84 h 327"/>
                <a:gd name="T78" fmla="*/ 80 w 303"/>
                <a:gd name="T79" fmla="*/ 91 h 327"/>
                <a:gd name="T80" fmla="*/ 100 w 303"/>
                <a:gd name="T81" fmla="*/ 98 h 327"/>
                <a:gd name="T82" fmla="*/ 128 w 303"/>
                <a:gd name="T83" fmla="*/ 106 h 327"/>
                <a:gd name="T84" fmla="*/ 141 w 303"/>
                <a:gd name="T85" fmla="*/ 102 h 327"/>
                <a:gd name="T86" fmla="*/ 152 w 303"/>
                <a:gd name="T87" fmla="*/ 111 h 327"/>
                <a:gd name="T88" fmla="*/ 146 w 303"/>
                <a:gd name="T89" fmla="*/ 120 h 327"/>
                <a:gd name="T90" fmla="*/ 128 w 303"/>
                <a:gd name="T91" fmla="*/ 137 h 327"/>
                <a:gd name="T92" fmla="*/ 104 w 303"/>
                <a:gd name="T93" fmla="*/ 137 h 327"/>
                <a:gd name="T94" fmla="*/ 70 w 303"/>
                <a:gd name="T95" fmla="*/ 143 h 327"/>
                <a:gd name="T96" fmla="*/ 28 w 303"/>
                <a:gd name="T97" fmla="*/ 209 h 327"/>
                <a:gd name="T98" fmla="*/ 8 w 303"/>
                <a:gd name="T99" fmla="*/ 228 h 327"/>
                <a:gd name="T100" fmla="*/ 0 w 303"/>
                <a:gd name="T101" fmla="*/ 259 h 327"/>
                <a:gd name="T102" fmla="*/ 8 w 303"/>
                <a:gd name="T103" fmla="*/ 268 h 327"/>
                <a:gd name="T104" fmla="*/ 24 w 303"/>
                <a:gd name="T105" fmla="*/ 263 h 327"/>
                <a:gd name="T106" fmla="*/ 39 w 303"/>
                <a:gd name="T107" fmla="*/ 278 h 327"/>
                <a:gd name="T108" fmla="*/ 48 w 303"/>
                <a:gd name="T109" fmla="*/ 296 h 327"/>
                <a:gd name="T110" fmla="*/ 30 w 303"/>
                <a:gd name="T111" fmla="*/ 315 h 32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3"/>
                <a:gd name="T169" fmla="*/ 0 h 327"/>
                <a:gd name="T170" fmla="*/ 303 w 303"/>
                <a:gd name="T171" fmla="*/ 327 h 32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3" h="327">
                  <a:moveTo>
                    <a:pt x="30" y="315"/>
                  </a:moveTo>
                  <a:lnTo>
                    <a:pt x="30" y="315"/>
                  </a:lnTo>
                  <a:lnTo>
                    <a:pt x="45" y="322"/>
                  </a:lnTo>
                  <a:lnTo>
                    <a:pt x="59" y="326"/>
                  </a:lnTo>
                  <a:lnTo>
                    <a:pt x="67" y="327"/>
                  </a:lnTo>
                  <a:lnTo>
                    <a:pt x="76" y="327"/>
                  </a:lnTo>
                  <a:lnTo>
                    <a:pt x="83" y="326"/>
                  </a:lnTo>
                  <a:lnTo>
                    <a:pt x="91" y="322"/>
                  </a:lnTo>
                  <a:lnTo>
                    <a:pt x="91" y="305"/>
                  </a:lnTo>
                  <a:lnTo>
                    <a:pt x="87" y="287"/>
                  </a:lnTo>
                  <a:lnTo>
                    <a:pt x="91" y="283"/>
                  </a:lnTo>
                  <a:lnTo>
                    <a:pt x="94" y="281"/>
                  </a:lnTo>
                  <a:lnTo>
                    <a:pt x="98" y="281"/>
                  </a:lnTo>
                  <a:lnTo>
                    <a:pt x="104" y="279"/>
                  </a:lnTo>
                  <a:lnTo>
                    <a:pt x="115" y="279"/>
                  </a:lnTo>
                  <a:lnTo>
                    <a:pt x="124" y="279"/>
                  </a:lnTo>
                  <a:lnTo>
                    <a:pt x="133" y="281"/>
                  </a:lnTo>
                  <a:lnTo>
                    <a:pt x="139" y="287"/>
                  </a:lnTo>
                  <a:lnTo>
                    <a:pt x="146" y="292"/>
                  </a:lnTo>
                  <a:lnTo>
                    <a:pt x="152" y="303"/>
                  </a:lnTo>
                  <a:lnTo>
                    <a:pt x="155" y="305"/>
                  </a:lnTo>
                  <a:lnTo>
                    <a:pt x="159" y="305"/>
                  </a:lnTo>
                  <a:lnTo>
                    <a:pt x="163" y="302"/>
                  </a:lnTo>
                  <a:lnTo>
                    <a:pt x="163" y="298"/>
                  </a:lnTo>
                  <a:lnTo>
                    <a:pt x="152" y="279"/>
                  </a:lnTo>
                  <a:lnTo>
                    <a:pt x="142" y="259"/>
                  </a:lnTo>
                  <a:lnTo>
                    <a:pt x="150" y="254"/>
                  </a:lnTo>
                  <a:lnTo>
                    <a:pt x="159" y="250"/>
                  </a:lnTo>
                  <a:lnTo>
                    <a:pt x="155" y="239"/>
                  </a:lnTo>
                  <a:lnTo>
                    <a:pt x="150" y="228"/>
                  </a:lnTo>
                  <a:lnTo>
                    <a:pt x="152" y="220"/>
                  </a:lnTo>
                  <a:lnTo>
                    <a:pt x="159" y="213"/>
                  </a:lnTo>
                  <a:lnTo>
                    <a:pt x="168" y="207"/>
                  </a:lnTo>
                  <a:lnTo>
                    <a:pt x="174" y="207"/>
                  </a:lnTo>
                  <a:lnTo>
                    <a:pt x="189" y="224"/>
                  </a:lnTo>
                  <a:lnTo>
                    <a:pt x="202" y="235"/>
                  </a:lnTo>
                  <a:lnTo>
                    <a:pt x="213" y="241"/>
                  </a:lnTo>
                  <a:lnTo>
                    <a:pt x="222" y="242"/>
                  </a:lnTo>
                  <a:lnTo>
                    <a:pt x="235" y="242"/>
                  </a:lnTo>
                  <a:lnTo>
                    <a:pt x="244" y="244"/>
                  </a:lnTo>
                  <a:lnTo>
                    <a:pt x="257" y="248"/>
                  </a:lnTo>
                  <a:lnTo>
                    <a:pt x="268" y="254"/>
                  </a:lnTo>
                  <a:lnTo>
                    <a:pt x="270" y="244"/>
                  </a:lnTo>
                  <a:lnTo>
                    <a:pt x="272" y="237"/>
                  </a:lnTo>
                  <a:lnTo>
                    <a:pt x="272" y="224"/>
                  </a:lnTo>
                  <a:lnTo>
                    <a:pt x="270" y="209"/>
                  </a:lnTo>
                  <a:lnTo>
                    <a:pt x="266" y="204"/>
                  </a:lnTo>
                  <a:lnTo>
                    <a:pt x="263" y="196"/>
                  </a:lnTo>
                  <a:lnTo>
                    <a:pt x="257" y="189"/>
                  </a:lnTo>
                  <a:lnTo>
                    <a:pt x="248" y="181"/>
                  </a:lnTo>
                  <a:lnTo>
                    <a:pt x="246" y="176"/>
                  </a:lnTo>
                  <a:lnTo>
                    <a:pt x="244" y="172"/>
                  </a:lnTo>
                  <a:lnTo>
                    <a:pt x="244" y="170"/>
                  </a:lnTo>
                  <a:lnTo>
                    <a:pt x="246" y="167"/>
                  </a:lnTo>
                  <a:lnTo>
                    <a:pt x="253" y="161"/>
                  </a:lnTo>
                  <a:lnTo>
                    <a:pt x="266" y="157"/>
                  </a:lnTo>
                  <a:lnTo>
                    <a:pt x="274" y="148"/>
                  </a:lnTo>
                  <a:lnTo>
                    <a:pt x="277" y="141"/>
                  </a:lnTo>
                  <a:lnTo>
                    <a:pt x="290" y="137"/>
                  </a:lnTo>
                  <a:lnTo>
                    <a:pt x="299" y="132"/>
                  </a:lnTo>
                  <a:lnTo>
                    <a:pt x="299" y="115"/>
                  </a:lnTo>
                  <a:lnTo>
                    <a:pt x="301" y="102"/>
                  </a:lnTo>
                  <a:lnTo>
                    <a:pt x="303" y="87"/>
                  </a:lnTo>
                  <a:lnTo>
                    <a:pt x="301" y="74"/>
                  </a:lnTo>
                  <a:lnTo>
                    <a:pt x="290" y="60"/>
                  </a:lnTo>
                  <a:lnTo>
                    <a:pt x="279" y="47"/>
                  </a:lnTo>
                  <a:lnTo>
                    <a:pt x="270" y="47"/>
                  </a:lnTo>
                  <a:lnTo>
                    <a:pt x="261" y="48"/>
                  </a:lnTo>
                  <a:lnTo>
                    <a:pt x="248" y="35"/>
                  </a:lnTo>
                  <a:lnTo>
                    <a:pt x="233" y="28"/>
                  </a:lnTo>
                  <a:lnTo>
                    <a:pt x="220" y="15"/>
                  </a:lnTo>
                  <a:lnTo>
                    <a:pt x="207" y="2"/>
                  </a:lnTo>
                  <a:lnTo>
                    <a:pt x="202" y="2"/>
                  </a:lnTo>
                  <a:lnTo>
                    <a:pt x="196" y="0"/>
                  </a:lnTo>
                  <a:lnTo>
                    <a:pt x="190" y="2"/>
                  </a:lnTo>
                  <a:lnTo>
                    <a:pt x="187" y="4"/>
                  </a:lnTo>
                  <a:lnTo>
                    <a:pt x="185" y="11"/>
                  </a:lnTo>
                  <a:lnTo>
                    <a:pt x="185" y="21"/>
                  </a:lnTo>
                  <a:lnTo>
                    <a:pt x="176" y="24"/>
                  </a:lnTo>
                  <a:lnTo>
                    <a:pt x="168" y="32"/>
                  </a:lnTo>
                  <a:lnTo>
                    <a:pt x="174" y="41"/>
                  </a:lnTo>
                  <a:lnTo>
                    <a:pt x="178" y="54"/>
                  </a:lnTo>
                  <a:lnTo>
                    <a:pt x="174" y="58"/>
                  </a:lnTo>
                  <a:lnTo>
                    <a:pt x="170" y="60"/>
                  </a:lnTo>
                  <a:lnTo>
                    <a:pt x="166" y="60"/>
                  </a:lnTo>
                  <a:lnTo>
                    <a:pt x="163" y="58"/>
                  </a:lnTo>
                  <a:lnTo>
                    <a:pt x="159" y="56"/>
                  </a:lnTo>
                  <a:lnTo>
                    <a:pt x="155" y="54"/>
                  </a:lnTo>
                  <a:lnTo>
                    <a:pt x="152" y="54"/>
                  </a:lnTo>
                  <a:lnTo>
                    <a:pt x="148" y="56"/>
                  </a:lnTo>
                  <a:lnTo>
                    <a:pt x="144" y="61"/>
                  </a:lnTo>
                  <a:lnTo>
                    <a:pt x="139" y="63"/>
                  </a:lnTo>
                  <a:lnTo>
                    <a:pt x="133" y="61"/>
                  </a:lnTo>
                  <a:lnTo>
                    <a:pt x="131" y="56"/>
                  </a:lnTo>
                  <a:lnTo>
                    <a:pt x="129" y="52"/>
                  </a:lnTo>
                  <a:lnTo>
                    <a:pt x="124" y="50"/>
                  </a:lnTo>
                  <a:lnTo>
                    <a:pt x="117" y="48"/>
                  </a:lnTo>
                  <a:lnTo>
                    <a:pt x="105" y="48"/>
                  </a:lnTo>
                  <a:lnTo>
                    <a:pt x="93" y="50"/>
                  </a:lnTo>
                  <a:lnTo>
                    <a:pt x="85" y="48"/>
                  </a:lnTo>
                  <a:lnTo>
                    <a:pt x="93" y="39"/>
                  </a:lnTo>
                  <a:lnTo>
                    <a:pt x="98" y="24"/>
                  </a:lnTo>
                  <a:lnTo>
                    <a:pt x="93" y="15"/>
                  </a:lnTo>
                  <a:lnTo>
                    <a:pt x="85" y="10"/>
                  </a:lnTo>
                  <a:lnTo>
                    <a:pt x="81" y="8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67" y="6"/>
                  </a:lnTo>
                  <a:lnTo>
                    <a:pt x="61" y="11"/>
                  </a:lnTo>
                  <a:lnTo>
                    <a:pt x="54" y="23"/>
                  </a:lnTo>
                  <a:lnTo>
                    <a:pt x="48" y="34"/>
                  </a:lnTo>
                  <a:lnTo>
                    <a:pt x="45" y="45"/>
                  </a:lnTo>
                  <a:lnTo>
                    <a:pt x="43" y="56"/>
                  </a:lnTo>
                  <a:lnTo>
                    <a:pt x="43" y="67"/>
                  </a:lnTo>
                  <a:lnTo>
                    <a:pt x="46" y="76"/>
                  </a:lnTo>
                  <a:lnTo>
                    <a:pt x="54" y="84"/>
                  </a:lnTo>
                  <a:lnTo>
                    <a:pt x="65" y="84"/>
                  </a:lnTo>
                  <a:lnTo>
                    <a:pt x="74" y="82"/>
                  </a:lnTo>
                  <a:lnTo>
                    <a:pt x="80" y="91"/>
                  </a:lnTo>
                  <a:lnTo>
                    <a:pt x="85" y="100"/>
                  </a:lnTo>
                  <a:lnTo>
                    <a:pt x="93" y="100"/>
                  </a:lnTo>
                  <a:lnTo>
                    <a:pt x="100" y="98"/>
                  </a:lnTo>
                  <a:lnTo>
                    <a:pt x="109" y="104"/>
                  </a:lnTo>
                  <a:lnTo>
                    <a:pt x="120" y="108"/>
                  </a:lnTo>
                  <a:lnTo>
                    <a:pt x="128" y="106"/>
                  </a:lnTo>
                  <a:lnTo>
                    <a:pt x="133" y="104"/>
                  </a:lnTo>
                  <a:lnTo>
                    <a:pt x="137" y="102"/>
                  </a:lnTo>
                  <a:lnTo>
                    <a:pt x="141" y="102"/>
                  </a:lnTo>
                  <a:lnTo>
                    <a:pt x="144" y="102"/>
                  </a:lnTo>
                  <a:lnTo>
                    <a:pt x="148" y="104"/>
                  </a:lnTo>
                  <a:lnTo>
                    <a:pt x="152" y="111"/>
                  </a:lnTo>
                  <a:lnTo>
                    <a:pt x="152" y="115"/>
                  </a:lnTo>
                  <a:lnTo>
                    <a:pt x="150" y="119"/>
                  </a:lnTo>
                  <a:lnTo>
                    <a:pt x="146" y="120"/>
                  </a:lnTo>
                  <a:lnTo>
                    <a:pt x="137" y="122"/>
                  </a:lnTo>
                  <a:lnTo>
                    <a:pt x="131" y="126"/>
                  </a:lnTo>
                  <a:lnTo>
                    <a:pt x="128" y="137"/>
                  </a:lnTo>
                  <a:lnTo>
                    <a:pt x="124" y="146"/>
                  </a:lnTo>
                  <a:lnTo>
                    <a:pt x="115" y="143"/>
                  </a:lnTo>
                  <a:lnTo>
                    <a:pt x="104" y="137"/>
                  </a:lnTo>
                  <a:lnTo>
                    <a:pt x="87" y="133"/>
                  </a:lnTo>
                  <a:lnTo>
                    <a:pt x="74" y="133"/>
                  </a:lnTo>
                  <a:lnTo>
                    <a:pt x="70" y="143"/>
                  </a:lnTo>
                  <a:lnTo>
                    <a:pt x="65" y="159"/>
                  </a:lnTo>
                  <a:lnTo>
                    <a:pt x="48" y="181"/>
                  </a:lnTo>
                  <a:lnTo>
                    <a:pt x="28" y="209"/>
                  </a:lnTo>
                  <a:lnTo>
                    <a:pt x="21" y="217"/>
                  </a:lnTo>
                  <a:lnTo>
                    <a:pt x="13" y="224"/>
                  </a:lnTo>
                  <a:lnTo>
                    <a:pt x="8" y="228"/>
                  </a:lnTo>
                  <a:lnTo>
                    <a:pt x="6" y="235"/>
                  </a:lnTo>
                  <a:lnTo>
                    <a:pt x="2" y="246"/>
                  </a:lnTo>
                  <a:lnTo>
                    <a:pt x="0" y="259"/>
                  </a:lnTo>
                  <a:lnTo>
                    <a:pt x="2" y="266"/>
                  </a:lnTo>
                  <a:lnTo>
                    <a:pt x="4" y="268"/>
                  </a:lnTo>
                  <a:lnTo>
                    <a:pt x="8" y="268"/>
                  </a:lnTo>
                  <a:lnTo>
                    <a:pt x="13" y="266"/>
                  </a:lnTo>
                  <a:lnTo>
                    <a:pt x="19" y="263"/>
                  </a:lnTo>
                  <a:lnTo>
                    <a:pt x="24" y="263"/>
                  </a:lnTo>
                  <a:lnTo>
                    <a:pt x="30" y="266"/>
                  </a:lnTo>
                  <a:lnTo>
                    <a:pt x="35" y="272"/>
                  </a:lnTo>
                  <a:lnTo>
                    <a:pt x="39" y="278"/>
                  </a:lnTo>
                  <a:lnTo>
                    <a:pt x="45" y="283"/>
                  </a:lnTo>
                  <a:lnTo>
                    <a:pt x="48" y="289"/>
                  </a:lnTo>
                  <a:lnTo>
                    <a:pt x="48" y="296"/>
                  </a:lnTo>
                  <a:lnTo>
                    <a:pt x="37" y="305"/>
                  </a:lnTo>
                  <a:lnTo>
                    <a:pt x="30" y="311"/>
                  </a:lnTo>
                  <a:lnTo>
                    <a:pt x="30" y="31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1" name="Freeform 47"/>
            <p:cNvSpPr>
              <a:spLocks/>
            </p:cNvSpPr>
            <p:nvPr/>
          </p:nvSpPr>
          <p:spPr bwMode="auto">
            <a:xfrm>
              <a:off x="4014288" y="2447223"/>
              <a:ext cx="214457" cy="256487"/>
            </a:xfrm>
            <a:custGeom>
              <a:avLst/>
              <a:gdLst>
                <a:gd name="T0" fmla="*/ 1 w 411"/>
                <a:gd name="T1" fmla="*/ 137 h 504"/>
                <a:gd name="T2" fmla="*/ 3 w 411"/>
                <a:gd name="T3" fmla="*/ 152 h 504"/>
                <a:gd name="T4" fmla="*/ 18 w 411"/>
                <a:gd name="T5" fmla="*/ 153 h 504"/>
                <a:gd name="T6" fmla="*/ 44 w 411"/>
                <a:gd name="T7" fmla="*/ 152 h 504"/>
                <a:gd name="T8" fmla="*/ 55 w 411"/>
                <a:gd name="T9" fmla="*/ 164 h 504"/>
                <a:gd name="T10" fmla="*/ 66 w 411"/>
                <a:gd name="T11" fmla="*/ 201 h 504"/>
                <a:gd name="T12" fmla="*/ 84 w 411"/>
                <a:gd name="T13" fmla="*/ 275 h 504"/>
                <a:gd name="T14" fmla="*/ 77 w 411"/>
                <a:gd name="T15" fmla="*/ 303 h 504"/>
                <a:gd name="T16" fmla="*/ 94 w 411"/>
                <a:gd name="T17" fmla="*/ 309 h 504"/>
                <a:gd name="T18" fmla="*/ 108 w 411"/>
                <a:gd name="T19" fmla="*/ 279 h 504"/>
                <a:gd name="T20" fmla="*/ 120 w 411"/>
                <a:gd name="T21" fmla="*/ 290 h 504"/>
                <a:gd name="T22" fmla="*/ 114 w 411"/>
                <a:gd name="T23" fmla="*/ 329 h 504"/>
                <a:gd name="T24" fmla="*/ 136 w 411"/>
                <a:gd name="T25" fmla="*/ 349 h 504"/>
                <a:gd name="T26" fmla="*/ 203 w 411"/>
                <a:gd name="T27" fmla="*/ 351 h 504"/>
                <a:gd name="T28" fmla="*/ 217 w 411"/>
                <a:gd name="T29" fmla="*/ 379 h 504"/>
                <a:gd name="T30" fmla="*/ 251 w 411"/>
                <a:gd name="T31" fmla="*/ 383 h 504"/>
                <a:gd name="T32" fmla="*/ 267 w 411"/>
                <a:gd name="T33" fmla="*/ 419 h 504"/>
                <a:gd name="T34" fmla="*/ 293 w 411"/>
                <a:gd name="T35" fmla="*/ 466 h 504"/>
                <a:gd name="T36" fmla="*/ 312 w 411"/>
                <a:gd name="T37" fmla="*/ 466 h 504"/>
                <a:gd name="T38" fmla="*/ 349 w 411"/>
                <a:gd name="T39" fmla="*/ 497 h 504"/>
                <a:gd name="T40" fmla="*/ 391 w 411"/>
                <a:gd name="T41" fmla="*/ 501 h 504"/>
                <a:gd name="T42" fmla="*/ 411 w 411"/>
                <a:gd name="T43" fmla="*/ 484 h 504"/>
                <a:gd name="T44" fmla="*/ 391 w 411"/>
                <a:gd name="T45" fmla="*/ 432 h 504"/>
                <a:gd name="T46" fmla="*/ 384 w 411"/>
                <a:gd name="T47" fmla="*/ 379 h 504"/>
                <a:gd name="T48" fmla="*/ 399 w 411"/>
                <a:gd name="T49" fmla="*/ 351 h 504"/>
                <a:gd name="T50" fmla="*/ 378 w 411"/>
                <a:gd name="T51" fmla="*/ 331 h 504"/>
                <a:gd name="T52" fmla="*/ 358 w 411"/>
                <a:gd name="T53" fmla="*/ 336 h 504"/>
                <a:gd name="T54" fmla="*/ 354 w 411"/>
                <a:gd name="T55" fmla="*/ 323 h 504"/>
                <a:gd name="T56" fmla="*/ 326 w 411"/>
                <a:gd name="T57" fmla="*/ 331 h 504"/>
                <a:gd name="T58" fmla="*/ 314 w 411"/>
                <a:gd name="T59" fmla="*/ 346 h 504"/>
                <a:gd name="T60" fmla="*/ 299 w 411"/>
                <a:gd name="T61" fmla="*/ 333 h 504"/>
                <a:gd name="T62" fmla="*/ 280 w 411"/>
                <a:gd name="T63" fmla="*/ 327 h 504"/>
                <a:gd name="T64" fmla="*/ 249 w 411"/>
                <a:gd name="T65" fmla="*/ 309 h 504"/>
                <a:gd name="T66" fmla="*/ 229 w 411"/>
                <a:gd name="T67" fmla="*/ 318 h 504"/>
                <a:gd name="T68" fmla="*/ 247 w 411"/>
                <a:gd name="T69" fmla="*/ 283 h 504"/>
                <a:gd name="T70" fmla="*/ 253 w 411"/>
                <a:gd name="T71" fmla="*/ 246 h 504"/>
                <a:gd name="T72" fmla="*/ 256 w 411"/>
                <a:gd name="T73" fmla="*/ 224 h 504"/>
                <a:gd name="T74" fmla="*/ 219 w 411"/>
                <a:gd name="T75" fmla="*/ 225 h 504"/>
                <a:gd name="T76" fmla="*/ 212 w 411"/>
                <a:gd name="T77" fmla="*/ 203 h 504"/>
                <a:gd name="T78" fmla="*/ 223 w 411"/>
                <a:gd name="T79" fmla="*/ 185 h 504"/>
                <a:gd name="T80" fmla="*/ 229 w 411"/>
                <a:gd name="T81" fmla="*/ 133 h 504"/>
                <a:gd name="T82" fmla="*/ 219 w 411"/>
                <a:gd name="T83" fmla="*/ 68 h 504"/>
                <a:gd name="T84" fmla="*/ 217 w 411"/>
                <a:gd name="T85" fmla="*/ 33 h 504"/>
                <a:gd name="T86" fmla="*/ 212 w 411"/>
                <a:gd name="T87" fmla="*/ 15 h 504"/>
                <a:gd name="T88" fmla="*/ 181 w 411"/>
                <a:gd name="T89" fmla="*/ 22 h 504"/>
                <a:gd name="T90" fmla="*/ 136 w 411"/>
                <a:gd name="T91" fmla="*/ 68 h 504"/>
                <a:gd name="T92" fmla="*/ 81 w 411"/>
                <a:gd name="T93" fmla="*/ 85 h 504"/>
                <a:gd name="T94" fmla="*/ 60 w 411"/>
                <a:gd name="T95" fmla="*/ 89 h 504"/>
                <a:gd name="T96" fmla="*/ 42 w 411"/>
                <a:gd name="T97" fmla="*/ 105 h 5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11"/>
                <a:gd name="T148" fmla="*/ 0 h 504"/>
                <a:gd name="T149" fmla="*/ 411 w 411"/>
                <a:gd name="T150" fmla="*/ 504 h 5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11" h="504">
                  <a:moveTo>
                    <a:pt x="1" y="113"/>
                  </a:moveTo>
                  <a:lnTo>
                    <a:pt x="3" y="120"/>
                  </a:lnTo>
                  <a:lnTo>
                    <a:pt x="3" y="129"/>
                  </a:lnTo>
                  <a:lnTo>
                    <a:pt x="1" y="137"/>
                  </a:lnTo>
                  <a:lnTo>
                    <a:pt x="0" y="144"/>
                  </a:lnTo>
                  <a:lnTo>
                    <a:pt x="0" y="146"/>
                  </a:lnTo>
                  <a:lnTo>
                    <a:pt x="1" y="150"/>
                  </a:lnTo>
                  <a:lnTo>
                    <a:pt x="3" y="152"/>
                  </a:lnTo>
                  <a:lnTo>
                    <a:pt x="7" y="153"/>
                  </a:lnTo>
                  <a:lnTo>
                    <a:pt x="11" y="155"/>
                  </a:lnTo>
                  <a:lnTo>
                    <a:pt x="14" y="155"/>
                  </a:lnTo>
                  <a:lnTo>
                    <a:pt x="18" y="153"/>
                  </a:lnTo>
                  <a:lnTo>
                    <a:pt x="22" y="152"/>
                  </a:lnTo>
                  <a:lnTo>
                    <a:pt x="31" y="150"/>
                  </a:lnTo>
                  <a:lnTo>
                    <a:pt x="38" y="150"/>
                  </a:lnTo>
                  <a:lnTo>
                    <a:pt x="44" y="152"/>
                  </a:lnTo>
                  <a:lnTo>
                    <a:pt x="49" y="153"/>
                  </a:lnTo>
                  <a:lnTo>
                    <a:pt x="53" y="155"/>
                  </a:lnTo>
                  <a:lnTo>
                    <a:pt x="55" y="159"/>
                  </a:lnTo>
                  <a:lnTo>
                    <a:pt x="55" y="164"/>
                  </a:lnTo>
                  <a:lnTo>
                    <a:pt x="53" y="170"/>
                  </a:lnTo>
                  <a:lnTo>
                    <a:pt x="49" y="181"/>
                  </a:lnTo>
                  <a:lnTo>
                    <a:pt x="48" y="190"/>
                  </a:lnTo>
                  <a:lnTo>
                    <a:pt x="66" y="201"/>
                  </a:lnTo>
                  <a:lnTo>
                    <a:pt x="84" y="213"/>
                  </a:lnTo>
                  <a:lnTo>
                    <a:pt x="84" y="238"/>
                  </a:lnTo>
                  <a:lnTo>
                    <a:pt x="86" y="264"/>
                  </a:lnTo>
                  <a:lnTo>
                    <a:pt x="84" y="275"/>
                  </a:lnTo>
                  <a:lnTo>
                    <a:pt x="79" y="285"/>
                  </a:lnTo>
                  <a:lnTo>
                    <a:pt x="77" y="290"/>
                  </a:lnTo>
                  <a:lnTo>
                    <a:pt x="77" y="296"/>
                  </a:lnTo>
                  <a:lnTo>
                    <a:pt x="77" y="303"/>
                  </a:lnTo>
                  <a:lnTo>
                    <a:pt x="83" y="309"/>
                  </a:lnTo>
                  <a:lnTo>
                    <a:pt x="86" y="312"/>
                  </a:lnTo>
                  <a:lnTo>
                    <a:pt x="90" y="312"/>
                  </a:lnTo>
                  <a:lnTo>
                    <a:pt x="94" y="309"/>
                  </a:lnTo>
                  <a:lnTo>
                    <a:pt x="97" y="305"/>
                  </a:lnTo>
                  <a:lnTo>
                    <a:pt x="101" y="292"/>
                  </a:lnTo>
                  <a:lnTo>
                    <a:pt x="105" y="281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2" y="279"/>
                  </a:lnTo>
                  <a:lnTo>
                    <a:pt x="116" y="281"/>
                  </a:lnTo>
                  <a:lnTo>
                    <a:pt x="120" y="290"/>
                  </a:lnTo>
                  <a:lnTo>
                    <a:pt x="120" y="301"/>
                  </a:lnTo>
                  <a:lnTo>
                    <a:pt x="118" y="312"/>
                  </a:lnTo>
                  <a:lnTo>
                    <a:pt x="116" y="322"/>
                  </a:lnTo>
                  <a:lnTo>
                    <a:pt x="114" y="329"/>
                  </a:lnTo>
                  <a:lnTo>
                    <a:pt x="116" y="333"/>
                  </a:lnTo>
                  <a:lnTo>
                    <a:pt x="120" y="338"/>
                  </a:lnTo>
                  <a:lnTo>
                    <a:pt x="123" y="342"/>
                  </a:lnTo>
                  <a:lnTo>
                    <a:pt x="136" y="349"/>
                  </a:lnTo>
                  <a:lnTo>
                    <a:pt x="153" y="353"/>
                  </a:lnTo>
                  <a:lnTo>
                    <a:pt x="173" y="353"/>
                  </a:lnTo>
                  <a:lnTo>
                    <a:pt x="193" y="349"/>
                  </a:lnTo>
                  <a:lnTo>
                    <a:pt x="203" y="351"/>
                  </a:lnTo>
                  <a:lnTo>
                    <a:pt x="208" y="355"/>
                  </a:lnTo>
                  <a:lnTo>
                    <a:pt x="212" y="360"/>
                  </a:lnTo>
                  <a:lnTo>
                    <a:pt x="216" y="368"/>
                  </a:lnTo>
                  <a:lnTo>
                    <a:pt x="217" y="379"/>
                  </a:lnTo>
                  <a:lnTo>
                    <a:pt x="223" y="388"/>
                  </a:lnTo>
                  <a:lnTo>
                    <a:pt x="232" y="388"/>
                  </a:lnTo>
                  <a:lnTo>
                    <a:pt x="245" y="384"/>
                  </a:lnTo>
                  <a:lnTo>
                    <a:pt x="251" y="383"/>
                  </a:lnTo>
                  <a:lnTo>
                    <a:pt x="256" y="384"/>
                  </a:lnTo>
                  <a:lnTo>
                    <a:pt x="262" y="388"/>
                  </a:lnTo>
                  <a:lnTo>
                    <a:pt x="267" y="397"/>
                  </a:lnTo>
                  <a:lnTo>
                    <a:pt x="267" y="419"/>
                  </a:lnTo>
                  <a:lnTo>
                    <a:pt x="271" y="440"/>
                  </a:lnTo>
                  <a:lnTo>
                    <a:pt x="282" y="451"/>
                  </a:lnTo>
                  <a:lnTo>
                    <a:pt x="293" y="460"/>
                  </a:lnTo>
                  <a:lnTo>
                    <a:pt x="293" y="466"/>
                  </a:lnTo>
                  <a:lnTo>
                    <a:pt x="293" y="468"/>
                  </a:lnTo>
                  <a:lnTo>
                    <a:pt x="297" y="469"/>
                  </a:lnTo>
                  <a:lnTo>
                    <a:pt x="301" y="469"/>
                  </a:lnTo>
                  <a:lnTo>
                    <a:pt x="312" y="466"/>
                  </a:lnTo>
                  <a:lnTo>
                    <a:pt x="325" y="460"/>
                  </a:lnTo>
                  <a:lnTo>
                    <a:pt x="332" y="477"/>
                  </a:lnTo>
                  <a:lnTo>
                    <a:pt x="339" y="488"/>
                  </a:lnTo>
                  <a:lnTo>
                    <a:pt x="349" y="497"/>
                  </a:lnTo>
                  <a:lnTo>
                    <a:pt x="358" y="503"/>
                  </a:lnTo>
                  <a:lnTo>
                    <a:pt x="369" y="504"/>
                  </a:lnTo>
                  <a:lnTo>
                    <a:pt x="380" y="504"/>
                  </a:lnTo>
                  <a:lnTo>
                    <a:pt x="391" y="501"/>
                  </a:lnTo>
                  <a:lnTo>
                    <a:pt x="402" y="495"/>
                  </a:lnTo>
                  <a:lnTo>
                    <a:pt x="408" y="492"/>
                  </a:lnTo>
                  <a:lnTo>
                    <a:pt x="410" y="488"/>
                  </a:lnTo>
                  <a:lnTo>
                    <a:pt x="411" y="484"/>
                  </a:lnTo>
                  <a:lnTo>
                    <a:pt x="411" y="480"/>
                  </a:lnTo>
                  <a:lnTo>
                    <a:pt x="406" y="469"/>
                  </a:lnTo>
                  <a:lnTo>
                    <a:pt x="393" y="449"/>
                  </a:lnTo>
                  <a:lnTo>
                    <a:pt x="391" y="432"/>
                  </a:lnTo>
                  <a:lnTo>
                    <a:pt x="389" y="416"/>
                  </a:lnTo>
                  <a:lnTo>
                    <a:pt x="386" y="399"/>
                  </a:lnTo>
                  <a:lnTo>
                    <a:pt x="384" y="383"/>
                  </a:lnTo>
                  <a:lnTo>
                    <a:pt x="384" y="379"/>
                  </a:lnTo>
                  <a:lnTo>
                    <a:pt x="391" y="373"/>
                  </a:lnTo>
                  <a:lnTo>
                    <a:pt x="402" y="364"/>
                  </a:lnTo>
                  <a:lnTo>
                    <a:pt x="402" y="357"/>
                  </a:lnTo>
                  <a:lnTo>
                    <a:pt x="399" y="351"/>
                  </a:lnTo>
                  <a:lnTo>
                    <a:pt x="393" y="346"/>
                  </a:lnTo>
                  <a:lnTo>
                    <a:pt x="389" y="340"/>
                  </a:lnTo>
                  <a:lnTo>
                    <a:pt x="384" y="334"/>
                  </a:lnTo>
                  <a:lnTo>
                    <a:pt x="378" y="331"/>
                  </a:lnTo>
                  <a:lnTo>
                    <a:pt x="373" y="331"/>
                  </a:lnTo>
                  <a:lnTo>
                    <a:pt x="367" y="334"/>
                  </a:lnTo>
                  <a:lnTo>
                    <a:pt x="362" y="336"/>
                  </a:lnTo>
                  <a:lnTo>
                    <a:pt x="358" y="336"/>
                  </a:lnTo>
                  <a:lnTo>
                    <a:pt x="356" y="334"/>
                  </a:lnTo>
                  <a:lnTo>
                    <a:pt x="354" y="327"/>
                  </a:lnTo>
                  <a:lnTo>
                    <a:pt x="354" y="325"/>
                  </a:lnTo>
                  <a:lnTo>
                    <a:pt x="354" y="323"/>
                  </a:lnTo>
                  <a:lnTo>
                    <a:pt x="345" y="322"/>
                  </a:lnTo>
                  <a:lnTo>
                    <a:pt x="334" y="323"/>
                  </a:lnTo>
                  <a:lnTo>
                    <a:pt x="328" y="327"/>
                  </a:lnTo>
                  <a:lnTo>
                    <a:pt x="326" y="331"/>
                  </a:lnTo>
                  <a:lnTo>
                    <a:pt x="323" y="334"/>
                  </a:lnTo>
                  <a:lnTo>
                    <a:pt x="321" y="338"/>
                  </a:lnTo>
                  <a:lnTo>
                    <a:pt x="317" y="342"/>
                  </a:lnTo>
                  <a:lnTo>
                    <a:pt x="314" y="346"/>
                  </a:lnTo>
                  <a:lnTo>
                    <a:pt x="306" y="347"/>
                  </a:lnTo>
                  <a:lnTo>
                    <a:pt x="297" y="347"/>
                  </a:lnTo>
                  <a:lnTo>
                    <a:pt x="297" y="340"/>
                  </a:lnTo>
                  <a:lnTo>
                    <a:pt x="299" y="333"/>
                  </a:lnTo>
                  <a:lnTo>
                    <a:pt x="295" y="331"/>
                  </a:lnTo>
                  <a:lnTo>
                    <a:pt x="291" y="329"/>
                  </a:lnTo>
                  <a:lnTo>
                    <a:pt x="286" y="329"/>
                  </a:lnTo>
                  <a:lnTo>
                    <a:pt x="280" y="327"/>
                  </a:lnTo>
                  <a:lnTo>
                    <a:pt x="267" y="327"/>
                  </a:lnTo>
                  <a:lnTo>
                    <a:pt x="254" y="325"/>
                  </a:lnTo>
                  <a:lnTo>
                    <a:pt x="251" y="314"/>
                  </a:lnTo>
                  <a:lnTo>
                    <a:pt x="249" y="309"/>
                  </a:lnTo>
                  <a:lnTo>
                    <a:pt x="243" y="310"/>
                  </a:lnTo>
                  <a:lnTo>
                    <a:pt x="236" y="314"/>
                  </a:lnTo>
                  <a:lnTo>
                    <a:pt x="232" y="316"/>
                  </a:lnTo>
                  <a:lnTo>
                    <a:pt x="229" y="318"/>
                  </a:lnTo>
                  <a:lnTo>
                    <a:pt x="225" y="316"/>
                  </a:lnTo>
                  <a:lnTo>
                    <a:pt x="221" y="314"/>
                  </a:lnTo>
                  <a:lnTo>
                    <a:pt x="232" y="298"/>
                  </a:lnTo>
                  <a:lnTo>
                    <a:pt x="247" y="283"/>
                  </a:lnTo>
                  <a:lnTo>
                    <a:pt x="242" y="272"/>
                  </a:lnTo>
                  <a:lnTo>
                    <a:pt x="238" y="264"/>
                  </a:lnTo>
                  <a:lnTo>
                    <a:pt x="245" y="253"/>
                  </a:lnTo>
                  <a:lnTo>
                    <a:pt x="253" y="246"/>
                  </a:lnTo>
                  <a:lnTo>
                    <a:pt x="256" y="242"/>
                  </a:lnTo>
                  <a:lnTo>
                    <a:pt x="258" y="237"/>
                  </a:lnTo>
                  <a:lnTo>
                    <a:pt x="258" y="231"/>
                  </a:lnTo>
                  <a:lnTo>
                    <a:pt x="256" y="224"/>
                  </a:lnTo>
                  <a:lnTo>
                    <a:pt x="243" y="225"/>
                  </a:lnTo>
                  <a:lnTo>
                    <a:pt x="227" y="229"/>
                  </a:lnTo>
                  <a:lnTo>
                    <a:pt x="223" y="229"/>
                  </a:lnTo>
                  <a:lnTo>
                    <a:pt x="219" y="225"/>
                  </a:lnTo>
                  <a:lnTo>
                    <a:pt x="216" y="222"/>
                  </a:lnTo>
                  <a:lnTo>
                    <a:pt x="214" y="214"/>
                  </a:lnTo>
                  <a:lnTo>
                    <a:pt x="212" y="209"/>
                  </a:lnTo>
                  <a:lnTo>
                    <a:pt x="212" y="203"/>
                  </a:lnTo>
                  <a:lnTo>
                    <a:pt x="212" y="196"/>
                  </a:lnTo>
                  <a:lnTo>
                    <a:pt x="214" y="192"/>
                  </a:lnTo>
                  <a:lnTo>
                    <a:pt x="221" y="188"/>
                  </a:lnTo>
                  <a:lnTo>
                    <a:pt x="223" y="185"/>
                  </a:lnTo>
                  <a:lnTo>
                    <a:pt x="221" y="181"/>
                  </a:lnTo>
                  <a:lnTo>
                    <a:pt x="219" y="170"/>
                  </a:lnTo>
                  <a:lnTo>
                    <a:pt x="225" y="153"/>
                  </a:lnTo>
                  <a:lnTo>
                    <a:pt x="229" y="133"/>
                  </a:lnTo>
                  <a:lnTo>
                    <a:pt x="221" y="118"/>
                  </a:lnTo>
                  <a:lnTo>
                    <a:pt x="210" y="103"/>
                  </a:lnTo>
                  <a:lnTo>
                    <a:pt x="214" y="85"/>
                  </a:lnTo>
                  <a:lnTo>
                    <a:pt x="219" y="68"/>
                  </a:lnTo>
                  <a:lnTo>
                    <a:pt x="227" y="55"/>
                  </a:lnTo>
                  <a:lnTo>
                    <a:pt x="234" y="41"/>
                  </a:lnTo>
                  <a:lnTo>
                    <a:pt x="225" y="39"/>
                  </a:lnTo>
                  <a:lnTo>
                    <a:pt x="217" y="33"/>
                  </a:lnTo>
                  <a:lnTo>
                    <a:pt x="219" y="28"/>
                  </a:lnTo>
                  <a:lnTo>
                    <a:pt x="225" y="22"/>
                  </a:lnTo>
                  <a:lnTo>
                    <a:pt x="219" y="18"/>
                  </a:lnTo>
                  <a:lnTo>
                    <a:pt x="212" y="15"/>
                  </a:lnTo>
                  <a:lnTo>
                    <a:pt x="205" y="7"/>
                  </a:lnTo>
                  <a:lnTo>
                    <a:pt x="199" y="0"/>
                  </a:lnTo>
                  <a:lnTo>
                    <a:pt x="188" y="11"/>
                  </a:lnTo>
                  <a:lnTo>
                    <a:pt x="181" y="22"/>
                  </a:lnTo>
                  <a:lnTo>
                    <a:pt x="162" y="31"/>
                  </a:lnTo>
                  <a:lnTo>
                    <a:pt x="147" y="39"/>
                  </a:lnTo>
                  <a:lnTo>
                    <a:pt x="144" y="52"/>
                  </a:lnTo>
                  <a:lnTo>
                    <a:pt x="136" y="68"/>
                  </a:lnTo>
                  <a:lnTo>
                    <a:pt x="125" y="67"/>
                  </a:lnTo>
                  <a:lnTo>
                    <a:pt x="108" y="67"/>
                  </a:lnTo>
                  <a:lnTo>
                    <a:pt x="94" y="76"/>
                  </a:lnTo>
                  <a:lnTo>
                    <a:pt x="81" y="85"/>
                  </a:lnTo>
                  <a:lnTo>
                    <a:pt x="70" y="79"/>
                  </a:lnTo>
                  <a:lnTo>
                    <a:pt x="64" y="76"/>
                  </a:lnTo>
                  <a:lnTo>
                    <a:pt x="62" y="81"/>
                  </a:lnTo>
                  <a:lnTo>
                    <a:pt x="60" y="89"/>
                  </a:lnTo>
                  <a:lnTo>
                    <a:pt x="59" y="94"/>
                  </a:lnTo>
                  <a:lnTo>
                    <a:pt x="55" y="100"/>
                  </a:lnTo>
                  <a:lnTo>
                    <a:pt x="49" y="103"/>
                  </a:lnTo>
                  <a:lnTo>
                    <a:pt x="42" y="105"/>
                  </a:lnTo>
                  <a:lnTo>
                    <a:pt x="22" y="111"/>
                  </a:lnTo>
                  <a:lnTo>
                    <a:pt x="1" y="11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2" name="Freeform 48"/>
            <p:cNvSpPr>
              <a:spLocks/>
            </p:cNvSpPr>
            <p:nvPr/>
          </p:nvSpPr>
          <p:spPr bwMode="auto">
            <a:xfrm>
              <a:off x="4212569" y="1693030"/>
              <a:ext cx="153407" cy="223917"/>
            </a:xfrm>
            <a:custGeom>
              <a:avLst/>
              <a:gdLst>
                <a:gd name="T0" fmla="*/ 72 w 294"/>
                <a:gd name="T1" fmla="*/ 216 h 440"/>
                <a:gd name="T2" fmla="*/ 87 w 294"/>
                <a:gd name="T3" fmla="*/ 187 h 440"/>
                <a:gd name="T4" fmla="*/ 85 w 294"/>
                <a:gd name="T5" fmla="*/ 229 h 440"/>
                <a:gd name="T6" fmla="*/ 89 w 294"/>
                <a:gd name="T7" fmla="*/ 251 h 440"/>
                <a:gd name="T8" fmla="*/ 96 w 294"/>
                <a:gd name="T9" fmla="*/ 255 h 440"/>
                <a:gd name="T10" fmla="*/ 94 w 294"/>
                <a:gd name="T11" fmla="*/ 277 h 440"/>
                <a:gd name="T12" fmla="*/ 92 w 294"/>
                <a:gd name="T13" fmla="*/ 301 h 440"/>
                <a:gd name="T14" fmla="*/ 118 w 294"/>
                <a:gd name="T15" fmla="*/ 373 h 440"/>
                <a:gd name="T16" fmla="*/ 146 w 294"/>
                <a:gd name="T17" fmla="*/ 418 h 440"/>
                <a:gd name="T18" fmla="*/ 164 w 294"/>
                <a:gd name="T19" fmla="*/ 432 h 440"/>
                <a:gd name="T20" fmla="*/ 188 w 294"/>
                <a:gd name="T21" fmla="*/ 440 h 440"/>
                <a:gd name="T22" fmla="*/ 225 w 294"/>
                <a:gd name="T23" fmla="*/ 436 h 440"/>
                <a:gd name="T24" fmla="*/ 266 w 294"/>
                <a:gd name="T25" fmla="*/ 425 h 440"/>
                <a:gd name="T26" fmla="*/ 277 w 294"/>
                <a:gd name="T27" fmla="*/ 399 h 440"/>
                <a:gd name="T28" fmla="*/ 290 w 294"/>
                <a:gd name="T29" fmla="*/ 342 h 440"/>
                <a:gd name="T30" fmla="*/ 288 w 294"/>
                <a:gd name="T31" fmla="*/ 285 h 440"/>
                <a:gd name="T32" fmla="*/ 288 w 294"/>
                <a:gd name="T33" fmla="*/ 214 h 440"/>
                <a:gd name="T34" fmla="*/ 285 w 294"/>
                <a:gd name="T35" fmla="*/ 166 h 440"/>
                <a:gd name="T36" fmla="*/ 270 w 294"/>
                <a:gd name="T37" fmla="*/ 133 h 440"/>
                <a:gd name="T38" fmla="*/ 253 w 294"/>
                <a:gd name="T39" fmla="*/ 124 h 440"/>
                <a:gd name="T40" fmla="*/ 259 w 294"/>
                <a:gd name="T41" fmla="*/ 118 h 440"/>
                <a:gd name="T42" fmla="*/ 261 w 294"/>
                <a:gd name="T43" fmla="*/ 102 h 440"/>
                <a:gd name="T44" fmla="*/ 253 w 294"/>
                <a:gd name="T45" fmla="*/ 81 h 440"/>
                <a:gd name="T46" fmla="*/ 264 w 294"/>
                <a:gd name="T47" fmla="*/ 85 h 440"/>
                <a:gd name="T48" fmla="*/ 272 w 294"/>
                <a:gd name="T49" fmla="*/ 94 h 440"/>
                <a:gd name="T50" fmla="*/ 281 w 294"/>
                <a:gd name="T51" fmla="*/ 87 h 440"/>
                <a:gd name="T52" fmla="*/ 283 w 294"/>
                <a:gd name="T53" fmla="*/ 67 h 440"/>
                <a:gd name="T54" fmla="*/ 275 w 294"/>
                <a:gd name="T55" fmla="*/ 55 h 440"/>
                <a:gd name="T56" fmla="*/ 255 w 294"/>
                <a:gd name="T57" fmla="*/ 54 h 440"/>
                <a:gd name="T58" fmla="*/ 251 w 294"/>
                <a:gd name="T59" fmla="*/ 35 h 440"/>
                <a:gd name="T60" fmla="*/ 231 w 294"/>
                <a:gd name="T61" fmla="*/ 35 h 440"/>
                <a:gd name="T62" fmla="*/ 192 w 294"/>
                <a:gd name="T63" fmla="*/ 7 h 440"/>
                <a:gd name="T64" fmla="*/ 176 w 294"/>
                <a:gd name="T65" fmla="*/ 0 h 440"/>
                <a:gd name="T66" fmla="*/ 135 w 294"/>
                <a:gd name="T67" fmla="*/ 15 h 440"/>
                <a:gd name="T68" fmla="*/ 109 w 294"/>
                <a:gd name="T69" fmla="*/ 20 h 440"/>
                <a:gd name="T70" fmla="*/ 103 w 294"/>
                <a:gd name="T71" fmla="*/ 44 h 440"/>
                <a:gd name="T72" fmla="*/ 89 w 294"/>
                <a:gd name="T73" fmla="*/ 89 h 440"/>
                <a:gd name="T74" fmla="*/ 76 w 294"/>
                <a:gd name="T75" fmla="*/ 98 h 440"/>
                <a:gd name="T76" fmla="*/ 22 w 294"/>
                <a:gd name="T77" fmla="*/ 98 h 440"/>
                <a:gd name="T78" fmla="*/ 11 w 294"/>
                <a:gd name="T79" fmla="*/ 128 h 440"/>
                <a:gd name="T80" fmla="*/ 44 w 294"/>
                <a:gd name="T81" fmla="*/ 187 h 440"/>
                <a:gd name="T82" fmla="*/ 31 w 294"/>
                <a:gd name="T83" fmla="*/ 196 h 440"/>
                <a:gd name="T84" fmla="*/ 28 w 294"/>
                <a:gd name="T85" fmla="*/ 214 h 440"/>
                <a:gd name="T86" fmla="*/ 43 w 294"/>
                <a:gd name="T87" fmla="*/ 222 h 440"/>
                <a:gd name="T88" fmla="*/ 72 w 294"/>
                <a:gd name="T89" fmla="*/ 224 h 44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94"/>
                <a:gd name="T136" fmla="*/ 0 h 440"/>
                <a:gd name="T137" fmla="*/ 294 w 294"/>
                <a:gd name="T138" fmla="*/ 440 h 44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94" h="440">
                  <a:moveTo>
                    <a:pt x="72" y="224"/>
                  </a:moveTo>
                  <a:lnTo>
                    <a:pt x="72" y="220"/>
                  </a:lnTo>
                  <a:lnTo>
                    <a:pt x="72" y="216"/>
                  </a:lnTo>
                  <a:lnTo>
                    <a:pt x="78" y="201"/>
                  </a:lnTo>
                  <a:lnTo>
                    <a:pt x="81" y="192"/>
                  </a:lnTo>
                  <a:lnTo>
                    <a:pt x="87" y="187"/>
                  </a:lnTo>
                  <a:lnTo>
                    <a:pt x="91" y="185"/>
                  </a:lnTo>
                  <a:lnTo>
                    <a:pt x="89" y="207"/>
                  </a:lnTo>
                  <a:lnTo>
                    <a:pt x="85" y="229"/>
                  </a:lnTo>
                  <a:lnTo>
                    <a:pt x="87" y="238"/>
                  </a:lnTo>
                  <a:lnTo>
                    <a:pt x="87" y="248"/>
                  </a:lnTo>
                  <a:lnTo>
                    <a:pt x="89" y="251"/>
                  </a:lnTo>
                  <a:lnTo>
                    <a:pt x="91" y="255"/>
                  </a:lnTo>
                  <a:lnTo>
                    <a:pt x="92" y="257"/>
                  </a:lnTo>
                  <a:lnTo>
                    <a:pt x="96" y="255"/>
                  </a:lnTo>
                  <a:lnTo>
                    <a:pt x="94" y="264"/>
                  </a:lnTo>
                  <a:lnTo>
                    <a:pt x="91" y="272"/>
                  </a:lnTo>
                  <a:lnTo>
                    <a:pt x="94" y="277"/>
                  </a:lnTo>
                  <a:lnTo>
                    <a:pt x="94" y="285"/>
                  </a:lnTo>
                  <a:lnTo>
                    <a:pt x="94" y="292"/>
                  </a:lnTo>
                  <a:lnTo>
                    <a:pt x="92" y="301"/>
                  </a:lnTo>
                  <a:lnTo>
                    <a:pt x="102" y="323"/>
                  </a:lnTo>
                  <a:lnTo>
                    <a:pt x="113" y="357"/>
                  </a:lnTo>
                  <a:lnTo>
                    <a:pt x="118" y="373"/>
                  </a:lnTo>
                  <a:lnTo>
                    <a:pt x="126" y="390"/>
                  </a:lnTo>
                  <a:lnTo>
                    <a:pt x="135" y="405"/>
                  </a:lnTo>
                  <a:lnTo>
                    <a:pt x="146" y="418"/>
                  </a:lnTo>
                  <a:lnTo>
                    <a:pt x="152" y="423"/>
                  </a:lnTo>
                  <a:lnTo>
                    <a:pt x="159" y="429"/>
                  </a:lnTo>
                  <a:lnTo>
                    <a:pt x="164" y="432"/>
                  </a:lnTo>
                  <a:lnTo>
                    <a:pt x="172" y="436"/>
                  </a:lnTo>
                  <a:lnTo>
                    <a:pt x="181" y="438"/>
                  </a:lnTo>
                  <a:lnTo>
                    <a:pt x="188" y="440"/>
                  </a:lnTo>
                  <a:lnTo>
                    <a:pt x="198" y="438"/>
                  </a:lnTo>
                  <a:lnTo>
                    <a:pt x="209" y="438"/>
                  </a:lnTo>
                  <a:lnTo>
                    <a:pt x="225" y="436"/>
                  </a:lnTo>
                  <a:lnTo>
                    <a:pt x="240" y="434"/>
                  </a:lnTo>
                  <a:lnTo>
                    <a:pt x="251" y="431"/>
                  </a:lnTo>
                  <a:lnTo>
                    <a:pt x="266" y="425"/>
                  </a:lnTo>
                  <a:lnTo>
                    <a:pt x="270" y="416"/>
                  </a:lnTo>
                  <a:lnTo>
                    <a:pt x="272" y="405"/>
                  </a:lnTo>
                  <a:lnTo>
                    <a:pt x="277" y="399"/>
                  </a:lnTo>
                  <a:lnTo>
                    <a:pt x="285" y="392"/>
                  </a:lnTo>
                  <a:lnTo>
                    <a:pt x="288" y="366"/>
                  </a:lnTo>
                  <a:lnTo>
                    <a:pt x="290" y="342"/>
                  </a:lnTo>
                  <a:lnTo>
                    <a:pt x="286" y="329"/>
                  </a:lnTo>
                  <a:lnTo>
                    <a:pt x="283" y="316"/>
                  </a:lnTo>
                  <a:lnTo>
                    <a:pt x="288" y="285"/>
                  </a:lnTo>
                  <a:lnTo>
                    <a:pt x="290" y="261"/>
                  </a:lnTo>
                  <a:lnTo>
                    <a:pt x="288" y="238"/>
                  </a:lnTo>
                  <a:lnTo>
                    <a:pt x="288" y="214"/>
                  </a:lnTo>
                  <a:lnTo>
                    <a:pt x="294" y="200"/>
                  </a:lnTo>
                  <a:lnTo>
                    <a:pt x="294" y="185"/>
                  </a:lnTo>
                  <a:lnTo>
                    <a:pt x="285" y="166"/>
                  </a:lnTo>
                  <a:lnTo>
                    <a:pt x="273" y="146"/>
                  </a:lnTo>
                  <a:lnTo>
                    <a:pt x="272" y="140"/>
                  </a:lnTo>
                  <a:lnTo>
                    <a:pt x="270" y="133"/>
                  </a:lnTo>
                  <a:lnTo>
                    <a:pt x="266" y="129"/>
                  </a:lnTo>
                  <a:lnTo>
                    <a:pt x="261" y="128"/>
                  </a:lnTo>
                  <a:lnTo>
                    <a:pt x="253" y="124"/>
                  </a:lnTo>
                  <a:lnTo>
                    <a:pt x="242" y="124"/>
                  </a:lnTo>
                  <a:lnTo>
                    <a:pt x="249" y="120"/>
                  </a:lnTo>
                  <a:lnTo>
                    <a:pt x="259" y="118"/>
                  </a:lnTo>
                  <a:lnTo>
                    <a:pt x="264" y="113"/>
                  </a:lnTo>
                  <a:lnTo>
                    <a:pt x="268" y="109"/>
                  </a:lnTo>
                  <a:lnTo>
                    <a:pt x="261" y="102"/>
                  </a:lnTo>
                  <a:lnTo>
                    <a:pt x="255" y="94"/>
                  </a:lnTo>
                  <a:lnTo>
                    <a:pt x="253" y="87"/>
                  </a:lnTo>
                  <a:lnTo>
                    <a:pt x="253" y="81"/>
                  </a:lnTo>
                  <a:lnTo>
                    <a:pt x="257" y="78"/>
                  </a:lnTo>
                  <a:lnTo>
                    <a:pt x="261" y="74"/>
                  </a:lnTo>
                  <a:lnTo>
                    <a:pt x="264" y="85"/>
                  </a:lnTo>
                  <a:lnTo>
                    <a:pt x="268" y="91"/>
                  </a:lnTo>
                  <a:lnTo>
                    <a:pt x="270" y="92"/>
                  </a:lnTo>
                  <a:lnTo>
                    <a:pt x="272" y="94"/>
                  </a:lnTo>
                  <a:lnTo>
                    <a:pt x="275" y="94"/>
                  </a:lnTo>
                  <a:lnTo>
                    <a:pt x="277" y="92"/>
                  </a:lnTo>
                  <a:lnTo>
                    <a:pt x="281" y="87"/>
                  </a:lnTo>
                  <a:lnTo>
                    <a:pt x="283" y="80"/>
                  </a:lnTo>
                  <a:lnTo>
                    <a:pt x="283" y="74"/>
                  </a:lnTo>
                  <a:lnTo>
                    <a:pt x="283" y="67"/>
                  </a:lnTo>
                  <a:lnTo>
                    <a:pt x="281" y="61"/>
                  </a:lnTo>
                  <a:lnTo>
                    <a:pt x="279" y="57"/>
                  </a:lnTo>
                  <a:lnTo>
                    <a:pt x="275" y="55"/>
                  </a:lnTo>
                  <a:lnTo>
                    <a:pt x="272" y="54"/>
                  </a:lnTo>
                  <a:lnTo>
                    <a:pt x="264" y="52"/>
                  </a:lnTo>
                  <a:lnTo>
                    <a:pt x="255" y="54"/>
                  </a:lnTo>
                  <a:lnTo>
                    <a:pt x="257" y="43"/>
                  </a:lnTo>
                  <a:lnTo>
                    <a:pt x="259" y="31"/>
                  </a:lnTo>
                  <a:lnTo>
                    <a:pt x="251" y="35"/>
                  </a:lnTo>
                  <a:lnTo>
                    <a:pt x="244" y="37"/>
                  </a:lnTo>
                  <a:lnTo>
                    <a:pt x="237" y="37"/>
                  </a:lnTo>
                  <a:lnTo>
                    <a:pt x="231" y="35"/>
                  </a:lnTo>
                  <a:lnTo>
                    <a:pt x="214" y="26"/>
                  </a:lnTo>
                  <a:lnTo>
                    <a:pt x="200" y="13"/>
                  </a:lnTo>
                  <a:lnTo>
                    <a:pt x="192" y="7"/>
                  </a:lnTo>
                  <a:lnTo>
                    <a:pt x="187" y="4"/>
                  </a:lnTo>
                  <a:lnTo>
                    <a:pt x="181" y="0"/>
                  </a:lnTo>
                  <a:lnTo>
                    <a:pt x="176" y="0"/>
                  </a:lnTo>
                  <a:lnTo>
                    <a:pt x="163" y="7"/>
                  </a:lnTo>
                  <a:lnTo>
                    <a:pt x="152" y="15"/>
                  </a:lnTo>
                  <a:lnTo>
                    <a:pt x="135" y="15"/>
                  </a:lnTo>
                  <a:lnTo>
                    <a:pt x="116" y="17"/>
                  </a:lnTo>
                  <a:lnTo>
                    <a:pt x="113" y="19"/>
                  </a:lnTo>
                  <a:lnTo>
                    <a:pt x="109" y="20"/>
                  </a:lnTo>
                  <a:lnTo>
                    <a:pt x="107" y="26"/>
                  </a:lnTo>
                  <a:lnTo>
                    <a:pt x="107" y="30"/>
                  </a:lnTo>
                  <a:lnTo>
                    <a:pt x="103" y="44"/>
                  </a:lnTo>
                  <a:lnTo>
                    <a:pt x="100" y="65"/>
                  </a:lnTo>
                  <a:lnTo>
                    <a:pt x="96" y="80"/>
                  </a:lnTo>
                  <a:lnTo>
                    <a:pt x="89" y="89"/>
                  </a:lnTo>
                  <a:lnTo>
                    <a:pt x="85" y="92"/>
                  </a:lnTo>
                  <a:lnTo>
                    <a:pt x="79" y="96"/>
                  </a:lnTo>
                  <a:lnTo>
                    <a:pt x="76" y="98"/>
                  </a:lnTo>
                  <a:lnTo>
                    <a:pt x="68" y="98"/>
                  </a:lnTo>
                  <a:lnTo>
                    <a:pt x="46" y="98"/>
                  </a:lnTo>
                  <a:lnTo>
                    <a:pt x="22" y="98"/>
                  </a:lnTo>
                  <a:lnTo>
                    <a:pt x="9" y="104"/>
                  </a:lnTo>
                  <a:lnTo>
                    <a:pt x="0" y="111"/>
                  </a:lnTo>
                  <a:lnTo>
                    <a:pt x="11" y="128"/>
                  </a:lnTo>
                  <a:lnTo>
                    <a:pt x="24" y="150"/>
                  </a:lnTo>
                  <a:lnTo>
                    <a:pt x="37" y="170"/>
                  </a:lnTo>
                  <a:lnTo>
                    <a:pt x="44" y="187"/>
                  </a:lnTo>
                  <a:lnTo>
                    <a:pt x="41" y="189"/>
                  </a:lnTo>
                  <a:lnTo>
                    <a:pt x="35" y="192"/>
                  </a:lnTo>
                  <a:lnTo>
                    <a:pt x="31" y="196"/>
                  </a:lnTo>
                  <a:lnTo>
                    <a:pt x="30" y="200"/>
                  </a:lnTo>
                  <a:lnTo>
                    <a:pt x="28" y="207"/>
                  </a:lnTo>
                  <a:lnTo>
                    <a:pt x="28" y="214"/>
                  </a:lnTo>
                  <a:lnTo>
                    <a:pt x="31" y="218"/>
                  </a:lnTo>
                  <a:lnTo>
                    <a:pt x="35" y="222"/>
                  </a:lnTo>
                  <a:lnTo>
                    <a:pt x="43" y="222"/>
                  </a:lnTo>
                  <a:lnTo>
                    <a:pt x="48" y="222"/>
                  </a:lnTo>
                  <a:lnTo>
                    <a:pt x="61" y="220"/>
                  </a:lnTo>
                  <a:lnTo>
                    <a:pt x="72" y="22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3" name="Freeform 49"/>
            <p:cNvSpPr>
              <a:spLocks/>
            </p:cNvSpPr>
            <p:nvPr/>
          </p:nvSpPr>
          <p:spPr bwMode="auto">
            <a:xfrm>
              <a:off x="4097775" y="1900153"/>
              <a:ext cx="312553" cy="279896"/>
            </a:xfrm>
            <a:custGeom>
              <a:avLst/>
              <a:gdLst>
                <a:gd name="T0" fmla="*/ 481 w 599"/>
                <a:gd name="T1" fmla="*/ 134 h 550"/>
                <a:gd name="T2" fmla="*/ 464 w 599"/>
                <a:gd name="T3" fmla="*/ 125 h 550"/>
                <a:gd name="T4" fmla="*/ 462 w 599"/>
                <a:gd name="T5" fmla="*/ 86 h 550"/>
                <a:gd name="T6" fmla="*/ 397 w 599"/>
                <a:gd name="T7" fmla="*/ 68 h 550"/>
                <a:gd name="T8" fmla="*/ 335 w 599"/>
                <a:gd name="T9" fmla="*/ 62 h 550"/>
                <a:gd name="T10" fmla="*/ 318 w 599"/>
                <a:gd name="T11" fmla="*/ 101 h 550"/>
                <a:gd name="T12" fmla="*/ 288 w 599"/>
                <a:gd name="T13" fmla="*/ 114 h 550"/>
                <a:gd name="T14" fmla="*/ 270 w 599"/>
                <a:gd name="T15" fmla="*/ 75 h 550"/>
                <a:gd name="T16" fmla="*/ 248 w 599"/>
                <a:gd name="T17" fmla="*/ 57 h 550"/>
                <a:gd name="T18" fmla="*/ 266 w 599"/>
                <a:gd name="T19" fmla="*/ 53 h 550"/>
                <a:gd name="T20" fmla="*/ 266 w 599"/>
                <a:gd name="T21" fmla="*/ 14 h 550"/>
                <a:gd name="T22" fmla="*/ 253 w 599"/>
                <a:gd name="T23" fmla="*/ 1 h 550"/>
                <a:gd name="T24" fmla="*/ 233 w 599"/>
                <a:gd name="T25" fmla="*/ 5 h 550"/>
                <a:gd name="T26" fmla="*/ 226 w 599"/>
                <a:gd name="T27" fmla="*/ 16 h 550"/>
                <a:gd name="T28" fmla="*/ 213 w 599"/>
                <a:gd name="T29" fmla="*/ 46 h 550"/>
                <a:gd name="T30" fmla="*/ 226 w 599"/>
                <a:gd name="T31" fmla="*/ 57 h 550"/>
                <a:gd name="T32" fmla="*/ 216 w 599"/>
                <a:gd name="T33" fmla="*/ 77 h 550"/>
                <a:gd name="T34" fmla="*/ 187 w 599"/>
                <a:gd name="T35" fmla="*/ 83 h 550"/>
                <a:gd name="T36" fmla="*/ 179 w 599"/>
                <a:gd name="T37" fmla="*/ 57 h 550"/>
                <a:gd name="T38" fmla="*/ 141 w 599"/>
                <a:gd name="T39" fmla="*/ 46 h 550"/>
                <a:gd name="T40" fmla="*/ 98 w 599"/>
                <a:gd name="T41" fmla="*/ 81 h 550"/>
                <a:gd name="T42" fmla="*/ 93 w 599"/>
                <a:gd name="T43" fmla="*/ 116 h 550"/>
                <a:gd name="T44" fmla="*/ 111 w 599"/>
                <a:gd name="T45" fmla="*/ 129 h 550"/>
                <a:gd name="T46" fmla="*/ 85 w 599"/>
                <a:gd name="T47" fmla="*/ 153 h 550"/>
                <a:gd name="T48" fmla="*/ 45 w 599"/>
                <a:gd name="T49" fmla="*/ 197 h 550"/>
                <a:gd name="T50" fmla="*/ 13 w 599"/>
                <a:gd name="T51" fmla="*/ 229 h 550"/>
                <a:gd name="T52" fmla="*/ 2 w 599"/>
                <a:gd name="T53" fmla="*/ 269 h 550"/>
                <a:gd name="T54" fmla="*/ 28 w 599"/>
                <a:gd name="T55" fmla="*/ 304 h 550"/>
                <a:gd name="T56" fmla="*/ 59 w 599"/>
                <a:gd name="T57" fmla="*/ 347 h 550"/>
                <a:gd name="T58" fmla="*/ 104 w 599"/>
                <a:gd name="T59" fmla="*/ 378 h 550"/>
                <a:gd name="T60" fmla="*/ 155 w 599"/>
                <a:gd name="T61" fmla="*/ 413 h 550"/>
                <a:gd name="T62" fmla="*/ 196 w 599"/>
                <a:gd name="T63" fmla="*/ 450 h 550"/>
                <a:gd name="T64" fmla="*/ 207 w 599"/>
                <a:gd name="T65" fmla="*/ 471 h 550"/>
                <a:gd name="T66" fmla="*/ 224 w 599"/>
                <a:gd name="T67" fmla="*/ 497 h 550"/>
                <a:gd name="T68" fmla="*/ 255 w 599"/>
                <a:gd name="T69" fmla="*/ 504 h 550"/>
                <a:gd name="T70" fmla="*/ 263 w 599"/>
                <a:gd name="T71" fmla="*/ 537 h 550"/>
                <a:gd name="T72" fmla="*/ 296 w 599"/>
                <a:gd name="T73" fmla="*/ 539 h 550"/>
                <a:gd name="T74" fmla="*/ 331 w 599"/>
                <a:gd name="T75" fmla="*/ 548 h 550"/>
                <a:gd name="T76" fmla="*/ 344 w 599"/>
                <a:gd name="T77" fmla="*/ 521 h 550"/>
                <a:gd name="T78" fmla="*/ 364 w 599"/>
                <a:gd name="T79" fmla="*/ 500 h 550"/>
                <a:gd name="T80" fmla="*/ 403 w 599"/>
                <a:gd name="T81" fmla="*/ 439 h 550"/>
                <a:gd name="T82" fmla="*/ 372 w 599"/>
                <a:gd name="T83" fmla="*/ 445 h 550"/>
                <a:gd name="T84" fmla="*/ 322 w 599"/>
                <a:gd name="T85" fmla="*/ 445 h 550"/>
                <a:gd name="T86" fmla="*/ 336 w 599"/>
                <a:gd name="T87" fmla="*/ 421 h 550"/>
                <a:gd name="T88" fmla="*/ 348 w 599"/>
                <a:gd name="T89" fmla="*/ 402 h 550"/>
                <a:gd name="T90" fmla="*/ 377 w 599"/>
                <a:gd name="T91" fmla="*/ 378 h 550"/>
                <a:gd name="T92" fmla="*/ 405 w 599"/>
                <a:gd name="T93" fmla="*/ 323 h 550"/>
                <a:gd name="T94" fmla="*/ 381 w 599"/>
                <a:gd name="T95" fmla="*/ 280 h 550"/>
                <a:gd name="T96" fmla="*/ 386 w 599"/>
                <a:gd name="T97" fmla="*/ 264 h 550"/>
                <a:gd name="T98" fmla="*/ 414 w 599"/>
                <a:gd name="T99" fmla="*/ 288 h 550"/>
                <a:gd name="T100" fmla="*/ 464 w 599"/>
                <a:gd name="T101" fmla="*/ 328 h 550"/>
                <a:gd name="T102" fmla="*/ 477 w 599"/>
                <a:gd name="T103" fmla="*/ 349 h 550"/>
                <a:gd name="T104" fmla="*/ 525 w 599"/>
                <a:gd name="T105" fmla="*/ 362 h 550"/>
                <a:gd name="T106" fmla="*/ 551 w 599"/>
                <a:gd name="T107" fmla="*/ 373 h 550"/>
                <a:gd name="T108" fmla="*/ 554 w 599"/>
                <a:gd name="T109" fmla="*/ 323 h 550"/>
                <a:gd name="T110" fmla="*/ 599 w 599"/>
                <a:gd name="T111" fmla="*/ 249 h 550"/>
                <a:gd name="T112" fmla="*/ 553 w 599"/>
                <a:gd name="T113" fmla="*/ 227 h 550"/>
                <a:gd name="T114" fmla="*/ 534 w 599"/>
                <a:gd name="T115" fmla="*/ 232 h 550"/>
                <a:gd name="T116" fmla="*/ 501 w 599"/>
                <a:gd name="T117" fmla="*/ 164 h 5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99"/>
                <a:gd name="T178" fmla="*/ 0 h 550"/>
                <a:gd name="T179" fmla="*/ 599 w 599"/>
                <a:gd name="T180" fmla="*/ 550 h 5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99" h="550">
                  <a:moveTo>
                    <a:pt x="492" y="125"/>
                  </a:moveTo>
                  <a:lnTo>
                    <a:pt x="492" y="125"/>
                  </a:lnTo>
                  <a:lnTo>
                    <a:pt x="490" y="125"/>
                  </a:lnTo>
                  <a:lnTo>
                    <a:pt x="486" y="129"/>
                  </a:lnTo>
                  <a:lnTo>
                    <a:pt x="481" y="134"/>
                  </a:lnTo>
                  <a:lnTo>
                    <a:pt x="477" y="138"/>
                  </a:lnTo>
                  <a:lnTo>
                    <a:pt x="471" y="138"/>
                  </a:lnTo>
                  <a:lnTo>
                    <a:pt x="469" y="133"/>
                  </a:lnTo>
                  <a:lnTo>
                    <a:pt x="469" y="129"/>
                  </a:lnTo>
                  <a:lnTo>
                    <a:pt x="464" y="125"/>
                  </a:lnTo>
                  <a:lnTo>
                    <a:pt x="460" y="120"/>
                  </a:lnTo>
                  <a:lnTo>
                    <a:pt x="469" y="116"/>
                  </a:lnTo>
                  <a:lnTo>
                    <a:pt x="477" y="107"/>
                  </a:lnTo>
                  <a:lnTo>
                    <a:pt x="471" y="96"/>
                  </a:lnTo>
                  <a:lnTo>
                    <a:pt x="462" y="86"/>
                  </a:lnTo>
                  <a:lnTo>
                    <a:pt x="460" y="75"/>
                  </a:lnTo>
                  <a:lnTo>
                    <a:pt x="457" y="70"/>
                  </a:lnTo>
                  <a:lnTo>
                    <a:pt x="434" y="70"/>
                  </a:lnTo>
                  <a:lnTo>
                    <a:pt x="408" y="73"/>
                  </a:lnTo>
                  <a:lnTo>
                    <a:pt x="397" y="68"/>
                  </a:lnTo>
                  <a:lnTo>
                    <a:pt x="388" y="61"/>
                  </a:lnTo>
                  <a:lnTo>
                    <a:pt x="375" y="59"/>
                  </a:lnTo>
                  <a:lnTo>
                    <a:pt x="357" y="61"/>
                  </a:lnTo>
                  <a:lnTo>
                    <a:pt x="344" y="61"/>
                  </a:lnTo>
                  <a:lnTo>
                    <a:pt x="335" y="62"/>
                  </a:lnTo>
                  <a:lnTo>
                    <a:pt x="331" y="68"/>
                  </a:lnTo>
                  <a:lnTo>
                    <a:pt x="327" y="73"/>
                  </a:lnTo>
                  <a:lnTo>
                    <a:pt x="325" y="83"/>
                  </a:lnTo>
                  <a:lnTo>
                    <a:pt x="322" y="90"/>
                  </a:lnTo>
                  <a:lnTo>
                    <a:pt x="318" y="101"/>
                  </a:lnTo>
                  <a:lnTo>
                    <a:pt x="312" y="109"/>
                  </a:lnTo>
                  <a:lnTo>
                    <a:pt x="309" y="112"/>
                  </a:lnTo>
                  <a:lnTo>
                    <a:pt x="303" y="114"/>
                  </a:lnTo>
                  <a:lnTo>
                    <a:pt x="298" y="116"/>
                  </a:lnTo>
                  <a:lnTo>
                    <a:pt x="288" y="114"/>
                  </a:lnTo>
                  <a:lnTo>
                    <a:pt x="285" y="112"/>
                  </a:lnTo>
                  <a:lnTo>
                    <a:pt x="279" y="110"/>
                  </a:lnTo>
                  <a:lnTo>
                    <a:pt x="275" y="101"/>
                  </a:lnTo>
                  <a:lnTo>
                    <a:pt x="272" y="85"/>
                  </a:lnTo>
                  <a:lnTo>
                    <a:pt x="270" y="75"/>
                  </a:lnTo>
                  <a:lnTo>
                    <a:pt x="268" y="66"/>
                  </a:lnTo>
                  <a:lnTo>
                    <a:pt x="261" y="62"/>
                  </a:lnTo>
                  <a:lnTo>
                    <a:pt x="253" y="61"/>
                  </a:lnTo>
                  <a:lnTo>
                    <a:pt x="248" y="59"/>
                  </a:lnTo>
                  <a:lnTo>
                    <a:pt x="248" y="57"/>
                  </a:lnTo>
                  <a:lnTo>
                    <a:pt x="250" y="55"/>
                  </a:lnTo>
                  <a:lnTo>
                    <a:pt x="253" y="53"/>
                  </a:lnTo>
                  <a:lnTo>
                    <a:pt x="257" y="53"/>
                  </a:lnTo>
                  <a:lnTo>
                    <a:pt x="263" y="55"/>
                  </a:lnTo>
                  <a:lnTo>
                    <a:pt x="266" y="53"/>
                  </a:lnTo>
                  <a:lnTo>
                    <a:pt x="268" y="49"/>
                  </a:lnTo>
                  <a:lnTo>
                    <a:pt x="266" y="46"/>
                  </a:lnTo>
                  <a:lnTo>
                    <a:pt x="263" y="38"/>
                  </a:lnTo>
                  <a:lnTo>
                    <a:pt x="264" y="25"/>
                  </a:lnTo>
                  <a:lnTo>
                    <a:pt x="266" y="14"/>
                  </a:lnTo>
                  <a:lnTo>
                    <a:pt x="264" y="7"/>
                  </a:lnTo>
                  <a:lnTo>
                    <a:pt x="261" y="0"/>
                  </a:lnTo>
                  <a:lnTo>
                    <a:pt x="257" y="0"/>
                  </a:lnTo>
                  <a:lnTo>
                    <a:pt x="255" y="1"/>
                  </a:lnTo>
                  <a:lnTo>
                    <a:pt x="253" y="1"/>
                  </a:lnTo>
                  <a:lnTo>
                    <a:pt x="251" y="3"/>
                  </a:lnTo>
                  <a:lnTo>
                    <a:pt x="250" y="9"/>
                  </a:lnTo>
                  <a:lnTo>
                    <a:pt x="246" y="11"/>
                  </a:lnTo>
                  <a:lnTo>
                    <a:pt x="239" y="9"/>
                  </a:lnTo>
                  <a:lnTo>
                    <a:pt x="233" y="5"/>
                  </a:lnTo>
                  <a:lnTo>
                    <a:pt x="231" y="3"/>
                  </a:lnTo>
                  <a:lnTo>
                    <a:pt x="229" y="3"/>
                  </a:lnTo>
                  <a:lnTo>
                    <a:pt x="227" y="5"/>
                  </a:lnTo>
                  <a:lnTo>
                    <a:pt x="227" y="7"/>
                  </a:lnTo>
                  <a:lnTo>
                    <a:pt x="226" y="16"/>
                  </a:lnTo>
                  <a:lnTo>
                    <a:pt x="222" y="29"/>
                  </a:lnTo>
                  <a:lnTo>
                    <a:pt x="218" y="35"/>
                  </a:lnTo>
                  <a:lnTo>
                    <a:pt x="215" y="38"/>
                  </a:lnTo>
                  <a:lnTo>
                    <a:pt x="213" y="42"/>
                  </a:lnTo>
                  <a:lnTo>
                    <a:pt x="213" y="46"/>
                  </a:lnTo>
                  <a:lnTo>
                    <a:pt x="215" y="49"/>
                  </a:lnTo>
                  <a:lnTo>
                    <a:pt x="216" y="51"/>
                  </a:lnTo>
                  <a:lnTo>
                    <a:pt x="218" y="53"/>
                  </a:lnTo>
                  <a:lnTo>
                    <a:pt x="224" y="55"/>
                  </a:lnTo>
                  <a:lnTo>
                    <a:pt x="226" y="57"/>
                  </a:lnTo>
                  <a:lnTo>
                    <a:pt x="227" y="59"/>
                  </a:lnTo>
                  <a:lnTo>
                    <a:pt x="226" y="62"/>
                  </a:lnTo>
                  <a:lnTo>
                    <a:pt x="226" y="64"/>
                  </a:lnTo>
                  <a:lnTo>
                    <a:pt x="222" y="72"/>
                  </a:lnTo>
                  <a:lnTo>
                    <a:pt x="216" y="77"/>
                  </a:lnTo>
                  <a:lnTo>
                    <a:pt x="213" y="81"/>
                  </a:lnTo>
                  <a:lnTo>
                    <a:pt x="209" y="85"/>
                  </a:lnTo>
                  <a:lnTo>
                    <a:pt x="203" y="88"/>
                  </a:lnTo>
                  <a:lnTo>
                    <a:pt x="196" y="88"/>
                  </a:lnTo>
                  <a:lnTo>
                    <a:pt x="187" y="83"/>
                  </a:lnTo>
                  <a:lnTo>
                    <a:pt x="181" y="77"/>
                  </a:lnTo>
                  <a:lnTo>
                    <a:pt x="179" y="73"/>
                  </a:lnTo>
                  <a:lnTo>
                    <a:pt x="178" y="68"/>
                  </a:lnTo>
                  <a:lnTo>
                    <a:pt x="178" y="64"/>
                  </a:lnTo>
                  <a:lnTo>
                    <a:pt x="179" y="57"/>
                  </a:lnTo>
                  <a:lnTo>
                    <a:pt x="176" y="53"/>
                  </a:lnTo>
                  <a:lnTo>
                    <a:pt x="168" y="49"/>
                  </a:lnTo>
                  <a:lnTo>
                    <a:pt x="159" y="53"/>
                  </a:lnTo>
                  <a:lnTo>
                    <a:pt x="152" y="55"/>
                  </a:lnTo>
                  <a:lnTo>
                    <a:pt x="141" y="46"/>
                  </a:lnTo>
                  <a:lnTo>
                    <a:pt x="131" y="38"/>
                  </a:lnTo>
                  <a:lnTo>
                    <a:pt x="124" y="46"/>
                  </a:lnTo>
                  <a:lnTo>
                    <a:pt x="120" y="55"/>
                  </a:lnTo>
                  <a:lnTo>
                    <a:pt x="111" y="66"/>
                  </a:lnTo>
                  <a:lnTo>
                    <a:pt x="98" y="81"/>
                  </a:lnTo>
                  <a:lnTo>
                    <a:pt x="93" y="90"/>
                  </a:lnTo>
                  <a:lnTo>
                    <a:pt x="89" y="98"/>
                  </a:lnTo>
                  <a:lnTo>
                    <a:pt x="87" y="105"/>
                  </a:lnTo>
                  <a:lnTo>
                    <a:pt x="89" y="112"/>
                  </a:lnTo>
                  <a:lnTo>
                    <a:pt x="93" y="116"/>
                  </a:lnTo>
                  <a:lnTo>
                    <a:pt x="98" y="118"/>
                  </a:lnTo>
                  <a:lnTo>
                    <a:pt x="102" y="118"/>
                  </a:lnTo>
                  <a:lnTo>
                    <a:pt x="106" y="122"/>
                  </a:lnTo>
                  <a:lnTo>
                    <a:pt x="107" y="123"/>
                  </a:lnTo>
                  <a:lnTo>
                    <a:pt x="111" y="129"/>
                  </a:lnTo>
                  <a:lnTo>
                    <a:pt x="109" y="134"/>
                  </a:lnTo>
                  <a:lnTo>
                    <a:pt x="106" y="138"/>
                  </a:lnTo>
                  <a:lnTo>
                    <a:pt x="102" y="142"/>
                  </a:lnTo>
                  <a:lnTo>
                    <a:pt x="96" y="146"/>
                  </a:lnTo>
                  <a:lnTo>
                    <a:pt x="85" y="153"/>
                  </a:lnTo>
                  <a:lnTo>
                    <a:pt x="72" y="160"/>
                  </a:lnTo>
                  <a:lnTo>
                    <a:pt x="67" y="171"/>
                  </a:lnTo>
                  <a:lnTo>
                    <a:pt x="59" y="184"/>
                  </a:lnTo>
                  <a:lnTo>
                    <a:pt x="52" y="192"/>
                  </a:lnTo>
                  <a:lnTo>
                    <a:pt x="45" y="197"/>
                  </a:lnTo>
                  <a:lnTo>
                    <a:pt x="35" y="199"/>
                  </a:lnTo>
                  <a:lnTo>
                    <a:pt x="22" y="199"/>
                  </a:lnTo>
                  <a:lnTo>
                    <a:pt x="21" y="210"/>
                  </a:lnTo>
                  <a:lnTo>
                    <a:pt x="17" y="221"/>
                  </a:lnTo>
                  <a:lnTo>
                    <a:pt x="13" y="229"/>
                  </a:lnTo>
                  <a:lnTo>
                    <a:pt x="9" y="234"/>
                  </a:lnTo>
                  <a:lnTo>
                    <a:pt x="4" y="243"/>
                  </a:lnTo>
                  <a:lnTo>
                    <a:pt x="0" y="253"/>
                  </a:lnTo>
                  <a:lnTo>
                    <a:pt x="0" y="262"/>
                  </a:lnTo>
                  <a:lnTo>
                    <a:pt x="2" y="269"/>
                  </a:lnTo>
                  <a:lnTo>
                    <a:pt x="4" y="275"/>
                  </a:lnTo>
                  <a:lnTo>
                    <a:pt x="8" y="279"/>
                  </a:lnTo>
                  <a:lnTo>
                    <a:pt x="17" y="284"/>
                  </a:lnTo>
                  <a:lnTo>
                    <a:pt x="24" y="297"/>
                  </a:lnTo>
                  <a:lnTo>
                    <a:pt x="28" y="304"/>
                  </a:lnTo>
                  <a:lnTo>
                    <a:pt x="32" y="316"/>
                  </a:lnTo>
                  <a:lnTo>
                    <a:pt x="39" y="321"/>
                  </a:lnTo>
                  <a:lnTo>
                    <a:pt x="48" y="328"/>
                  </a:lnTo>
                  <a:lnTo>
                    <a:pt x="54" y="338"/>
                  </a:lnTo>
                  <a:lnTo>
                    <a:pt x="59" y="347"/>
                  </a:lnTo>
                  <a:lnTo>
                    <a:pt x="74" y="347"/>
                  </a:lnTo>
                  <a:lnTo>
                    <a:pt x="89" y="351"/>
                  </a:lnTo>
                  <a:lnTo>
                    <a:pt x="93" y="364"/>
                  </a:lnTo>
                  <a:lnTo>
                    <a:pt x="96" y="377"/>
                  </a:lnTo>
                  <a:lnTo>
                    <a:pt x="104" y="378"/>
                  </a:lnTo>
                  <a:lnTo>
                    <a:pt x="111" y="382"/>
                  </a:lnTo>
                  <a:lnTo>
                    <a:pt x="115" y="391"/>
                  </a:lnTo>
                  <a:lnTo>
                    <a:pt x="124" y="404"/>
                  </a:lnTo>
                  <a:lnTo>
                    <a:pt x="142" y="410"/>
                  </a:lnTo>
                  <a:lnTo>
                    <a:pt x="155" y="413"/>
                  </a:lnTo>
                  <a:lnTo>
                    <a:pt x="157" y="425"/>
                  </a:lnTo>
                  <a:lnTo>
                    <a:pt x="161" y="439"/>
                  </a:lnTo>
                  <a:lnTo>
                    <a:pt x="172" y="447"/>
                  </a:lnTo>
                  <a:lnTo>
                    <a:pt x="185" y="454"/>
                  </a:lnTo>
                  <a:lnTo>
                    <a:pt x="196" y="450"/>
                  </a:lnTo>
                  <a:lnTo>
                    <a:pt x="207" y="450"/>
                  </a:lnTo>
                  <a:lnTo>
                    <a:pt x="213" y="454"/>
                  </a:lnTo>
                  <a:lnTo>
                    <a:pt x="216" y="462"/>
                  </a:lnTo>
                  <a:lnTo>
                    <a:pt x="213" y="467"/>
                  </a:lnTo>
                  <a:lnTo>
                    <a:pt x="207" y="471"/>
                  </a:lnTo>
                  <a:lnTo>
                    <a:pt x="205" y="474"/>
                  </a:lnTo>
                  <a:lnTo>
                    <a:pt x="205" y="478"/>
                  </a:lnTo>
                  <a:lnTo>
                    <a:pt x="207" y="482"/>
                  </a:lnTo>
                  <a:lnTo>
                    <a:pt x="213" y="487"/>
                  </a:lnTo>
                  <a:lnTo>
                    <a:pt x="224" y="497"/>
                  </a:lnTo>
                  <a:lnTo>
                    <a:pt x="237" y="506"/>
                  </a:lnTo>
                  <a:lnTo>
                    <a:pt x="240" y="504"/>
                  </a:lnTo>
                  <a:lnTo>
                    <a:pt x="244" y="502"/>
                  </a:lnTo>
                  <a:lnTo>
                    <a:pt x="250" y="502"/>
                  </a:lnTo>
                  <a:lnTo>
                    <a:pt x="255" y="504"/>
                  </a:lnTo>
                  <a:lnTo>
                    <a:pt x="259" y="508"/>
                  </a:lnTo>
                  <a:lnTo>
                    <a:pt x="263" y="511"/>
                  </a:lnTo>
                  <a:lnTo>
                    <a:pt x="264" y="519"/>
                  </a:lnTo>
                  <a:lnTo>
                    <a:pt x="263" y="528"/>
                  </a:lnTo>
                  <a:lnTo>
                    <a:pt x="263" y="537"/>
                  </a:lnTo>
                  <a:lnTo>
                    <a:pt x="264" y="541"/>
                  </a:lnTo>
                  <a:lnTo>
                    <a:pt x="268" y="543"/>
                  </a:lnTo>
                  <a:lnTo>
                    <a:pt x="274" y="543"/>
                  </a:lnTo>
                  <a:lnTo>
                    <a:pt x="285" y="539"/>
                  </a:lnTo>
                  <a:lnTo>
                    <a:pt x="296" y="539"/>
                  </a:lnTo>
                  <a:lnTo>
                    <a:pt x="299" y="541"/>
                  </a:lnTo>
                  <a:lnTo>
                    <a:pt x="305" y="547"/>
                  </a:lnTo>
                  <a:lnTo>
                    <a:pt x="311" y="550"/>
                  </a:lnTo>
                  <a:lnTo>
                    <a:pt x="322" y="550"/>
                  </a:lnTo>
                  <a:lnTo>
                    <a:pt x="331" y="548"/>
                  </a:lnTo>
                  <a:lnTo>
                    <a:pt x="338" y="543"/>
                  </a:lnTo>
                  <a:lnTo>
                    <a:pt x="344" y="535"/>
                  </a:lnTo>
                  <a:lnTo>
                    <a:pt x="348" y="528"/>
                  </a:lnTo>
                  <a:lnTo>
                    <a:pt x="348" y="524"/>
                  </a:lnTo>
                  <a:lnTo>
                    <a:pt x="344" y="521"/>
                  </a:lnTo>
                  <a:lnTo>
                    <a:pt x="342" y="517"/>
                  </a:lnTo>
                  <a:lnTo>
                    <a:pt x="342" y="515"/>
                  </a:lnTo>
                  <a:lnTo>
                    <a:pt x="346" y="511"/>
                  </a:lnTo>
                  <a:lnTo>
                    <a:pt x="349" y="506"/>
                  </a:lnTo>
                  <a:lnTo>
                    <a:pt x="364" y="500"/>
                  </a:lnTo>
                  <a:lnTo>
                    <a:pt x="381" y="491"/>
                  </a:lnTo>
                  <a:lnTo>
                    <a:pt x="397" y="482"/>
                  </a:lnTo>
                  <a:lnTo>
                    <a:pt x="414" y="476"/>
                  </a:lnTo>
                  <a:lnTo>
                    <a:pt x="408" y="458"/>
                  </a:lnTo>
                  <a:lnTo>
                    <a:pt x="403" y="439"/>
                  </a:lnTo>
                  <a:lnTo>
                    <a:pt x="394" y="443"/>
                  </a:lnTo>
                  <a:lnTo>
                    <a:pt x="386" y="447"/>
                  </a:lnTo>
                  <a:lnTo>
                    <a:pt x="383" y="445"/>
                  </a:lnTo>
                  <a:lnTo>
                    <a:pt x="383" y="441"/>
                  </a:lnTo>
                  <a:lnTo>
                    <a:pt x="372" y="445"/>
                  </a:lnTo>
                  <a:lnTo>
                    <a:pt x="353" y="454"/>
                  </a:lnTo>
                  <a:lnTo>
                    <a:pt x="346" y="450"/>
                  </a:lnTo>
                  <a:lnTo>
                    <a:pt x="340" y="443"/>
                  </a:lnTo>
                  <a:lnTo>
                    <a:pt x="329" y="447"/>
                  </a:lnTo>
                  <a:lnTo>
                    <a:pt x="322" y="445"/>
                  </a:lnTo>
                  <a:lnTo>
                    <a:pt x="325" y="441"/>
                  </a:lnTo>
                  <a:lnTo>
                    <a:pt x="327" y="436"/>
                  </a:lnTo>
                  <a:lnTo>
                    <a:pt x="329" y="428"/>
                  </a:lnTo>
                  <a:lnTo>
                    <a:pt x="329" y="421"/>
                  </a:lnTo>
                  <a:lnTo>
                    <a:pt x="336" y="421"/>
                  </a:lnTo>
                  <a:lnTo>
                    <a:pt x="340" y="419"/>
                  </a:lnTo>
                  <a:lnTo>
                    <a:pt x="344" y="417"/>
                  </a:lnTo>
                  <a:lnTo>
                    <a:pt x="346" y="413"/>
                  </a:lnTo>
                  <a:lnTo>
                    <a:pt x="346" y="408"/>
                  </a:lnTo>
                  <a:lnTo>
                    <a:pt x="348" y="402"/>
                  </a:lnTo>
                  <a:lnTo>
                    <a:pt x="349" y="399"/>
                  </a:lnTo>
                  <a:lnTo>
                    <a:pt x="353" y="397"/>
                  </a:lnTo>
                  <a:lnTo>
                    <a:pt x="364" y="397"/>
                  </a:lnTo>
                  <a:lnTo>
                    <a:pt x="379" y="395"/>
                  </a:lnTo>
                  <a:lnTo>
                    <a:pt x="377" y="378"/>
                  </a:lnTo>
                  <a:lnTo>
                    <a:pt x="373" y="358"/>
                  </a:lnTo>
                  <a:lnTo>
                    <a:pt x="388" y="347"/>
                  </a:lnTo>
                  <a:lnTo>
                    <a:pt x="405" y="334"/>
                  </a:lnTo>
                  <a:lnTo>
                    <a:pt x="405" y="328"/>
                  </a:lnTo>
                  <a:lnTo>
                    <a:pt x="405" y="323"/>
                  </a:lnTo>
                  <a:lnTo>
                    <a:pt x="403" y="316"/>
                  </a:lnTo>
                  <a:lnTo>
                    <a:pt x="399" y="310"/>
                  </a:lnTo>
                  <a:lnTo>
                    <a:pt x="392" y="299"/>
                  </a:lnTo>
                  <a:lnTo>
                    <a:pt x="383" y="286"/>
                  </a:lnTo>
                  <a:lnTo>
                    <a:pt x="381" y="280"/>
                  </a:lnTo>
                  <a:lnTo>
                    <a:pt x="381" y="273"/>
                  </a:lnTo>
                  <a:lnTo>
                    <a:pt x="381" y="269"/>
                  </a:lnTo>
                  <a:lnTo>
                    <a:pt x="383" y="266"/>
                  </a:lnTo>
                  <a:lnTo>
                    <a:pt x="384" y="264"/>
                  </a:lnTo>
                  <a:lnTo>
                    <a:pt x="386" y="264"/>
                  </a:lnTo>
                  <a:lnTo>
                    <a:pt x="394" y="268"/>
                  </a:lnTo>
                  <a:lnTo>
                    <a:pt x="401" y="271"/>
                  </a:lnTo>
                  <a:lnTo>
                    <a:pt x="405" y="275"/>
                  </a:lnTo>
                  <a:lnTo>
                    <a:pt x="408" y="279"/>
                  </a:lnTo>
                  <a:lnTo>
                    <a:pt x="414" y="288"/>
                  </a:lnTo>
                  <a:lnTo>
                    <a:pt x="421" y="299"/>
                  </a:lnTo>
                  <a:lnTo>
                    <a:pt x="436" y="310"/>
                  </a:lnTo>
                  <a:lnTo>
                    <a:pt x="455" y="319"/>
                  </a:lnTo>
                  <a:lnTo>
                    <a:pt x="460" y="325"/>
                  </a:lnTo>
                  <a:lnTo>
                    <a:pt x="464" y="328"/>
                  </a:lnTo>
                  <a:lnTo>
                    <a:pt x="464" y="334"/>
                  </a:lnTo>
                  <a:lnTo>
                    <a:pt x="466" y="338"/>
                  </a:lnTo>
                  <a:lnTo>
                    <a:pt x="464" y="345"/>
                  </a:lnTo>
                  <a:lnTo>
                    <a:pt x="466" y="349"/>
                  </a:lnTo>
                  <a:lnTo>
                    <a:pt x="477" y="349"/>
                  </a:lnTo>
                  <a:lnTo>
                    <a:pt x="492" y="351"/>
                  </a:lnTo>
                  <a:lnTo>
                    <a:pt x="503" y="356"/>
                  </a:lnTo>
                  <a:lnTo>
                    <a:pt x="516" y="362"/>
                  </a:lnTo>
                  <a:lnTo>
                    <a:pt x="519" y="362"/>
                  </a:lnTo>
                  <a:lnTo>
                    <a:pt x="525" y="362"/>
                  </a:lnTo>
                  <a:lnTo>
                    <a:pt x="529" y="369"/>
                  </a:lnTo>
                  <a:lnTo>
                    <a:pt x="530" y="377"/>
                  </a:lnTo>
                  <a:lnTo>
                    <a:pt x="538" y="377"/>
                  </a:lnTo>
                  <a:lnTo>
                    <a:pt x="545" y="375"/>
                  </a:lnTo>
                  <a:lnTo>
                    <a:pt x="551" y="373"/>
                  </a:lnTo>
                  <a:lnTo>
                    <a:pt x="556" y="369"/>
                  </a:lnTo>
                  <a:lnTo>
                    <a:pt x="551" y="360"/>
                  </a:lnTo>
                  <a:lnTo>
                    <a:pt x="545" y="351"/>
                  </a:lnTo>
                  <a:lnTo>
                    <a:pt x="549" y="334"/>
                  </a:lnTo>
                  <a:lnTo>
                    <a:pt x="554" y="323"/>
                  </a:lnTo>
                  <a:lnTo>
                    <a:pt x="547" y="312"/>
                  </a:lnTo>
                  <a:lnTo>
                    <a:pt x="545" y="301"/>
                  </a:lnTo>
                  <a:lnTo>
                    <a:pt x="571" y="275"/>
                  </a:lnTo>
                  <a:lnTo>
                    <a:pt x="599" y="249"/>
                  </a:lnTo>
                  <a:lnTo>
                    <a:pt x="582" y="236"/>
                  </a:lnTo>
                  <a:lnTo>
                    <a:pt x="567" y="227"/>
                  </a:lnTo>
                  <a:lnTo>
                    <a:pt x="558" y="227"/>
                  </a:lnTo>
                  <a:lnTo>
                    <a:pt x="553" y="227"/>
                  </a:lnTo>
                  <a:lnTo>
                    <a:pt x="554" y="231"/>
                  </a:lnTo>
                  <a:lnTo>
                    <a:pt x="556" y="236"/>
                  </a:lnTo>
                  <a:lnTo>
                    <a:pt x="547" y="236"/>
                  </a:lnTo>
                  <a:lnTo>
                    <a:pt x="540" y="234"/>
                  </a:lnTo>
                  <a:lnTo>
                    <a:pt x="534" y="232"/>
                  </a:lnTo>
                  <a:lnTo>
                    <a:pt x="530" y="229"/>
                  </a:lnTo>
                  <a:lnTo>
                    <a:pt x="523" y="210"/>
                  </a:lnTo>
                  <a:lnTo>
                    <a:pt x="514" y="183"/>
                  </a:lnTo>
                  <a:lnTo>
                    <a:pt x="506" y="173"/>
                  </a:lnTo>
                  <a:lnTo>
                    <a:pt x="501" y="164"/>
                  </a:lnTo>
                  <a:lnTo>
                    <a:pt x="497" y="157"/>
                  </a:lnTo>
                  <a:lnTo>
                    <a:pt x="493" y="149"/>
                  </a:lnTo>
                  <a:lnTo>
                    <a:pt x="492" y="136"/>
                  </a:lnTo>
                  <a:lnTo>
                    <a:pt x="492" y="12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4" name="Freeform 50"/>
            <p:cNvSpPr>
              <a:spLocks/>
            </p:cNvSpPr>
            <p:nvPr/>
          </p:nvSpPr>
          <p:spPr bwMode="auto">
            <a:xfrm>
              <a:off x="3984024" y="1879288"/>
              <a:ext cx="63659" cy="66666"/>
            </a:xfrm>
            <a:custGeom>
              <a:avLst/>
              <a:gdLst>
                <a:gd name="T0" fmla="*/ 28 w 122"/>
                <a:gd name="T1" fmla="*/ 50 h 131"/>
                <a:gd name="T2" fmla="*/ 37 w 122"/>
                <a:gd name="T3" fmla="*/ 44 h 131"/>
                <a:gd name="T4" fmla="*/ 45 w 122"/>
                <a:gd name="T5" fmla="*/ 39 h 131"/>
                <a:gd name="T6" fmla="*/ 48 w 122"/>
                <a:gd name="T7" fmla="*/ 24 h 131"/>
                <a:gd name="T8" fmla="*/ 54 w 122"/>
                <a:gd name="T9" fmla="*/ 11 h 131"/>
                <a:gd name="T10" fmla="*/ 65 w 122"/>
                <a:gd name="T11" fmla="*/ 7 h 131"/>
                <a:gd name="T12" fmla="*/ 78 w 122"/>
                <a:gd name="T13" fmla="*/ 5 h 131"/>
                <a:gd name="T14" fmla="*/ 83 w 122"/>
                <a:gd name="T15" fmla="*/ 2 h 131"/>
                <a:gd name="T16" fmla="*/ 89 w 122"/>
                <a:gd name="T17" fmla="*/ 0 h 131"/>
                <a:gd name="T18" fmla="*/ 94 w 122"/>
                <a:gd name="T19" fmla="*/ 4 h 131"/>
                <a:gd name="T20" fmla="*/ 100 w 122"/>
                <a:gd name="T21" fmla="*/ 9 h 131"/>
                <a:gd name="T22" fmla="*/ 107 w 122"/>
                <a:gd name="T23" fmla="*/ 9 h 131"/>
                <a:gd name="T24" fmla="*/ 113 w 122"/>
                <a:gd name="T25" fmla="*/ 11 h 131"/>
                <a:gd name="T26" fmla="*/ 113 w 122"/>
                <a:gd name="T27" fmla="*/ 17 h 131"/>
                <a:gd name="T28" fmla="*/ 113 w 122"/>
                <a:gd name="T29" fmla="*/ 24 h 131"/>
                <a:gd name="T30" fmla="*/ 120 w 122"/>
                <a:gd name="T31" fmla="*/ 31 h 131"/>
                <a:gd name="T32" fmla="*/ 122 w 122"/>
                <a:gd name="T33" fmla="*/ 41 h 131"/>
                <a:gd name="T34" fmla="*/ 117 w 122"/>
                <a:gd name="T35" fmla="*/ 52 h 131"/>
                <a:gd name="T36" fmla="*/ 107 w 122"/>
                <a:gd name="T37" fmla="*/ 61 h 131"/>
                <a:gd name="T38" fmla="*/ 102 w 122"/>
                <a:gd name="T39" fmla="*/ 78 h 131"/>
                <a:gd name="T40" fmla="*/ 98 w 122"/>
                <a:gd name="T41" fmla="*/ 96 h 131"/>
                <a:gd name="T42" fmla="*/ 91 w 122"/>
                <a:gd name="T43" fmla="*/ 111 h 131"/>
                <a:gd name="T44" fmla="*/ 82 w 122"/>
                <a:gd name="T45" fmla="*/ 126 h 131"/>
                <a:gd name="T46" fmla="*/ 72 w 122"/>
                <a:gd name="T47" fmla="*/ 126 h 131"/>
                <a:gd name="T48" fmla="*/ 65 w 122"/>
                <a:gd name="T49" fmla="*/ 124 h 131"/>
                <a:gd name="T50" fmla="*/ 58 w 122"/>
                <a:gd name="T51" fmla="*/ 126 h 131"/>
                <a:gd name="T52" fmla="*/ 50 w 122"/>
                <a:gd name="T53" fmla="*/ 129 h 131"/>
                <a:gd name="T54" fmla="*/ 43 w 122"/>
                <a:gd name="T55" fmla="*/ 131 h 131"/>
                <a:gd name="T56" fmla="*/ 35 w 122"/>
                <a:gd name="T57" fmla="*/ 131 h 131"/>
                <a:gd name="T58" fmla="*/ 32 w 122"/>
                <a:gd name="T59" fmla="*/ 120 h 131"/>
                <a:gd name="T60" fmla="*/ 26 w 122"/>
                <a:gd name="T61" fmla="*/ 107 h 131"/>
                <a:gd name="T62" fmla="*/ 11 w 122"/>
                <a:gd name="T63" fmla="*/ 103 h 131"/>
                <a:gd name="T64" fmla="*/ 0 w 122"/>
                <a:gd name="T65" fmla="*/ 98 h 131"/>
                <a:gd name="T66" fmla="*/ 0 w 122"/>
                <a:gd name="T67" fmla="*/ 92 h 131"/>
                <a:gd name="T68" fmla="*/ 0 w 122"/>
                <a:gd name="T69" fmla="*/ 87 h 131"/>
                <a:gd name="T70" fmla="*/ 4 w 122"/>
                <a:gd name="T71" fmla="*/ 83 h 131"/>
                <a:gd name="T72" fmla="*/ 8 w 122"/>
                <a:gd name="T73" fmla="*/ 79 h 131"/>
                <a:gd name="T74" fmla="*/ 15 w 122"/>
                <a:gd name="T75" fmla="*/ 74 h 131"/>
                <a:gd name="T76" fmla="*/ 22 w 122"/>
                <a:gd name="T77" fmla="*/ 70 h 131"/>
                <a:gd name="T78" fmla="*/ 24 w 122"/>
                <a:gd name="T79" fmla="*/ 59 h 131"/>
                <a:gd name="T80" fmla="*/ 28 w 122"/>
                <a:gd name="T81" fmla="*/ 50 h 13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2"/>
                <a:gd name="T124" fmla="*/ 0 h 131"/>
                <a:gd name="T125" fmla="*/ 122 w 122"/>
                <a:gd name="T126" fmla="*/ 131 h 13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2" h="131">
                  <a:moveTo>
                    <a:pt x="28" y="50"/>
                  </a:moveTo>
                  <a:lnTo>
                    <a:pt x="37" y="44"/>
                  </a:lnTo>
                  <a:lnTo>
                    <a:pt x="45" y="39"/>
                  </a:lnTo>
                  <a:lnTo>
                    <a:pt x="48" y="24"/>
                  </a:lnTo>
                  <a:lnTo>
                    <a:pt x="54" y="11"/>
                  </a:lnTo>
                  <a:lnTo>
                    <a:pt x="65" y="7"/>
                  </a:lnTo>
                  <a:lnTo>
                    <a:pt x="78" y="5"/>
                  </a:lnTo>
                  <a:lnTo>
                    <a:pt x="83" y="2"/>
                  </a:lnTo>
                  <a:lnTo>
                    <a:pt x="89" y="0"/>
                  </a:lnTo>
                  <a:lnTo>
                    <a:pt x="94" y="4"/>
                  </a:lnTo>
                  <a:lnTo>
                    <a:pt x="100" y="9"/>
                  </a:lnTo>
                  <a:lnTo>
                    <a:pt x="107" y="9"/>
                  </a:lnTo>
                  <a:lnTo>
                    <a:pt x="113" y="11"/>
                  </a:lnTo>
                  <a:lnTo>
                    <a:pt x="113" y="17"/>
                  </a:lnTo>
                  <a:lnTo>
                    <a:pt x="113" y="24"/>
                  </a:lnTo>
                  <a:lnTo>
                    <a:pt x="120" y="31"/>
                  </a:lnTo>
                  <a:lnTo>
                    <a:pt x="122" y="41"/>
                  </a:lnTo>
                  <a:lnTo>
                    <a:pt x="117" y="52"/>
                  </a:lnTo>
                  <a:lnTo>
                    <a:pt x="107" y="61"/>
                  </a:lnTo>
                  <a:lnTo>
                    <a:pt x="102" y="78"/>
                  </a:lnTo>
                  <a:lnTo>
                    <a:pt x="98" y="96"/>
                  </a:lnTo>
                  <a:lnTo>
                    <a:pt x="91" y="111"/>
                  </a:lnTo>
                  <a:lnTo>
                    <a:pt x="82" y="126"/>
                  </a:lnTo>
                  <a:lnTo>
                    <a:pt x="72" y="126"/>
                  </a:lnTo>
                  <a:lnTo>
                    <a:pt x="65" y="124"/>
                  </a:lnTo>
                  <a:lnTo>
                    <a:pt x="58" y="126"/>
                  </a:lnTo>
                  <a:lnTo>
                    <a:pt x="50" y="129"/>
                  </a:lnTo>
                  <a:lnTo>
                    <a:pt x="43" y="131"/>
                  </a:lnTo>
                  <a:lnTo>
                    <a:pt x="35" y="131"/>
                  </a:lnTo>
                  <a:lnTo>
                    <a:pt x="32" y="120"/>
                  </a:lnTo>
                  <a:lnTo>
                    <a:pt x="26" y="107"/>
                  </a:lnTo>
                  <a:lnTo>
                    <a:pt x="11" y="103"/>
                  </a:lnTo>
                  <a:lnTo>
                    <a:pt x="0" y="98"/>
                  </a:lnTo>
                  <a:lnTo>
                    <a:pt x="0" y="92"/>
                  </a:lnTo>
                  <a:lnTo>
                    <a:pt x="0" y="87"/>
                  </a:lnTo>
                  <a:lnTo>
                    <a:pt x="4" y="83"/>
                  </a:lnTo>
                  <a:lnTo>
                    <a:pt x="8" y="79"/>
                  </a:lnTo>
                  <a:lnTo>
                    <a:pt x="15" y="74"/>
                  </a:lnTo>
                  <a:lnTo>
                    <a:pt x="22" y="70"/>
                  </a:lnTo>
                  <a:lnTo>
                    <a:pt x="24" y="59"/>
                  </a:lnTo>
                  <a:lnTo>
                    <a:pt x="28" y="5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5" name="Freeform 51"/>
            <p:cNvSpPr>
              <a:spLocks/>
            </p:cNvSpPr>
            <p:nvPr/>
          </p:nvSpPr>
          <p:spPr bwMode="auto">
            <a:xfrm>
              <a:off x="4070120" y="1921527"/>
              <a:ext cx="57397" cy="67684"/>
            </a:xfrm>
            <a:custGeom>
              <a:avLst/>
              <a:gdLst>
                <a:gd name="T0" fmla="*/ 38 w 110"/>
                <a:gd name="T1" fmla="*/ 48 h 133"/>
                <a:gd name="T2" fmla="*/ 40 w 110"/>
                <a:gd name="T3" fmla="*/ 31 h 133"/>
                <a:gd name="T4" fmla="*/ 46 w 110"/>
                <a:gd name="T5" fmla="*/ 22 h 133"/>
                <a:gd name="T6" fmla="*/ 48 w 110"/>
                <a:gd name="T7" fmla="*/ 28 h 133"/>
                <a:gd name="T8" fmla="*/ 53 w 110"/>
                <a:gd name="T9" fmla="*/ 33 h 133"/>
                <a:gd name="T10" fmla="*/ 68 w 110"/>
                <a:gd name="T11" fmla="*/ 24 h 133"/>
                <a:gd name="T12" fmla="*/ 81 w 110"/>
                <a:gd name="T13" fmla="*/ 13 h 133"/>
                <a:gd name="T14" fmla="*/ 70 w 110"/>
                <a:gd name="T15" fmla="*/ 35 h 133"/>
                <a:gd name="T16" fmla="*/ 61 w 110"/>
                <a:gd name="T17" fmla="*/ 54 h 133"/>
                <a:gd name="T18" fmla="*/ 66 w 110"/>
                <a:gd name="T19" fmla="*/ 50 h 133"/>
                <a:gd name="T20" fmla="*/ 74 w 110"/>
                <a:gd name="T21" fmla="*/ 48 h 133"/>
                <a:gd name="T22" fmla="*/ 75 w 110"/>
                <a:gd name="T23" fmla="*/ 54 h 133"/>
                <a:gd name="T24" fmla="*/ 79 w 110"/>
                <a:gd name="T25" fmla="*/ 59 h 133"/>
                <a:gd name="T26" fmla="*/ 88 w 110"/>
                <a:gd name="T27" fmla="*/ 52 h 133"/>
                <a:gd name="T28" fmla="*/ 94 w 110"/>
                <a:gd name="T29" fmla="*/ 44 h 133"/>
                <a:gd name="T30" fmla="*/ 96 w 110"/>
                <a:gd name="T31" fmla="*/ 37 h 133"/>
                <a:gd name="T32" fmla="*/ 96 w 110"/>
                <a:gd name="T33" fmla="*/ 26 h 133"/>
                <a:gd name="T34" fmla="*/ 99 w 110"/>
                <a:gd name="T35" fmla="*/ 11 h 133"/>
                <a:gd name="T36" fmla="*/ 103 w 110"/>
                <a:gd name="T37" fmla="*/ 0 h 133"/>
                <a:gd name="T38" fmla="*/ 107 w 110"/>
                <a:gd name="T39" fmla="*/ 2 h 133"/>
                <a:gd name="T40" fmla="*/ 109 w 110"/>
                <a:gd name="T41" fmla="*/ 4 h 133"/>
                <a:gd name="T42" fmla="*/ 110 w 110"/>
                <a:gd name="T43" fmla="*/ 7 h 133"/>
                <a:gd name="T44" fmla="*/ 110 w 110"/>
                <a:gd name="T45" fmla="*/ 11 h 133"/>
                <a:gd name="T46" fmla="*/ 110 w 110"/>
                <a:gd name="T47" fmla="*/ 19 h 133"/>
                <a:gd name="T48" fmla="*/ 109 w 110"/>
                <a:gd name="T49" fmla="*/ 30 h 133"/>
                <a:gd name="T50" fmla="*/ 109 w 110"/>
                <a:gd name="T51" fmla="*/ 39 h 133"/>
                <a:gd name="T52" fmla="*/ 109 w 110"/>
                <a:gd name="T53" fmla="*/ 48 h 133"/>
                <a:gd name="T54" fmla="*/ 107 w 110"/>
                <a:gd name="T55" fmla="*/ 56 h 133"/>
                <a:gd name="T56" fmla="*/ 103 w 110"/>
                <a:gd name="T57" fmla="*/ 63 h 133"/>
                <a:gd name="T58" fmla="*/ 96 w 110"/>
                <a:gd name="T59" fmla="*/ 68 h 133"/>
                <a:gd name="T60" fmla="*/ 86 w 110"/>
                <a:gd name="T61" fmla="*/ 72 h 133"/>
                <a:gd name="T62" fmla="*/ 81 w 110"/>
                <a:gd name="T63" fmla="*/ 76 h 133"/>
                <a:gd name="T64" fmla="*/ 77 w 110"/>
                <a:gd name="T65" fmla="*/ 80 h 133"/>
                <a:gd name="T66" fmla="*/ 74 w 110"/>
                <a:gd name="T67" fmla="*/ 89 h 133"/>
                <a:gd name="T68" fmla="*/ 70 w 110"/>
                <a:gd name="T69" fmla="*/ 100 h 133"/>
                <a:gd name="T70" fmla="*/ 64 w 110"/>
                <a:gd name="T71" fmla="*/ 105 h 133"/>
                <a:gd name="T72" fmla="*/ 57 w 110"/>
                <a:gd name="T73" fmla="*/ 109 h 133"/>
                <a:gd name="T74" fmla="*/ 53 w 110"/>
                <a:gd name="T75" fmla="*/ 115 h 133"/>
                <a:gd name="T76" fmla="*/ 50 w 110"/>
                <a:gd name="T77" fmla="*/ 120 h 133"/>
                <a:gd name="T78" fmla="*/ 44 w 110"/>
                <a:gd name="T79" fmla="*/ 126 h 133"/>
                <a:gd name="T80" fmla="*/ 38 w 110"/>
                <a:gd name="T81" fmla="*/ 129 h 133"/>
                <a:gd name="T82" fmla="*/ 29 w 110"/>
                <a:gd name="T83" fmla="*/ 133 h 133"/>
                <a:gd name="T84" fmla="*/ 18 w 110"/>
                <a:gd name="T85" fmla="*/ 133 h 133"/>
                <a:gd name="T86" fmla="*/ 11 w 110"/>
                <a:gd name="T87" fmla="*/ 131 h 133"/>
                <a:gd name="T88" fmla="*/ 3 w 110"/>
                <a:gd name="T89" fmla="*/ 128 h 133"/>
                <a:gd name="T90" fmla="*/ 1 w 110"/>
                <a:gd name="T91" fmla="*/ 124 h 133"/>
                <a:gd name="T92" fmla="*/ 0 w 110"/>
                <a:gd name="T93" fmla="*/ 122 h 133"/>
                <a:gd name="T94" fmla="*/ 0 w 110"/>
                <a:gd name="T95" fmla="*/ 118 h 133"/>
                <a:gd name="T96" fmla="*/ 0 w 110"/>
                <a:gd name="T97" fmla="*/ 115 h 133"/>
                <a:gd name="T98" fmla="*/ 7 w 110"/>
                <a:gd name="T99" fmla="*/ 111 h 133"/>
                <a:gd name="T100" fmla="*/ 14 w 110"/>
                <a:gd name="T101" fmla="*/ 109 h 133"/>
                <a:gd name="T102" fmla="*/ 20 w 110"/>
                <a:gd name="T103" fmla="*/ 107 h 133"/>
                <a:gd name="T104" fmla="*/ 26 w 110"/>
                <a:gd name="T105" fmla="*/ 102 h 133"/>
                <a:gd name="T106" fmla="*/ 22 w 110"/>
                <a:gd name="T107" fmla="*/ 80 h 133"/>
                <a:gd name="T108" fmla="*/ 20 w 110"/>
                <a:gd name="T109" fmla="*/ 57 h 133"/>
                <a:gd name="T110" fmla="*/ 24 w 110"/>
                <a:gd name="T111" fmla="*/ 52 h 133"/>
                <a:gd name="T112" fmla="*/ 27 w 110"/>
                <a:gd name="T113" fmla="*/ 50 h 133"/>
                <a:gd name="T114" fmla="*/ 33 w 110"/>
                <a:gd name="T115" fmla="*/ 48 h 133"/>
                <a:gd name="T116" fmla="*/ 38 w 110"/>
                <a:gd name="T117" fmla="*/ 48 h 13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0"/>
                <a:gd name="T178" fmla="*/ 0 h 133"/>
                <a:gd name="T179" fmla="*/ 110 w 110"/>
                <a:gd name="T180" fmla="*/ 133 h 13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0" h="133">
                  <a:moveTo>
                    <a:pt x="38" y="48"/>
                  </a:moveTo>
                  <a:lnTo>
                    <a:pt x="40" y="31"/>
                  </a:lnTo>
                  <a:lnTo>
                    <a:pt x="46" y="22"/>
                  </a:lnTo>
                  <a:lnTo>
                    <a:pt x="48" y="28"/>
                  </a:lnTo>
                  <a:lnTo>
                    <a:pt x="53" y="33"/>
                  </a:lnTo>
                  <a:lnTo>
                    <a:pt x="68" y="24"/>
                  </a:lnTo>
                  <a:lnTo>
                    <a:pt x="81" y="13"/>
                  </a:lnTo>
                  <a:lnTo>
                    <a:pt x="70" y="35"/>
                  </a:lnTo>
                  <a:lnTo>
                    <a:pt x="61" y="54"/>
                  </a:lnTo>
                  <a:lnTo>
                    <a:pt x="66" y="50"/>
                  </a:lnTo>
                  <a:lnTo>
                    <a:pt x="74" y="48"/>
                  </a:lnTo>
                  <a:lnTo>
                    <a:pt x="75" y="54"/>
                  </a:lnTo>
                  <a:lnTo>
                    <a:pt x="79" y="59"/>
                  </a:lnTo>
                  <a:lnTo>
                    <a:pt x="88" y="52"/>
                  </a:lnTo>
                  <a:lnTo>
                    <a:pt x="94" y="44"/>
                  </a:lnTo>
                  <a:lnTo>
                    <a:pt x="96" y="37"/>
                  </a:lnTo>
                  <a:lnTo>
                    <a:pt x="96" y="26"/>
                  </a:lnTo>
                  <a:lnTo>
                    <a:pt x="99" y="11"/>
                  </a:lnTo>
                  <a:lnTo>
                    <a:pt x="103" y="0"/>
                  </a:lnTo>
                  <a:lnTo>
                    <a:pt x="107" y="2"/>
                  </a:lnTo>
                  <a:lnTo>
                    <a:pt x="109" y="4"/>
                  </a:lnTo>
                  <a:lnTo>
                    <a:pt x="110" y="7"/>
                  </a:lnTo>
                  <a:lnTo>
                    <a:pt x="110" y="11"/>
                  </a:lnTo>
                  <a:lnTo>
                    <a:pt x="110" y="19"/>
                  </a:lnTo>
                  <a:lnTo>
                    <a:pt x="109" y="30"/>
                  </a:lnTo>
                  <a:lnTo>
                    <a:pt x="109" y="39"/>
                  </a:lnTo>
                  <a:lnTo>
                    <a:pt x="109" y="48"/>
                  </a:lnTo>
                  <a:lnTo>
                    <a:pt x="107" y="56"/>
                  </a:lnTo>
                  <a:lnTo>
                    <a:pt x="103" y="63"/>
                  </a:lnTo>
                  <a:lnTo>
                    <a:pt x="96" y="68"/>
                  </a:lnTo>
                  <a:lnTo>
                    <a:pt x="86" y="72"/>
                  </a:lnTo>
                  <a:lnTo>
                    <a:pt x="81" y="76"/>
                  </a:lnTo>
                  <a:lnTo>
                    <a:pt x="77" y="80"/>
                  </a:lnTo>
                  <a:lnTo>
                    <a:pt x="74" y="89"/>
                  </a:lnTo>
                  <a:lnTo>
                    <a:pt x="70" y="100"/>
                  </a:lnTo>
                  <a:lnTo>
                    <a:pt x="64" y="105"/>
                  </a:lnTo>
                  <a:lnTo>
                    <a:pt x="57" y="109"/>
                  </a:lnTo>
                  <a:lnTo>
                    <a:pt x="53" y="115"/>
                  </a:lnTo>
                  <a:lnTo>
                    <a:pt x="50" y="120"/>
                  </a:lnTo>
                  <a:lnTo>
                    <a:pt x="44" y="126"/>
                  </a:lnTo>
                  <a:lnTo>
                    <a:pt x="38" y="129"/>
                  </a:lnTo>
                  <a:lnTo>
                    <a:pt x="29" y="133"/>
                  </a:lnTo>
                  <a:lnTo>
                    <a:pt x="18" y="133"/>
                  </a:lnTo>
                  <a:lnTo>
                    <a:pt x="11" y="131"/>
                  </a:lnTo>
                  <a:lnTo>
                    <a:pt x="3" y="128"/>
                  </a:lnTo>
                  <a:lnTo>
                    <a:pt x="1" y="124"/>
                  </a:lnTo>
                  <a:lnTo>
                    <a:pt x="0" y="122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7" y="111"/>
                  </a:lnTo>
                  <a:lnTo>
                    <a:pt x="14" y="109"/>
                  </a:lnTo>
                  <a:lnTo>
                    <a:pt x="20" y="107"/>
                  </a:lnTo>
                  <a:lnTo>
                    <a:pt x="26" y="102"/>
                  </a:lnTo>
                  <a:lnTo>
                    <a:pt x="22" y="80"/>
                  </a:lnTo>
                  <a:lnTo>
                    <a:pt x="20" y="57"/>
                  </a:lnTo>
                  <a:lnTo>
                    <a:pt x="24" y="52"/>
                  </a:lnTo>
                  <a:lnTo>
                    <a:pt x="27" y="50"/>
                  </a:lnTo>
                  <a:lnTo>
                    <a:pt x="33" y="48"/>
                  </a:lnTo>
                  <a:lnTo>
                    <a:pt x="38" y="4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6" name="Freeform 52"/>
            <p:cNvSpPr>
              <a:spLocks/>
            </p:cNvSpPr>
            <p:nvPr/>
          </p:nvSpPr>
          <p:spPr bwMode="auto">
            <a:xfrm>
              <a:off x="4011158" y="1749518"/>
              <a:ext cx="238981" cy="251907"/>
            </a:xfrm>
            <a:custGeom>
              <a:avLst/>
              <a:gdLst>
                <a:gd name="T0" fmla="*/ 336 w 458"/>
                <a:gd name="T1" fmla="*/ 325 h 495"/>
                <a:gd name="T2" fmla="*/ 340 w 458"/>
                <a:gd name="T3" fmla="*/ 272 h 495"/>
                <a:gd name="T4" fmla="*/ 366 w 458"/>
                <a:gd name="T5" fmla="*/ 248 h 495"/>
                <a:gd name="T6" fmla="*/ 381 w 458"/>
                <a:gd name="T7" fmla="*/ 235 h 495"/>
                <a:gd name="T8" fmla="*/ 392 w 458"/>
                <a:gd name="T9" fmla="*/ 218 h 495"/>
                <a:gd name="T10" fmla="*/ 421 w 458"/>
                <a:gd name="T11" fmla="*/ 211 h 495"/>
                <a:gd name="T12" fmla="*/ 438 w 458"/>
                <a:gd name="T13" fmla="*/ 188 h 495"/>
                <a:gd name="T14" fmla="*/ 441 w 458"/>
                <a:gd name="T15" fmla="*/ 140 h 495"/>
                <a:gd name="T16" fmla="*/ 451 w 458"/>
                <a:gd name="T17" fmla="*/ 122 h 495"/>
                <a:gd name="T18" fmla="*/ 447 w 458"/>
                <a:gd name="T19" fmla="*/ 109 h 495"/>
                <a:gd name="T20" fmla="*/ 417 w 458"/>
                <a:gd name="T21" fmla="*/ 107 h 495"/>
                <a:gd name="T22" fmla="*/ 417 w 458"/>
                <a:gd name="T23" fmla="*/ 85 h 495"/>
                <a:gd name="T24" fmla="*/ 423 w 458"/>
                <a:gd name="T25" fmla="*/ 59 h 495"/>
                <a:gd name="T26" fmla="*/ 369 w 458"/>
                <a:gd name="T27" fmla="*/ 31 h 495"/>
                <a:gd name="T28" fmla="*/ 329 w 458"/>
                <a:gd name="T29" fmla="*/ 61 h 495"/>
                <a:gd name="T30" fmla="*/ 297 w 458"/>
                <a:gd name="T31" fmla="*/ 79 h 495"/>
                <a:gd name="T32" fmla="*/ 262 w 458"/>
                <a:gd name="T33" fmla="*/ 92 h 495"/>
                <a:gd name="T34" fmla="*/ 262 w 458"/>
                <a:gd name="T35" fmla="*/ 120 h 495"/>
                <a:gd name="T36" fmla="*/ 240 w 458"/>
                <a:gd name="T37" fmla="*/ 127 h 495"/>
                <a:gd name="T38" fmla="*/ 229 w 458"/>
                <a:gd name="T39" fmla="*/ 137 h 495"/>
                <a:gd name="T40" fmla="*/ 231 w 458"/>
                <a:gd name="T41" fmla="*/ 153 h 495"/>
                <a:gd name="T42" fmla="*/ 181 w 458"/>
                <a:gd name="T43" fmla="*/ 168 h 495"/>
                <a:gd name="T44" fmla="*/ 179 w 458"/>
                <a:gd name="T45" fmla="*/ 199 h 495"/>
                <a:gd name="T46" fmla="*/ 168 w 458"/>
                <a:gd name="T47" fmla="*/ 233 h 495"/>
                <a:gd name="T48" fmla="*/ 127 w 458"/>
                <a:gd name="T49" fmla="*/ 246 h 495"/>
                <a:gd name="T50" fmla="*/ 0 w 458"/>
                <a:gd name="T51" fmla="*/ 248 h 495"/>
                <a:gd name="T52" fmla="*/ 13 w 458"/>
                <a:gd name="T53" fmla="*/ 262 h 495"/>
                <a:gd name="T54" fmla="*/ 42 w 458"/>
                <a:gd name="T55" fmla="*/ 259 h 495"/>
                <a:gd name="T56" fmla="*/ 61 w 458"/>
                <a:gd name="T57" fmla="*/ 272 h 495"/>
                <a:gd name="T58" fmla="*/ 65 w 458"/>
                <a:gd name="T59" fmla="*/ 307 h 495"/>
                <a:gd name="T60" fmla="*/ 41 w 458"/>
                <a:gd name="T61" fmla="*/ 364 h 495"/>
                <a:gd name="T62" fmla="*/ 41 w 458"/>
                <a:gd name="T63" fmla="*/ 377 h 495"/>
                <a:gd name="T64" fmla="*/ 63 w 458"/>
                <a:gd name="T65" fmla="*/ 382 h 495"/>
                <a:gd name="T66" fmla="*/ 79 w 458"/>
                <a:gd name="T67" fmla="*/ 381 h 495"/>
                <a:gd name="T68" fmla="*/ 79 w 458"/>
                <a:gd name="T69" fmla="*/ 366 h 495"/>
                <a:gd name="T70" fmla="*/ 90 w 458"/>
                <a:gd name="T71" fmla="*/ 384 h 495"/>
                <a:gd name="T72" fmla="*/ 107 w 458"/>
                <a:gd name="T73" fmla="*/ 408 h 495"/>
                <a:gd name="T74" fmla="*/ 124 w 458"/>
                <a:gd name="T75" fmla="*/ 434 h 495"/>
                <a:gd name="T76" fmla="*/ 135 w 458"/>
                <a:gd name="T77" fmla="*/ 443 h 495"/>
                <a:gd name="T78" fmla="*/ 137 w 458"/>
                <a:gd name="T79" fmla="*/ 390 h 495"/>
                <a:gd name="T80" fmla="*/ 153 w 458"/>
                <a:gd name="T81" fmla="*/ 369 h 495"/>
                <a:gd name="T82" fmla="*/ 181 w 458"/>
                <a:gd name="T83" fmla="*/ 362 h 495"/>
                <a:gd name="T84" fmla="*/ 179 w 458"/>
                <a:gd name="T85" fmla="*/ 388 h 495"/>
                <a:gd name="T86" fmla="*/ 201 w 458"/>
                <a:gd name="T87" fmla="*/ 390 h 495"/>
                <a:gd name="T88" fmla="*/ 212 w 458"/>
                <a:gd name="T89" fmla="*/ 349 h 495"/>
                <a:gd name="T90" fmla="*/ 223 w 458"/>
                <a:gd name="T91" fmla="*/ 345 h 495"/>
                <a:gd name="T92" fmla="*/ 222 w 458"/>
                <a:gd name="T93" fmla="*/ 377 h 495"/>
                <a:gd name="T94" fmla="*/ 209 w 458"/>
                <a:gd name="T95" fmla="*/ 406 h 495"/>
                <a:gd name="T96" fmla="*/ 187 w 458"/>
                <a:gd name="T97" fmla="*/ 427 h 495"/>
                <a:gd name="T98" fmla="*/ 166 w 458"/>
                <a:gd name="T99" fmla="*/ 453 h 495"/>
                <a:gd name="T100" fmla="*/ 177 w 458"/>
                <a:gd name="T101" fmla="*/ 466 h 495"/>
                <a:gd name="T102" fmla="*/ 188 w 458"/>
                <a:gd name="T103" fmla="*/ 490 h 495"/>
                <a:gd name="T104" fmla="*/ 205 w 458"/>
                <a:gd name="T105" fmla="*/ 495 h 495"/>
                <a:gd name="T106" fmla="*/ 233 w 458"/>
                <a:gd name="T107" fmla="*/ 466 h 495"/>
                <a:gd name="T108" fmla="*/ 268 w 458"/>
                <a:gd name="T109" fmla="*/ 438 h 495"/>
                <a:gd name="T110" fmla="*/ 273 w 458"/>
                <a:gd name="T111" fmla="*/ 419 h 495"/>
                <a:gd name="T112" fmla="*/ 259 w 458"/>
                <a:gd name="T113" fmla="*/ 412 h 495"/>
                <a:gd name="T114" fmla="*/ 259 w 458"/>
                <a:gd name="T115" fmla="*/ 386 h 495"/>
                <a:gd name="T116" fmla="*/ 290 w 458"/>
                <a:gd name="T117" fmla="*/ 342 h 495"/>
                <a:gd name="T118" fmla="*/ 325 w 458"/>
                <a:gd name="T119" fmla="*/ 349 h 4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58"/>
                <a:gd name="T181" fmla="*/ 0 h 495"/>
                <a:gd name="T182" fmla="*/ 458 w 458"/>
                <a:gd name="T183" fmla="*/ 495 h 4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58" h="495">
                  <a:moveTo>
                    <a:pt x="334" y="345"/>
                  </a:moveTo>
                  <a:lnTo>
                    <a:pt x="331" y="342"/>
                  </a:lnTo>
                  <a:lnTo>
                    <a:pt x="331" y="338"/>
                  </a:lnTo>
                  <a:lnTo>
                    <a:pt x="336" y="325"/>
                  </a:lnTo>
                  <a:lnTo>
                    <a:pt x="345" y="312"/>
                  </a:lnTo>
                  <a:lnTo>
                    <a:pt x="344" y="299"/>
                  </a:lnTo>
                  <a:lnTo>
                    <a:pt x="340" y="284"/>
                  </a:lnTo>
                  <a:lnTo>
                    <a:pt x="340" y="272"/>
                  </a:lnTo>
                  <a:lnTo>
                    <a:pt x="342" y="262"/>
                  </a:lnTo>
                  <a:lnTo>
                    <a:pt x="353" y="257"/>
                  </a:lnTo>
                  <a:lnTo>
                    <a:pt x="364" y="251"/>
                  </a:lnTo>
                  <a:lnTo>
                    <a:pt x="366" y="248"/>
                  </a:lnTo>
                  <a:lnTo>
                    <a:pt x="369" y="242"/>
                  </a:lnTo>
                  <a:lnTo>
                    <a:pt x="373" y="240"/>
                  </a:lnTo>
                  <a:lnTo>
                    <a:pt x="379" y="238"/>
                  </a:lnTo>
                  <a:lnTo>
                    <a:pt x="381" y="235"/>
                  </a:lnTo>
                  <a:lnTo>
                    <a:pt x="382" y="229"/>
                  </a:lnTo>
                  <a:lnTo>
                    <a:pt x="382" y="225"/>
                  </a:lnTo>
                  <a:lnTo>
                    <a:pt x="381" y="220"/>
                  </a:lnTo>
                  <a:lnTo>
                    <a:pt x="392" y="218"/>
                  </a:lnTo>
                  <a:lnTo>
                    <a:pt x="406" y="218"/>
                  </a:lnTo>
                  <a:lnTo>
                    <a:pt x="414" y="214"/>
                  </a:lnTo>
                  <a:lnTo>
                    <a:pt x="417" y="212"/>
                  </a:lnTo>
                  <a:lnTo>
                    <a:pt x="421" y="211"/>
                  </a:lnTo>
                  <a:lnTo>
                    <a:pt x="429" y="211"/>
                  </a:lnTo>
                  <a:lnTo>
                    <a:pt x="432" y="205"/>
                  </a:lnTo>
                  <a:lnTo>
                    <a:pt x="436" y="198"/>
                  </a:lnTo>
                  <a:lnTo>
                    <a:pt x="438" y="188"/>
                  </a:lnTo>
                  <a:lnTo>
                    <a:pt x="438" y="181"/>
                  </a:lnTo>
                  <a:lnTo>
                    <a:pt x="438" y="163"/>
                  </a:lnTo>
                  <a:lnTo>
                    <a:pt x="436" y="144"/>
                  </a:lnTo>
                  <a:lnTo>
                    <a:pt x="441" y="140"/>
                  </a:lnTo>
                  <a:lnTo>
                    <a:pt x="445" y="135"/>
                  </a:lnTo>
                  <a:lnTo>
                    <a:pt x="447" y="129"/>
                  </a:lnTo>
                  <a:lnTo>
                    <a:pt x="447" y="124"/>
                  </a:lnTo>
                  <a:lnTo>
                    <a:pt x="451" y="122"/>
                  </a:lnTo>
                  <a:lnTo>
                    <a:pt x="454" y="120"/>
                  </a:lnTo>
                  <a:lnTo>
                    <a:pt x="456" y="116"/>
                  </a:lnTo>
                  <a:lnTo>
                    <a:pt x="458" y="113"/>
                  </a:lnTo>
                  <a:lnTo>
                    <a:pt x="447" y="109"/>
                  </a:lnTo>
                  <a:lnTo>
                    <a:pt x="434" y="111"/>
                  </a:lnTo>
                  <a:lnTo>
                    <a:pt x="429" y="111"/>
                  </a:lnTo>
                  <a:lnTo>
                    <a:pt x="421" y="111"/>
                  </a:lnTo>
                  <a:lnTo>
                    <a:pt x="417" y="107"/>
                  </a:lnTo>
                  <a:lnTo>
                    <a:pt x="414" y="103"/>
                  </a:lnTo>
                  <a:lnTo>
                    <a:pt x="414" y="96"/>
                  </a:lnTo>
                  <a:lnTo>
                    <a:pt x="416" y="89"/>
                  </a:lnTo>
                  <a:lnTo>
                    <a:pt x="417" y="85"/>
                  </a:lnTo>
                  <a:lnTo>
                    <a:pt x="421" y="81"/>
                  </a:lnTo>
                  <a:lnTo>
                    <a:pt x="427" y="78"/>
                  </a:lnTo>
                  <a:lnTo>
                    <a:pt x="430" y="76"/>
                  </a:lnTo>
                  <a:lnTo>
                    <a:pt x="423" y="59"/>
                  </a:lnTo>
                  <a:lnTo>
                    <a:pt x="410" y="39"/>
                  </a:lnTo>
                  <a:lnTo>
                    <a:pt x="397" y="17"/>
                  </a:lnTo>
                  <a:lnTo>
                    <a:pt x="386" y="0"/>
                  </a:lnTo>
                  <a:lnTo>
                    <a:pt x="369" y="31"/>
                  </a:lnTo>
                  <a:lnTo>
                    <a:pt x="356" y="54"/>
                  </a:lnTo>
                  <a:lnTo>
                    <a:pt x="349" y="59"/>
                  </a:lnTo>
                  <a:lnTo>
                    <a:pt x="340" y="61"/>
                  </a:lnTo>
                  <a:lnTo>
                    <a:pt x="329" y="61"/>
                  </a:lnTo>
                  <a:lnTo>
                    <a:pt x="316" y="61"/>
                  </a:lnTo>
                  <a:lnTo>
                    <a:pt x="308" y="70"/>
                  </a:lnTo>
                  <a:lnTo>
                    <a:pt x="303" y="76"/>
                  </a:lnTo>
                  <a:lnTo>
                    <a:pt x="297" y="79"/>
                  </a:lnTo>
                  <a:lnTo>
                    <a:pt x="290" y="81"/>
                  </a:lnTo>
                  <a:lnTo>
                    <a:pt x="277" y="83"/>
                  </a:lnTo>
                  <a:lnTo>
                    <a:pt x="262" y="83"/>
                  </a:lnTo>
                  <a:lnTo>
                    <a:pt x="262" y="92"/>
                  </a:lnTo>
                  <a:lnTo>
                    <a:pt x="264" y="109"/>
                  </a:lnTo>
                  <a:lnTo>
                    <a:pt x="264" y="113"/>
                  </a:lnTo>
                  <a:lnTo>
                    <a:pt x="264" y="118"/>
                  </a:lnTo>
                  <a:lnTo>
                    <a:pt x="262" y="120"/>
                  </a:lnTo>
                  <a:lnTo>
                    <a:pt x="259" y="124"/>
                  </a:lnTo>
                  <a:lnTo>
                    <a:pt x="255" y="126"/>
                  </a:lnTo>
                  <a:lnTo>
                    <a:pt x="248" y="127"/>
                  </a:lnTo>
                  <a:lnTo>
                    <a:pt x="240" y="127"/>
                  </a:lnTo>
                  <a:lnTo>
                    <a:pt x="231" y="126"/>
                  </a:lnTo>
                  <a:lnTo>
                    <a:pt x="229" y="129"/>
                  </a:lnTo>
                  <a:lnTo>
                    <a:pt x="229" y="133"/>
                  </a:lnTo>
                  <a:lnTo>
                    <a:pt x="229" y="137"/>
                  </a:lnTo>
                  <a:lnTo>
                    <a:pt x="231" y="140"/>
                  </a:lnTo>
                  <a:lnTo>
                    <a:pt x="233" y="146"/>
                  </a:lnTo>
                  <a:lnTo>
                    <a:pt x="233" y="150"/>
                  </a:lnTo>
                  <a:lnTo>
                    <a:pt x="231" y="153"/>
                  </a:lnTo>
                  <a:lnTo>
                    <a:pt x="223" y="157"/>
                  </a:lnTo>
                  <a:lnTo>
                    <a:pt x="205" y="157"/>
                  </a:lnTo>
                  <a:lnTo>
                    <a:pt x="187" y="161"/>
                  </a:lnTo>
                  <a:lnTo>
                    <a:pt x="181" y="168"/>
                  </a:lnTo>
                  <a:lnTo>
                    <a:pt x="179" y="175"/>
                  </a:lnTo>
                  <a:lnTo>
                    <a:pt x="179" y="183"/>
                  </a:lnTo>
                  <a:lnTo>
                    <a:pt x="179" y="190"/>
                  </a:lnTo>
                  <a:lnTo>
                    <a:pt x="179" y="199"/>
                  </a:lnTo>
                  <a:lnTo>
                    <a:pt x="179" y="207"/>
                  </a:lnTo>
                  <a:lnTo>
                    <a:pt x="177" y="216"/>
                  </a:lnTo>
                  <a:lnTo>
                    <a:pt x="174" y="227"/>
                  </a:lnTo>
                  <a:lnTo>
                    <a:pt x="168" y="233"/>
                  </a:lnTo>
                  <a:lnTo>
                    <a:pt x="163" y="236"/>
                  </a:lnTo>
                  <a:lnTo>
                    <a:pt x="155" y="240"/>
                  </a:lnTo>
                  <a:lnTo>
                    <a:pt x="146" y="244"/>
                  </a:lnTo>
                  <a:lnTo>
                    <a:pt x="127" y="246"/>
                  </a:lnTo>
                  <a:lnTo>
                    <a:pt x="105" y="246"/>
                  </a:lnTo>
                  <a:lnTo>
                    <a:pt x="55" y="240"/>
                  </a:lnTo>
                  <a:lnTo>
                    <a:pt x="0" y="229"/>
                  </a:lnTo>
                  <a:lnTo>
                    <a:pt x="0" y="248"/>
                  </a:lnTo>
                  <a:lnTo>
                    <a:pt x="0" y="268"/>
                  </a:lnTo>
                  <a:lnTo>
                    <a:pt x="2" y="268"/>
                  </a:lnTo>
                  <a:lnTo>
                    <a:pt x="2" y="266"/>
                  </a:lnTo>
                  <a:lnTo>
                    <a:pt x="13" y="262"/>
                  </a:lnTo>
                  <a:lnTo>
                    <a:pt x="26" y="260"/>
                  </a:lnTo>
                  <a:lnTo>
                    <a:pt x="31" y="257"/>
                  </a:lnTo>
                  <a:lnTo>
                    <a:pt x="37" y="255"/>
                  </a:lnTo>
                  <a:lnTo>
                    <a:pt x="42" y="259"/>
                  </a:lnTo>
                  <a:lnTo>
                    <a:pt x="48" y="264"/>
                  </a:lnTo>
                  <a:lnTo>
                    <a:pt x="55" y="264"/>
                  </a:lnTo>
                  <a:lnTo>
                    <a:pt x="61" y="266"/>
                  </a:lnTo>
                  <a:lnTo>
                    <a:pt x="61" y="272"/>
                  </a:lnTo>
                  <a:lnTo>
                    <a:pt x="61" y="279"/>
                  </a:lnTo>
                  <a:lnTo>
                    <a:pt x="68" y="286"/>
                  </a:lnTo>
                  <a:lnTo>
                    <a:pt x="70" y="296"/>
                  </a:lnTo>
                  <a:lnTo>
                    <a:pt x="65" y="307"/>
                  </a:lnTo>
                  <a:lnTo>
                    <a:pt x="55" y="316"/>
                  </a:lnTo>
                  <a:lnTo>
                    <a:pt x="52" y="333"/>
                  </a:lnTo>
                  <a:lnTo>
                    <a:pt x="46" y="349"/>
                  </a:lnTo>
                  <a:lnTo>
                    <a:pt x="41" y="364"/>
                  </a:lnTo>
                  <a:lnTo>
                    <a:pt x="31" y="379"/>
                  </a:lnTo>
                  <a:lnTo>
                    <a:pt x="35" y="379"/>
                  </a:lnTo>
                  <a:lnTo>
                    <a:pt x="39" y="379"/>
                  </a:lnTo>
                  <a:lnTo>
                    <a:pt x="41" y="377"/>
                  </a:lnTo>
                  <a:lnTo>
                    <a:pt x="42" y="373"/>
                  </a:lnTo>
                  <a:lnTo>
                    <a:pt x="44" y="371"/>
                  </a:lnTo>
                  <a:lnTo>
                    <a:pt x="50" y="369"/>
                  </a:lnTo>
                  <a:lnTo>
                    <a:pt x="63" y="382"/>
                  </a:lnTo>
                  <a:lnTo>
                    <a:pt x="74" y="388"/>
                  </a:lnTo>
                  <a:lnTo>
                    <a:pt x="78" y="386"/>
                  </a:lnTo>
                  <a:lnTo>
                    <a:pt x="79" y="384"/>
                  </a:lnTo>
                  <a:lnTo>
                    <a:pt x="79" y="381"/>
                  </a:lnTo>
                  <a:lnTo>
                    <a:pt x="78" y="377"/>
                  </a:lnTo>
                  <a:lnTo>
                    <a:pt x="76" y="371"/>
                  </a:lnTo>
                  <a:lnTo>
                    <a:pt x="76" y="366"/>
                  </a:lnTo>
                  <a:lnTo>
                    <a:pt x="79" y="366"/>
                  </a:lnTo>
                  <a:lnTo>
                    <a:pt x="83" y="368"/>
                  </a:lnTo>
                  <a:lnTo>
                    <a:pt x="85" y="369"/>
                  </a:lnTo>
                  <a:lnTo>
                    <a:pt x="89" y="375"/>
                  </a:lnTo>
                  <a:lnTo>
                    <a:pt x="90" y="384"/>
                  </a:lnTo>
                  <a:lnTo>
                    <a:pt x="92" y="395"/>
                  </a:lnTo>
                  <a:lnTo>
                    <a:pt x="94" y="403"/>
                  </a:lnTo>
                  <a:lnTo>
                    <a:pt x="100" y="406"/>
                  </a:lnTo>
                  <a:lnTo>
                    <a:pt x="107" y="408"/>
                  </a:lnTo>
                  <a:lnTo>
                    <a:pt x="116" y="410"/>
                  </a:lnTo>
                  <a:lnTo>
                    <a:pt x="120" y="416"/>
                  </a:lnTo>
                  <a:lnTo>
                    <a:pt x="122" y="423"/>
                  </a:lnTo>
                  <a:lnTo>
                    <a:pt x="124" y="434"/>
                  </a:lnTo>
                  <a:lnTo>
                    <a:pt x="124" y="449"/>
                  </a:lnTo>
                  <a:lnTo>
                    <a:pt x="127" y="447"/>
                  </a:lnTo>
                  <a:lnTo>
                    <a:pt x="133" y="445"/>
                  </a:lnTo>
                  <a:lnTo>
                    <a:pt x="135" y="443"/>
                  </a:lnTo>
                  <a:lnTo>
                    <a:pt x="139" y="440"/>
                  </a:lnTo>
                  <a:lnTo>
                    <a:pt x="135" y="418"/>
                  </a:lnTo>
                  <a:lnTo>
                    <a:pt x="133" y="395"/>
                  </a:lnTo>
                  <a:lnTo>
                    <a:pt x="137" y="390"/>
                  </a:lnTo>
                  <a:lnTo>
                    <a:pt x="140" y="388"/>
                  </a:lnTo>
                  <a:lnTo>
                    <a:pt x="146" y="386"/>
                  </a:lnTo>
                  <a:lnTo>
                    <a:pt x="151" y="386"/>
                  </a:lnTo>
                  <a:lnTo>
                    <a:pt x="153" y="369"/>
                  </a:lnTo>
                  <a:lnTo>
                    <a:pt x="159" y="360"/>
                  </a:lnTo>
                  <a:lnTo>
                    <a:pt x="161" y="366"/>
                  </a:lnTo>
                  <a:lnTo>
                    <a:pt x="166" y="371"/>
                  </a:lnTo>
                  <a:lnTo>
                    <a:pt x="181" y="362"/>
                  </a:lnTo>
                  <a:lnTo>
                    <a:pt x="194" y="351"/>
                  </a:lnTo>
                  <a:lnTo>
                    <a:pt x="183" y="373"/>
                  </a:lnTo>
                  <a:lnTo>
                    <a:pt x="174" y="392"/>
                  </a:lnTo>
                  <a:lnTo>
                    <a:pt x="179" y="388"/>
                  </a:lnTo>
                  <a:lnTo>
                    <a:pt x="187" y="386"/>
                  </a:lnTo>
                  <a:lnTo>
                    <a:pt x="188" y="392"/>
                  </a:lnTo>
                  <a:lnTo>
                    <a:pt x="192" y="397"/>
                  </a:lnTo>
                  <a:lnTo>
                    <a:pt x="201" y="390"/>
                  </a:lnTo>
                  <a:lnTo>
                    <a:pt x="207" y="382"/>
                  </a:lnTo>
                  <a:lnTo>
                    <a:pt x="209" y="375"/>
                  </a:lnTo>
                  <a:lnTo>
                    <a:pt x="209" y="364"/>
                  </a:lnTo>
                  <a:lnTo>
                    <a:pt x="212" y="349"/>
                  </a:lnTo>
                  <a:lnTo>
                    <a:pt x="216" y="338"/>
                  </a:lnTo>
                  <a:lnTo>
                    <a:pt x="220" y="340"/>
                  </a:lnTo>
                  <a:lnTo>
                    <a:pt x="222" y="342"/>
                  </a:lnTo>
                  <a:lnTo>
                    <a:pt x="223" y="345"/>
                  </a:lnTo>
                  <a:lnTo>
                    <a:pt x="223" y="349"/>
                  </a:lnTo>
                  <a:lnTo>
                    <a:pt x="223" y="357"/>
                  </a:lnTo>
                  <a:lnTo>
                    <a:pt x="222" y="368"/>
                  </a:lnTo>
                  <a:lnTo>
                    <a:pt x="222" y="377"/>
                  </a:lnTo>
                  <a:lnTo>
                    <a:pt x="222" y="386"/>
                  </a:lnTo>
                  <a:lnTo>
                    <a:pt x="220" y="394"/>
                  </a:lnTo>
                  <a:lnTo>
                    <a:pt x="216" y="401"/>
                  </a:lnTo>
                  <a:lnTo>
                    <a:pt x="209" y="406"/>
                  </a:lnTo>
                  <a:lnTo>
                    <a:pt x="199" y="410"/>
                  </a:lnTo>
                  <a:lnTo>
                    <a:pt x="194" y="414"/>
                  </a:lnTo>
                  <a:lnTo>
                    <a:pt x="190" y="418"/>
                  </a:lnTo>
                  <a:lnTo>
                    <a:pt x="187" y="427"/>
                  </a:lnTo>
                  <a:lnTo>
                    <a:pt x="183" y="438"/>
                  </a:lnTo>
                  <a:lnTo>
                    <a:pt x="177" y="443"/>
                  </a:lnTo>
                  <a:lnTo>
                    <a:pt x="170" y="447"/>
                  </a:lnTo>
                  <a:lnTo>
                    <a:pt x="166" y="453"/>
                  </a:lnTo>
                  <a:lnTo>
                    <a:pt x="163" y="458"/>
                  </a:lnTo>
                  <a:lnTo>
                    <a:pt x="166" y="458"/>
                  </a:lnTo>
                  <a:lnTo>
                    <a:pt x="172" y="462"/>
                  </a:lnTo>
                  <a:lnTo>
                    <a:pt x="177" y="466"/>
                  </a:lnTo>
                  <a:lnTo>
                    <a:pt x="181" y="471"/>
                  </a:lnTo>
                  <a:lnTo>
                    <a:pt x="185" y="479"/>
                  </a:lnTo>
                  <a:lnTo>
                    <a:pt x="187" y="484"/>
                  </a:lnTo>
                  <a:lnTo>
                    <a:pt x="188" y="490"/>
                  </a:lnTo>
                  <a:lnTo>
                    <a:pt x="188" y="495"/>
                  </a:lnTo>
                  <a:lnTo>
                    <a:pt x="190" y="495"/>
                  </a:lnTo>
                  <a:lnTo>
                    <a:pt x="194" y="495"/>
                  </a:lnTo>
                  <a:lnTo>
                    <a:pt x="205" y="495"/>
                  </a:lnTo>
                  <a:lnTo>
                    <a:pt x="214" y="491"/>
                  </a:lnTo>
                  <a:lnTo>
                    <a:pt x="220" y="486"/>
                  </a:lnTo>
                  <a:lnTo>
                    <a:pt x="225" y="480"/>
                  </a:lnTo>
                  <a:lnTo>
                    <a:pt x="233" y="466"/>
                  </a:lnTo>
                  <a:lnTo>
                    <a:pt x="238" y="456"/>
                  </a:lnTo>
                  <a:lnTo>
                    <a:pt x="251" y="449"/>
                  </a:lnTo>
                  <a:lnTo>
                    <a:pt x="262" y="442"/>
                  </a:lnTo>
                  <a:lnTo>
                    <a:pt x="268" y="438"/>
                  </a:lnTo>
                  <a:lnTo>
                    <a:pt x="272" y="434"/>
                  </a:lnTo>
                  <a:lnTo>
                    <a:pt x="275" y="430"/>
                  </a:lnTo>
                  <a:lnTo>
                    <a:pt x="277" y="425"/>
                  </a:lnTo>
                  <a:lnTo>
                    <a:pt x="273" y="419"/>
                  </a:lnTo>
                  <a:lnTo>
                    <a:pt x="272" y="418"/>
                  </a:lnTo>
                  <a:lnTo>
                    <a:pt x="268" y="414"/>
                  </a:lnTo>
                  <a:lnTo>
                    <a:pt x="264" y="414"/>
                  </a:lnTo>
                  <a:lnTo>
                    <a:pt x="259" y="412"/>
                  </a:lnTo>
                  <a:lnTo>
                    <a:pt x="255" y="408"/>
                  </a:lnTo>
                  <a:lnTo>
                    <a:pt x="253" y="401"/>
                  </a:lnTo>
                  <a:lnTo>
                    <a:pt x="255" y="394"/>
                  </a:lnTo>
                  <a:lnTo>
                    <a:pt x="259" y="386"/>
                  </a:lnTo>
                  <a:lnTo>
                    <a:pt x="264" y="377"/>
                  </a:lnTo>
                  <a:lnTo>
                    <a:pt x="277" y="362"/>
                  </a:lnTo>
                  <a:lnTo>
                    <a:pt x="286" y="351"/>
                  </a:lnTo>
                  <a:lnTo>
                    <a:pt x="290" y="342"/>
                  </a:lnTo>
                  <a:lnTo>
                    <a:pt x="297" y="334"/>
                  </a:lnTo>
                  <a:lnTo>
                    <a:pt x="307" y="342"/>
                  </a:lnTo>
                  <a:lnTo>
                    <a:pt x="318" y="351"/>
                  </a:lnTo>
                  <a:lnTo>
                    <a:pt x="325" y="349"/>
                  </a:lnTo>
                  <a:lnTo>
                    <a:pt x="334" y="34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7" name="Freeform 53"/>
            <p:cNvSpPr>
              <a:spLocks/>
            </p:cNvSpPr>
            <p:nvPr/>
          </p:nvSpPr>
          <p:spPr bwMode="auto">
            <a:xfrm>
              <a:off x="3609899" y="2609054"/>
              <a:ext cx="110098" cy="163358"/>
            </a:xfrm>
            <a:custGeom>
              <a:avLst/>
              <a:gdLst>
                <a:gd name="T0" fmla="*/ 12 w 211"/>
                <a:gd name="T1" fmla="*/ 151 h 321"/>
                <a:gd name="T2" fmla="*/ 2 w 211"/>
                <a:gd name="T3" fmla="*/ 162 h 321"/>
                <a:gd name="T4" fmla="*/ 6 w 211"/>
                <a:gd name="T5" fmla="*/ 186 h 321"/>
                <a:gd name="T6" fmla="*/ 25 w 211"/>
                <a:gd name="T7" fmla="*/ 249 h 321"/>
                <a:gd name="T8" fmla="*/ 26 w 211"/>
                <a:gd name="T9" fmla="*/ 292 h 321"/>
                <a:gd name="T10" fmla="*/ 32 w 211"/>
                <a:gd name="T11" fmla="*/ 307 h 321"/>
                <a:gd name="T12" fmla="*/ 60 w 211"/>
                <a:gd name="T13" fmla="*/ 318 h 321"/>
                <a:gd name="T14" fmla="*/ 113 w 211"/>
                <a:gd name="T15" fmla="*/ 290 h 321"/>
                <a:gd name="T16" fmla="*/ 119 w 211"/>
                <a:gd name="T17" fmla="*/ 251 h 321"/>
                <a:gd name="T18" fmla="*/ 121 w 211"/>
                <a:gd name="T19" fmla="*/ 229 h 321"/>
                <a:gd name="T20" fmla="*/ 124 w 211"/>
                <a:gd name="T21" fmla="*/ 212 h 321"/>
                <a:gd name="T22" fmla="*/ 130 w 211"/>
                <a:gd name="T23" fmla="*/ 192 h 321"/>
                <a:gd name="T24" fmla="*/ 146 w 211"/>
                <a:gd name="T25" fmla="*/ 188 h 321"/>
                <a:gd name="T26" fmla="*/ 159 w 211"/>
                <a:gd name="T27" fmla="*/ 168 h 321"/>
                <a:gd name="T28" fmla="*/ 189 w 211"/>
                <a:gd name="T29" fmla="*/ 155 h 321"/>
                <a:gd name="T30" fmla="*/ 185 w 211"/>
                <a:gd name="T31" fmla="*/ 151 h 321"/>
                <a:gd name="T32" fmla="*/ 159 w 211"/>
                <a:gd name="T33" fmla="*/ 153 h 321"/>
                <a:gd name="T34" fmla="*/ 159 w 211"/>
                <a:gd name="T35" fmla="*/ 150 h 321"/>
                <a:gd name="T36" fmla="*/ 170 w 211"/>
                <a:gd name="T37" fmla="*/ 148 h 321"/>
                <a:gd name="T38" fmla="*/ 187 w 211"/>
                <a:gd name="T39" fmla="*/ 114 h 321"/>
                <a:gd name="T40" fmla="*/ 183 w 211"/>
                <a:gd name="T41" fmla="*/ 90 h 321"/>
                <a:gd name="T42" fmla="*/ 194 w 211"/>
                <a:gd name="T43" fmla="*/ 70 h 321"/>
                <a:gd name="T44" fmla="*/ 209 w 211"/>
                <a:gd name="T45" fmla="*/ 50 h 321"/>
                <a:gd name="T46" fmla="*/ 187 w 211"/>
                <a:gd name="T47" fmla="*/ 15 h 321"/>
                <a:gd name="T48" fmla="*/ 126 w 211"/>
                <a:gd name="T49" fmla="*/ 0 h 321"/>
                <a:gd name="T50" fmla="*/ 122 w 211"/>
                <a:gd name="T51" fmla="*/ 11 h 321"/>
                <a:gd name="T52" fmla="*/ 128 w 211"/>
                <a:gd name="T53" fmla="*/ 24 h 321"/>
                <a:gd name="T54" fmla="*/ 91 w 211"/>
                <a:gd name="T55" fmla="*/ 22 h 321"/>
                <a:gd name="T56" fmla="*/ 102 w 211"/>
                <a:gd name="T57" fmla="*/ 28 h 321"/>
                <a:gd name="T58" fmla="*/ 113 w 211"/>
                <a:gd name="T59" fmla="*/ 39 h 321"/>
                <a:gd name="T60" fmla="*/ 100 w 211"/>
                <a:gd name="T61" fmla="*/ 50 h 321"/>
                <a:gd name="T62" fmla="*/ 115 w 211"/>
                <a:gd name="T63" fmla="*/ 72 h 321"/>
                <a:gd name="T64" fmla="*/ 111 w 211"/>
                <a:gd name="T65" fmla="*/ 79 h 321"/>
                <a:gd name="T66" fmla="*/ 130 w 211"/>
                <a:gd name="T67" fmla="*/ 85 h 321"/>
                <a:gd name="T68" fmla="*/ 143 w 211"/>
                <a:gd name="T69" fmla="*/ 94 h 321"/>
                <a:gd name="T70" fmla="*/ 137 w 211"/>
                <a:gd name="T71" fmla="*/ 105 h 321"/>
                <a:gd name="T72" fmla="*/ 119 w 211"/>
                <a:gd name="T73" fmla="*/ 114 h 321"/>
                <a:gd name="T74" fmla="*/ 95 w 211"/>
                <a:gd name="T75" fmla="*/ 124 h 321"/>
                <a:gd name="T76" fmla="*/ 87 w 211"/>
                <a:gd name="T77" fmla="*/ 146 h 321"/>
                <a:gd name="T78" fmla="*/ 78 w 211"/>
                <a:gd name="T79" fmla="*/ 153 h 321"/>
                <a:gd name="T80" fmla="*/ 54 w 211"/>
                <a:gd name="T81" fmla="*/ 144 h 321"/>
                <a:gd name="T82" fmla="*/ 39 w 211"/>
                <a:gd name="T83" fmla="*/ 151 h 321"/>
                <a:gd name="T84" fmla="*/ 21 w 211"/>
                <a:gd name="T85" fmla="*/ 146 h 321"/>
                <a:gd name="T86" fmla="*/ 4 w 211"/>
                <a:gd name="T87" fmla="*/ 129 h 32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1"/>
                <a:gd name="T133" fmla="*/ 0 h 321"/>
                <a:gd name="T134" fmla="*/ 211 w 211"/>
                <a:gd name="T135" fmla="*/ 321 h 32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1" h="321">
                  <a:moveTo>
                    <a:pt x="4" y="129"/>
                  </a:moveTo>
                  <a:lnTo>
                    <a:pt x="8" y="142"/>
                  </a:lnTo>
                  <a:lnTo>
                    <a:pt x="12" y="151"/>
                  </a:lnTo>
                  <a:lnTo>
                    <a:pt x="6" y="155"/>
                  </a:lnTo>
                  <a:lnTo>
                    <a:pt x="4" y="159"/>
                  </a:lnTo>
                  <a:lnTo>
                    <a:pt x="2" y="162"/>
                  </a:lnTo>
                  <a:lnTo>
                    <a:pt x="0" y="166"/>
                  </a:lnTo>
                  <a:lnTo>
                    <a:pt x="2" y="175"/>
                  </a:lnTo>
                  <a:lnTo>
                    <a:pt x="6" y="186"/>
                  </a:lnTo>
                  <a:lnTo>
                    <a:pt x="15" y="207"/>
                  </a:lnTo>
                  <a:lnTo>
                    <a:pt x="23" y="233"/>
                  </a:lnTo>
                  <a:lnTo>
                    <a:pt x="25" y="249"/>
                  </a:lnTo>
                  <a:lnTo>
                    <a:pt x="25" y="262"/>
                  </a:lnTo>
                  <a:lnTo>
                    <a:pt x="25" y="275"/>
                  </a:lnTo>
                  <a:lnTo>
                    <a:pt x="26" y="292"/>
                  </a:lnTo>
                  <a:lnTo>
                    <a:pt x="26" y="297"/>
                  </a:lnTo>
                  <a:lnTo>
                    <a:pt x="28" y="303"/>
                  </a:lnTo>
                  <a:lnTo>
                    <a:pt x="32" y="307"/>
                  </a:lnTo>
                  <a:lnTo>
                    <a:pt x="36" y="310"/>
                  </a:lnTo>
                  <a:lnTo>
                    <a:pt x="47" y="314"/>
                  </a:lnTo>
                  <a:lnTo>
                    <a:pt x="60" y="318"/>
                  </a:lnTo>
                  <a:lnTo>
                    <a:pt x="85" y="320"/>
                  </a:lnTo>
                  <a:lnTo>
                    <a:pt x="111" y="321"/>
                  </a:lnTo>
                  <a:lnTo>
                    <a:pt x="113" y="290"/>
                  </a:lnTo>
                  <a:lnTo>
                    <a:pt x="115" y="268"/>
                  </a:lnTo>
                  <a:lnTo>
                    <a:pt x="117" y="259"/>
                  </a:lnTo>
                  <a:lnTo>
                    <a:pt x="119" y="251"/>
                  </a:lnTo>
                  <a:lnTo>
                    <a:pt x="119" y="244"/>
                  </a:lnTo>
                  <a:lnTo>
                    <a:pt x="117" y="235"/>
                  </a:lnTo>
                  <a:lnTo>
                    <a:pt x="121" y="229"/>
                  </a:lnTo>
                  <a:lnTo>
                    <a:pt x="124" y="223"/>
                  </a:lnTo>
                  <a:lnTo>
                    <a:pt x="124" y="218"/>
                  </a:lnTo>
                  <a:lnTo>
                    <a:pt x="124" y="212"/>
                  </a:lnTo>
                  <a:lnTo>
                    <a:pt x="122" y="205"/>
                  </a:lnTo>
                  <a:lnTo>
                    <a:pt x="124" y="196"/>
                  </a:lnTo>
                  <a:lnTo>
                    <a:pt x="130" y="192"/>
                  </a:lnTo>
                  <a:lnTo>
                    <a:pt x="135" y="190"/>
                  </a:lnTo>
                  <a:lnTo>
                    <a:pt x="141" y="188"/>
                  </a:lnTo>
                  <a:lnTo>
                    <a:pt x="146" y="188"/>
                  </a:lnTo>
                  <a:lnTo>
                    <a:pt x="152" y="181"/>
                  </a:lnTo>
                  <a:lnTo>
                    <a:pt x="156" y="172"/>
                  </a:lnTo>
                  <a:lnTo>
                    <a:pt x="159" y="168"/>
                  </a:lnTo>
                  <a:lnTo>
                    <a:pt x="165" y="162"/>
                  </a:lnTo>
                  <a:lnTo>
                    <a:pt x="174" y="159"/>
                  </a:lnTo>
                  <a:lnTo>
                    <a:pt x="189" y="155"/>
                  </a:lnTo>
                  <a:lnTo>
                    <a:pt x="189" y="153"/>
                  </a:lnTo>
                  <a:lnTo>
                    <a:pt x="187" y="151"/>
                  </a:lnTo>
                  <a:lnTo>
                    <a:pt x="185" y="151"/>
                  </a:lnTo>
                  <a:lnTo>
                    <a:pt x="182" y="151"/>
                  </a:lnTo>
                  <a:lnTo>
                    <a:pt x="170" y="151"/>
                  </a:lnTo>
                  <a:lnTo>
                    <a:pt x="159" y="153"/>
                  </a:lnTo>
                  <a:lnTo>
                    <a:pt x="158" y="151"/>
                  </a:lnTo>
                  <a:lnTo>
                    <a:pt x="158" y="150"/>
                  </a:lnTo>
                  <a:lnTo>
                    <a:pt x="159" y="150"/>
                  </a:lnTo>
                  <a:lnTo>
                    <a:pt x="161" y="148"/>
                  </a:lnTo>
                  <a:lnTo>
                    <a:pt x="167" y="148"/>
                  </a:lnTo>
                  <a:lnTo>
                    <a:pt x="170" y="148"/>
                  </a:lnTo>
                  <a:lnTo>
                    <a:pt x="178" y="137"/>
                  </a:lnTo>
                  <a:lnTo>
                    <a:pt x="183" y="125"/>
                  </a:lnTo>
                  <a:lnTo>
                    <a:pt x="187" y="114"/>
                  </a:lnTo>
                  <a:lnTo>
                    <a:pt x="189" y="105"/>
                  </a:lnTo>
                  <a:lnTo>
                    <a:pt x="185" y="98"/>
                  </a:lnTo>
                  <a:lnTo>
                    <a:pt x="183" y="90"/>
                  </a:lnTo>
                  <a:lnTo>
                    <a:pt x="180" y="81"/>
                  </a:lnTo>
                  <a:lnTo>
                    <a:pt x="182" y="70"/>
                  </a:lnTo>
                  <a:lnTo>
                    <a:pt x="194" y="70"/>
                  </a:lnTo>
                  <a:lnTo>
                    <a:pt x="211" y="68"/>
                  </a:lnTo>
                  <a:lnTo>
                    <a:pt x="211" y="59"/>
                  </a:lnTo>
                  <a:lnTo>
                    <a:pt x="209" y="50"/>
                  </a:lnTo>
                  <a:lnTo>
                    <a:pt x="204" y="40"/>
                  </a:lnTo>
                  <a:lnTo>
                    <a:pt x="198" y="31"/>
                  </a:lnTo>
                  <a:lnTo>
                    <a:pt x="187" y="15"/>
                  </a:lnTo>
                  <a:lnTo>
                    <a:pt x="174" y="4"/>
                  </a:lnTo>
                  <a:lnTo>
                    <a:pt x="146" y="4"/>
                  </a:lnTo>
                  <a:lnTo>
                    <a:pt x="126" y="0"/>
                  </a:lnTo>
                  <a:lnTo>
                    <a:pt x="122" y="4"/>
                  </a:lnTo>
                  <a:lnTo>
                    <a:pt x="122" y="7"/>
                  </a:lnTo>
                  <a:lnTo>
                    <a:pt x="122" y="11"/>
                  </a:lnTo>
                  <a:lnTo>
                    <a:pt x="124" y="15"/>
                  </a:lnTo>
                  <a:lnTo>
                    <a:pt x="130" y="20"/>
                  </a:lnTo>
                  <a:lnTo>
                    <a:pt x="128" y="24"/>
                  </a:lnTo>
                  <a:lnTo>
                    <a:pt x="109" y="20"/>
                  </a:lnTo>
                  <a:lnTo>
                    <a:pt x="91" y="18"/>
                  </a:lnTo>
                  <a:lnTo>
                    <a:pt x="91" y="22"/>
                  </a:lnTo>
                  <a:lnTo>
                    <a:pt x="93" y="24"/>
                  </a:lnTo>
                  <a:lnTo>
                    <a:pt x="97" y="26"/>
                  </a:lnTo>
                  <a:lnTo>
                    <a:pt x="102" y="28"/>
                  </a:lnTo>
                  <a:lnTo>
                    <a:pt x="106" y="29"/>
                  </a:lnTo>
                  <a:lnTo>
                    <a:pt x="111" y="33"/>
                  </a:lnTo>
                  <a:lnTo>
                    <a:pt x="113" y="39"/>
                  </a:lnTo>
                  <a:lnTo>
                    <a:pt x="115" y="44"/>
                  </a:lnTo>
                  <a:lnTo>
                    <a:pt x="108" y="48"/>
                  </a:lnTo>
                  <a:lnTo>
                    <a:pt x="100" y="50"/>
                  </a:lnTo>
                  <a:lnTo>
                    <a:pt x="109" y="59"/>
                  </a:lnTo>
                  <a:lnTo>
                    <a:pt x="117" y="65"/>
                  </a:lnTo>
                  <a:lnTo>
                    <a:pt x="115" y="72"/>
                  </a:lnTo>
                  <a:lnTo>
                    <a:pt x="111" y="76"/>
                  </a:lnTo>
                  <a:lnTo>
                    <a:pt x="109" y="77"/>
                  </a:lnTo>
                  <a:lnTo>
                    <a:pt x="111" y="79"/>
                  </a:lnTo>
                  <a:lnTo>
                    <a:pt x="113" y="83"/>
                  </a:lnTo>
                  <a:lnTo>
                    <a:pt x="121" y="89"/>
                  </a:lnTo>
                  <a:lnTo>
                    <a:pt x="130" y="85"/>
                  </a:lnTo>
                  <a:lnTo>
                    <a:pt x="137" y="85"/>
                  </a:lnTo>
                  <a:lnTo>
                    <a:pt x="141" y="89"/>
                  </a:lnTo>
                  <a:lnTo>
                    <a:pt x="143" y="94"/>
                  </a:lnTo>
                  <a:lnTo>
                    <a:pt x="143" y="98"/>
                  </a:lnTo>
                  <a:lnTo>
                    <a:pt x="141" y="101"/>
                  </a:lnTo>
                  <a:lnTo>
                    <a:pt x="137" y="105"/>
                  </a:lnTo>
                  <a:lnTo>
                    <a:pt x="132" y="109"/>
                  </a:lnTo>
                  <a:lnTo>
                    <a:pt x="126" y="111"/>
                  </a:lnTo>
                  <a:lnTo>
                    <a:pt x="119" y="114"/>
                  </a:lnTo>
                  <a:lnTo>
                    <a:pt x="111" y="116"/>
                  </a:lnTo>
                  <a:lnTo>
                    <a:pt x="102" y="116"/>
                  </a:lnTo>
                  <a:lnTo>
                    <a:pt x="95" y="124"/>
                  </a:lnTo>
                  <a:lnTo>
                    <a:pt x="91" y="133"/>
                  </a:lnTo>
                  <a:lnTo>
                    <a:pt x="87" y="142"/>
                  </a:lnTo>
                  <a:lnTo>
                    <a:pt x="87" y="146"/>
                  </a:lnTo>
                  <a:lnTo>
                    <a:pt x="84" y="150"/>
                  </a:lnTo>
                  <a:lnTo>
                    <a:pt x="82" y="151"/>
                  </a:lnTo>
                  <a:lnTo>
                    <a:pt x="78" y="153"/>
                  </a:lnTo>
                  <a:lnTo>
                    <a:pt x="69" y="148"/>
                  </a:lnTo>
                  <a:lnTo>
                    <a:pt x="61" y="140"/>
                  </a:lnTo>
                  <a:lnTo>
                    <a:pt x="54" y="144"/>
                  </a:lnTo>
                  <a:lnTo>
                    <a:pt x="47" y="148"/>
                  </a:lnTo>
                  <a:lnTo>
                    <a:pt x="43" y="150"/>
                  </a:lnTo>
                  <a:lnTo>
                    <a:pt x="39" y="151"/>
                  </a:lnTo>
                  <a:lnTo>
                    <a:pt x="34" y="151"/>
                  </a:lnTo>
                  <a:lnTo>
                    <a:pt x="30" y="150"/>
                  </a:lnTo>
                  <a:lnTo>
                    <a:pt x="21" y="146"/>
                  </a:lnTo>
                  <a:lnTo>
                    <a:pt x="13" y="140"/>
                  </a:lnTo>
                  <a:lnTo>
                    <a:pt x="10" y="135"/>
                  </a:lnTo>
                  <a:lnTo>
                    <a:pt x="4" y="12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8" name="Freeform 54"/>
            <p:cNvSpPr>
              <a:spLocks/>
            </p:cNvSpPr>
            <p:nvPr/>
          </p:nvSpPr>
          <p:spPr bwMode="auto">
            <a:xfrm>
              <a:off x="3581201" y="2604983"/>
              <a:ext cx="71486" cy="48346"/>
            </a:xfrm>
            <a:custGeom>
              <a:avLst/>
              <a:gdLst>
                <a:gd name="T0" fmla="*/ 0 w 137"/>
                <a:gd name="T1" fmla="*/ 23 h 95"/>
                <a:gd name="T2" fmla="*/ 0 w 137"/>
                <a:gd name="T3" fmla="*/ 34 h 95"/>
                <a:gd name="T4" fmla="*/ 2 w 137"/>
                <a:gd name="T5" fmla="*/ 45 h 95"/>
                <a:gd name="T6" fmla="*/ 4 w 137"/>
                <a:gd name="T7" fmla="*/ 54 h 95"/>
                <a:gd name="T8" fmla="*/ 6 w 137"/>
                <a:gd name="T9" fmla="*/ 61 h 95"/>
                <a:gd name="T10" fmla="*/ 11 w 137"/>
                <a:gd name="T11" fmla="*/ 69 h 95"/>
                <a:gd name="T12" fmla="*/ 20 w 137"/>
                <a:gd name="T13" fmla="*/ 76 h 95"/>
                <a:gd name="T14" fmla="*/ 31 w 137"/>
                <a:gd name="T15" fmla="*/ 82 h 95"/>
                <a:gd name="T16" fmla="*/ 48 w 137"/>
                <a:gd name="T17" fmla="*/ 85 h 95"/>
                <a:gd name="T18" fmla="*/ 52 w 137"/>
                <a:gd name="T19" fmla="*/ 87 h 95"/>
                <a:gd name="T20" fmla="*/ 54 w 137"/>
                <a:gd name="T21" fmla="*/ 93 h 95"/>
                <a:gd name="T22" fmla="*/ 57 w 137"/>
                <a:gd name="T23" fmla="*/ 95 h 95"/>
                <a:gd name="T24" fmla="*/ 61 w 137"/>
                <a:gd name="T25" fmla="*/ 95 h 95"/>
                <a:gd name="T26" fmla="*/ 67 w 137"/>
                <a:gd name="T27" fmla="*/ 95 h 95"/>
                <a:gd name="T28" fmla="*/ 70 w 137"/>
                <a:gd name="T29" fmla="*/ 93 h 95"/>
                <a:gd name="T30" fmla="*/ 74 w 137"/>
                <a:gd name="T31" fmla="*/ 89 h 95"/>
                <a:gd name="T32" fmla="*/ 76 w 137"/>
                <a:gd name="T33" fmla="*/ 82 h 95"/>
                <a:gd name="T34" fmla="*/ 78 w 137"/>
                <a:gd name="T35" fmla="*/ 73 h 95"/>
                <a:gd name="T36" fmla="*/ 78 w 137"/>
                <a:gd name="T37" fmla="*/ 65 h 95"/>
                <a:gd name="T38" fmla="*/ 78 w 137"/>
                <a:gd name="T39" fmla="*/ 56 h 95"/>
                <a:gd name="T40" fmla="*/ 80 w 137"/>
                <a:gd name="T41" fmla="*/ 48 h 95"/>
                <a:gd name="T42" fmla="*/ 81 w 137"/>
                <a:gd name="T43" fmla="*/ 43 h 95"/>
                <a:gd name="T44" fmla="*/ 87 w 137"/>
                <a:gd name="T45" fmla="*/ 37 h 95"/>
                <a:gd name="T46" fmla="*/ 104 w 137"/>
                <a:gd name="T47" fmla="*/ 48 h 95"/>
                <a:gd name="T48" fmla="*/ 116 w 137"/>
                <a:gd name="T49" fmla="*/ 58 h 95"/>
                <a:gd name="T50" fmla="*/ 126 w 137"/>
                <a:gd name="T51" fmla="*/ 48 h 95"/>
                <a:gd name="T52" fmla="*/ 137 w 137"/>
                <a:gd name="T53" fmla="*/ 41 h 95"/>
                <a:gd name="T54" fmla="*/ 128 w 137"/>
                <a:gd name="T55" fmla="*/ 36 h 95"/>
                <a:gd name="T56" fmla="*/ 118 w 137"/>
                <a:gd name="T57" fmla="*/ 32 h 95"/>
                <a:gd name="T58" fmla="*/ 111 w 137"/>
                <a:gd name="T59" fmla="*/ 15 h 95"/>
                <a:gd name="T60" fmla="*/ 104 w 137"/>
                <a:gd name="T61" fmla="*/ 0 h 95"/>
                <a:gd name="T62" fmla="*/ 96 w 137"/>
                <a:gd name="T63" fmla="*/ 10 h 95"/>
                <a:gd name="T64" fmla="*/ 91 w 137"/>
                <a:gd name="T65" fmla="*/ 19 h 95"/>
                <a:gd name="T66" fmla="*/ 78 w 137"/>
                <a:gd name="T67" fmla="*/ 24 h 95"/>
                <a:gd name="T68" fmla="*/ 65 w 137"/>
                <a:gd name="T69" fmla="*/ 28 h 95"/>
                <a:gd name="T70" fmla="*/ 52 w 137"/>
                <a:gd name="T71" fmla="*/ 21 h 95"/>
                <a:gd name="T72" fmla="*/ 39 w 137"/>
                <a:gd name="T73" fmla="*/ 17 h 95"/>
                <a:gd name="T74" fmla="*/ 31 w 137"/>
                <a:gd name="T75" fmla="*/ 21 h 95"/>
                <a:gd name="T76" fmla="*/ 24 w 137"/>
                <a:gd name="T77" fmla="*/ 24 h 95"/>
                <a:gd name="T78" fmla="*/ 19 w 137"/>
                <a:gd name="T79" fmla="*/ 26 h 95"/>
                <a:gd name="T80" fmla="*/ 13 w 137"/>
                <a:gd name="T81" fmla="*/ 26 h 95"/>
                <a:gd name="T82" fmla="*/ 7 w 137"/>
                <a:gd name="T83" fmla="*/ 24 h 95"/>
                <a:gd name="T84" fmla="*/ 0 w 137"/>
                <a:gd name="T85" fmla="*/ 23 h 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37"/>
                <a:gd name="T130" fmla="*/ 0 h 95"/>
                <a:gd name="T131" fmla="*/ 137 w 137"/>
                <a:gd name="T132" fmla="*/ 95 h 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37" h="95">
                  <a:moveTo>
                    <a:pt x="0" y="23"/>
                  </a:moveTo>
                  <a:lnTo>
                    <a:pt x="0" y="34"/>
                  </a:lnTo>
                  <a:lnTo>
                    <a:pt x="2" y="45"/>
                  </a:lnTo>
                  <a:lnTo>
                    <a:pt x="4" y="54"/>
                  </a:lnTo>
                  <a:lnTo>
                    <a:pt x="6" y="61"/>
                  </a:lnTo>
                  <a:lnTo>
                    <a:pt x="11" y="69"/>
                  </a:lnTo>
                  <a:lnTo>
                    <a:pt x="20" y="76"/>
                  </a:lnTo>
                  <a:lnTo>
                    <a:pt x="31" y="82"/>
                  </a:lnTo>
                  <a:lnTo>
                    <a:pt x="48" y="85"/>
                  </a:lnTo>
                  <a:lnTo>
                    <a:pt x="52" y="87"/>
                  </a:lnTo>
                  <a:lnTo>
                    <a:pt x="54" y="93"/>
                  </a:lnTo>
                  <a:lnTo>
                    <a:pt x="57" y="95"/>
                  </a:lnTo>
                  <a:lnTo>
                    <a:pt x="61" y="95"/>
                  </a:lnTo>
                  <a:lnTo>
                    <a:pt x="67" y="95"/>
                  </a:lnTo>
                  <a:lnTo>
                    <a:pt x="70" y="93"/>
                  </a:lnTo>
                  <a:lnTo>
                    <a:pt x="74" y="89"/>
                  </a:lnTo>
                  <a:lnTo>
                    <a:pt x="76" y="82"/>
                  </a:lnTo>
                  <a:lnTo>
                    <a:pt x="78" y="73"/>
                  </a:lnTo>
                  <a:lnTo>
                    <a:pt x="78" y="65"/>
                  </a:lnTo>
                  <a:lnTo>
                    <a:pt x="78" y="56"/>
                  </a:lnTo>
                  <a:lnTo>
                    <a:pt x="80" y="48"/>
                  </a:lnTo>
                  <a:lnTo>
                    <a:pt x="81" y="43"/>
                  </a:lnTo>
                  <a:lnTo>
                    <a:pt x="87" y="37"/>
                  </a:lnTo>
                  <a:lnTo>
                    <a:pt x="104" y="48"/>
                  </a:lnTo>
                  <a:lnTo>
                    <a:pt x="116" y="58"/>
                  </a:lnTo>
                  <a:lnTo>
                    <a:pt x="126" y="48"/>
                  </a:lnTo>
                  <a:lnTo>
                    <a:pt x="137" y="41"/>
                  </a:lnTo>
                  <a:lnTo>
                    <a:pt x="128" y="36"/>
                  </a:lnTo>
                  <a:lnTo>
                    <a:pt x="118" y="32"/>
                  </a:lnTo>
                  <a:lnTo>
                    <a:pt x="111" y="15"/>
                  </a:lnTo>
                  <a:lnTo>
                    <a:pt x="104" y="0"/>
                  </a:lnTo>
                  <a:lnTo>
                    <a:pt x="96" y="10"/>
                  </a:lnTo>
                  <a:lnTo>
                    <a:pt x="91" y="19"/>
                  </a:lnTo>
                  <a:lnTo>
                    <a:pt x="78" y="24"/>
                  </a:lnTo>
                  <a:lnTo>
                    <a:pt x="65" y="28"/>
                  </a:lnTo>
                  <a:lnTo>
                    <a:pt x="52" y="21"/>
                  </a:lnTo>
                  <a:lnTo>
                    <a:pt x="39" y="17"/>
                  </a:lnTo>
                  <a:lnTo>
                    <a:pt x="31" y="21"/>
                  </a:lnTo>
                  <a:lnTo>
                    <a:pt x="24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79" name="Freeform 55"/>
            <p:cNvSpPr>
              <a:spLocks/>
            </p:cNvSpPr>
            <p:nvPr/>
          </p:nvSpPr>
          <p:spPr bwMode="auto">
            <a:xfrm>
              <a:off x="3609378" y="2623813"/>
              <a:ext cx="75138" cy="63104"/>
            </a:xfrm>
            <a:custGeom>
              <a:avLst/>
              <a:gdLst>
                <a:gd name="T0" fmla="*/ 3 w 144"/>
                <a:gd name="T1" fmla="*/ 76 h 124"/>
                <a:gd name="T2" fmla="*/ 11 w 144"/>
                <a:gd name="T3" fmla="*/ 106 h 124"/>
                <a:gd name="T4" fmla="*/ 22 w 144"/>
                <a:gd name="T5" fmla="*/ 117 h 124"/>
                <a:gd name="T6" fmla="*/ 35 w 144"/>
                <a:gd name="T7" fmla="*/ 122 h 124"/>
                <a:gd name="T8" fmla="*/ 44 w 144"/>
                <a:gd name="T9" fmla="*/ 121 h 124"/>
                <a:gd name="T10" fmla="*/ 55 w 144"/>
                <a:gd name="T11" fmla="*/ 115 h 124"/>
                <a:gd name="T12" fmla="*/ 70 w 144"/>
                <a:gd name="T13" fmla="*/ 119 h 124"/>
                <a:gd name="T14" fmla="*/ 83 w 144"/>
                <a:gd name="T15" fmla="*/ 122 h 124"/>
                <a:gd name="T16" fmla="*/ 88 w 144"/>
                <a:gd name="T17" fmla="*/ 117 h 124"/>
                <a:gd name="T18" fmla="*/ 92 w 144"/>
                <a:gd name="T19" fmla="*/ 104 h 124"/>
                <a:gd name="T20" fmla="*/ 103 w 144"/>
                <a:gd name="T21" fmla="*/ 87 h 124"/>
                <a:gd name="T22" fmla="*/ 120 w 144"/>
                <a:gd name="T23" fmla="*/ 85 h 124"/>
                <a:gd name="T24" fmla="*/ 133 w 144"/>
                <a:gd name="T25" fmla="*/ 80 h 124"/>
                <a:gd name="T26" fmla="*/ 142 w 144"/>
                <a:gd name="T27" fmla="*/ 72 h 124"/>
                <a:gd name="T28" fmla="*/ 144 w 144"/>
                <a:gd name="T29" fmla="*/ 65 h 124"/>
                <a:gd name="T30" fmla="*/ 138 w 144"/>
                <a:gd name="T31" fmla="*/ 56 h 124"/>
                <a:gd name="T32" fmla="*/ 122 w 144"/>
                <a:gd name="T33" fmla="*/ 60 h 124"/>
                <a:gd name="T34" fmla="*/ 112 w 144"/>
                <a:gd name="T35" fmla="*/ 50 h 124"/>
                <a:gd name="T36" fmla="*/ 112 w 144"/>
                <a:gd name="T37" fmla="*/ 47 h 124"/>
                <a:gd name="T38" fmla="*/ 118 w 144"/>
                <a:gd name="T39" fmla="*/ 36 h 124"/>
                <a:gd name="T40" fmla="*/ 101 w 144"/>
                <a:gd name="T41" fmla="*/ 21 h 124"/>
                <a:gd name="T42" fmla="*/ 96 w 144"/>
                <a:gd name="T43" fmla="*/ 21 h 124"/>
                <a:gd name="T44" fmla="*/ 88 w 144"/>
                <a:gd name="T45" fmla="*/ 11 h 124"/>
                <a:gd name="T46" fmla="*/ 83 w 144"/>
                <a:gd name="T47" fmla="*/ 4 h 124"/>
                <a:gd name="T48" fmla="*/ 72 w 144"/>
                <a:gd name="T49" fmla="*/ 11 h 124"/>
                <a:gd name="T50" fmla="*/ 50 w 144"/>
                <a:gd name="T51" fmla="*/ 11 h 124"/>
                <a:gd name="T52" fmla="*/ 27 w 144"/>
                <a:gd name="T53" fmla="*/ 6 h 124"/>
                <a:gd name="T54" fmla="*/ 24 w 144"/>
                <a:gd name="T55" fmla="*/ 19 h 124"/>
                <a:gd name="T56" fmla="*/ 24 w 144"/>
                <a:gd name="T57" fmla="*/ 36 h 124"/>
                <a:gd name="T58" fmla="*/ 20 w 144"/>
                <a:gd name="T59" fmla="*/ 52 h 124"/>
                <a:gd name="T60" fmla="*/ 13 w 144"/>
                <a:gd name="T61" fmla="*/ 58 h 124"/>
                <a:gd name="T62" fmla="*/ 3 w 144"/>
                <a:gd name="T63" fmla="*/ 58 h 12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4"/>
                <a:gd name="T97" fmla="*/ 0 h 124"/>
                <a:gd name="T98" fmla="*/ 144 w 144"/>
                <a:gd name="T99" fmla="*/ 124 h 12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4" h="124">
                  <a:moveTo>
                    <a:pt x="0" y="56"/>
                  </a:moveTo>
                  <a:lnTo>
                    <a:pt x="3" y="76"/>
                  </a:lnTo>
                  <a:lnTo>
                    <a:pt x="5" y="100"/>
                  </a:lnTo>
                  <a:lnTo>
                    <a:pt x="11" y="106"/>
                  </a:lnTo>
                  <a:lnTo>
                    <a:pt x="14" y="111"/>
                  </a:lnTo>
                  <a:lnTo>
                    <a:pt x="22" y="117"/>
                  </a:lnTo>
                  <a:lnTo>
                    <a:pt x="31" y="121"/>
                  </a:lnTo>
                  <a:lnTo>
                    <a:pt x="35" y="122"/>
                  </a:lnTo>
                  <a:lnTo>
                    <a:pt x="40" y="122"/>
                  </a:lnTo>
                  <a:lnTo>
                    <a:pt x="44" y="121"/>
                  </a:lnTo>
                  <a:lnTo>
                    <a:pt x="48" y="119"/>
                  </a:lnTo>
                  <a:lnTo>
                    <a:pt x="55" y="115"/>
                  </a:lnTo>
                  <a:lnTo>
                    <a:pt x="62" y="111"/>
                  </a:lnTo>
                  <a:lnTo>
                    <a:pt x="70" y="119"/>
                  </a:lnTo>
                  <a:lnTo>
                    <a:pt x="79" y="124"/>
                  </a:lnTo>
                  <a:lnTo>
                    <a:pt x="83" y="122"/>
                  </a:lnTo>
                  <a:lnTo>
                    <a:pt x="85" y="121"/>
                  </a:lnTo>
                  <a:lnTo>
                    <a:pt x="88" y="117"/>
                  </a:lnTo>
                  <a:lnTo>
                    <a:pt x="88" y="113"/>
                  </a:lnTo>
                  <a:lnTo>
                    <a:pt x="92" y="104"/>
                  </a:lnTo>
                  <a:lnTo>
                    <a:pt x="96" y="95"/>
                  </a:lnTo>
                  <a:lnTo>
                    <a:pt x="103" y="87"/>
                  </a:lnTo>
                  <a:lnTo>
                    <a:pt x="112" y="87"/>
                  </a:lnTo>
                  <a:lnTo>
                    <a:pt x="120" y="85"/>
                  </a:lnTo>
                  <a:lnTo>
                    <a:pt x="127" y="82"/>
                  </a:lnTo>
                  <a:lnTo>
                    <a:pt x="133" y="80"/>
                  </a:lnTo>
                  <a:lnTo>
                    <a:pt x="138" y="76"/>
                  </a:lnTo>
                  <a:lnTo>
                    <a:pt x="142" y="72"/>
                  </a:lnTo>
                  <a:lnTo>
                    <a:pt x="144" y="69"/>
                  </a:lnTo>
                  <a:lnTo>
                    <a:pt x="144" y="65"/>
                  </a:lnTo>
                  <a:lnTo>
                    <a:pt x="142" y="60"/>
                  </a:lnTo>
                  <a:lnTo>
                    <a:pt x="138" y="56"/>
                  </a:lnTo>
                  <a:lnTo>
                    <a:pt x="131" y="56"/>
                  </a:lnTo>
                  <a:lnTo>
                    <a:pt x="122" y="60"/>
                  </a:lnTo>
                  <a:lnTo>
                    <a:pt x="114" y="54"/>
                  </a:lnTo>
                  <a:lnTo>
                    <a:pt x="112" y="50"/>
                  </a:lnTo>
                  <a:lnTo>
                    <a:pt x="110" y="48"/>
                  </a:lnTo>
                  <a:lnTo>
                    <a:pt x="112" y="47"/>
                  </a:lnTo>
                  <a:lnTo>
                    <a:pt x="116" y="43"/>
                  </a:lnTo>
                  <a:lnTo>
                    <a:pt x="118" y="36"/>
                  </a:lnTo>
                  <a:lnTo>
                    <a:pt x="110" y="30"/>
                  </a:lnTo>
                  <a:lnTo>
                    <a:pt x="101" y="21"/>
                  </a:lnTo>
                  <a:lnTo>
                    <a:pt x="96" y="21"/>
                  </a:lnTo>
                  <a:lnTo>
                    <a:pt x="90" y="19"/>
                  </a:lnTo>
                  <a:lnTo>
                    <a:pt x="88" y="11"/>
                  </a:lnTo>
                  <a:lnTo>
                    <a:pt x="83" y="4"/>
                  </a:lnTo>
                  <a:lnTo>
                    <a:pt x="72" y="11"/>
                  </a:lnTo>
                  <a:lnTo>
                    <a:pt x="62" y="21"/>
                  </a:lnTo>
                  <a:lnTo>
                    <a:pt x="50" y="11"/>
                  </a:lnTo>
                  <a:lnTo>
                    <a:pt x="33" y="0"/>
                  </a:lnTo>
                  <a:lnTo>
                    <a:pt x="27" y="6"/>
                  </a:lnTo>
                  <a:lnTo>
                    <a:pt x="26" y="11"/>
                  </a:lnTo>
                  <a:lnTo>
                    <a:pt x="24" y="19"/>
                  </a:lnTo>
                  <a:lnTo>
                    <a:pt x="24" y="28"/>
                  </a:lnTo>
                  <a:lnTo>
                    <a:pt x="24" y="36"/>
                  </a:lnTo>
                  <a:lnTo>
                    <a:pt x="22" y="45"/>
                  </a:lnTo>
                  <a:lnTo>
                    <a:pt x="20" y="52"/>
                  </a:lnTo>
                  <a:lnTo>
                    <a:pt x="16" y="56"/>
                  </a:lnTo>
                  <a:lnTo>
                    <a:pt x="13" y="58"/>
                  </a:lnTo>
                  <a:lnTo>
                    <a:pt x="7" y="58"/>
                  </a:lnTo>
                  <a:lnTo>
                    <a:pt x="3" y="58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0" name="Freeform 56"/>
            <p:cNvSpPr>
              <a:spLocks/>
            </p:cNvSpPr>
            <p:nvPr/>
          </p:nvSpPr>
          <p:spPr bwMode="auto">
            <a:xfrm>
              <a:off x="3747131" y="2491498"/>
              <a:ext cx="89748" cy="156233"/>
            </a:xfrm>
            <a:custGeom>
              <a:avLst/>
              <a:gdLst>
                <a:gd name="T0" fmla="*/ 140 w 172"/>
                <a:gd name="T1" fmla="*/ 281 h 307"/>
                <a:gd name="T2" fmla="*/ 125 w 172"/>
                <a:gd name="T3" fmla="*/ 257 h 307"/>
                <a:gd name="T4" fmla="*/ 127 w 172"/>
                <a:gd name="T5" fmla="*/ 242 h 307"/>
                <a:gd name="T6" fmla="*/ 135 w 172"/>
                <a:gd name="T7" fmla="*/ 240 h 307"/>
                <a:gd name="T8" fmla="*/ 148 w 172"/>
                <a:gd name="T9" fmla="*/ 249 h 307"/>
                <a:gd name="T10" fmla="*/ 157 w 172"/>
                <a:gd name="T11" fmla="*/ 235 h 307"/>
                <a:gd name="T12" fmla="*/ 164 w 172"/>
                <a:gd name="T13" fmla="*/ 194 h 307"/>
                <a:gd name="T14" fmla="*/ 170 w 172"/>
                <a:gd name="T15" fmla="*/ 168 h 307"/>
                <a:gd name="T16" fmla="*/ 159 w 172"/>
                <a:gd name="T17" fmla="*/ 153 h 307"/>
                <a:gd name="T18" fmla="*/ 135 w 172"/>
                <a:gd name="T19" fmla="*/ 135 h 307"/>
                <a:gd name="T20" fmla="*/ 142 w 172"/>
                <a:gd name="T21" fmla="*/ 116 h 307"/>
                <a:gd name="T22" fmla="*/ 153 w 172"/>
                <a:gd name="T23" fmla="*/ 101 h 307"/>
                <a:gd name="T24" fmla="*/ 149 w 172"/>
                <a:gd name="T25" fmla="*/ 90 h 307"/>
                <a:gd name="T26" fmla="*/ 144 w 172"/>
                <a:gd name="T27" fmla="*/ 79 h 307"/>
                <a:gd name="T28" fmla="*/ 142 w 172"/>
                <a:gd name="T29" fmla="*/ 68 h 307"/>
                <a:gd name="T30" fmla="*/ 149 w 172"/>
                <a:gd name="T31" fmla="*/ 59 h 307"/>
                <a:gd name="T32" fmla="*/ 161 w 172"/>
                <a:gd name="T33" fmla="*/ 48 h 307"/>
                <a:gd name="T34" fmla="*/ 157 w 172"/>
                <a:gd name="T35" fmla="*/ 35 h 307"/>
                <a:gd name="T36" fmla="*/ 151 w 172"/>
                <a:gd name="T37" fmla="*/ 24 h 307"/>
                <a:gd name="T38" fmla="*/ 144 w 172"/>
                <a:gd name="T39" fmla="*/ 22 h 307"/>
                <a:gd name="T40" fmla="*/ 129 w 172"/>
                <a:gd name="T41" fmla="*/ 15 h 307"/>
                <a:gd name="T42" fmla="*/ 114 w 172"/>
                <a:gd name="T43" fmla="*/ 9 h 307"/>
                <a:gd name="T44" fmla="*/ 107 w 172"/>
                <a:gd name="T45" fmla="*/ 7 h 307"/>
                <a:gd name="T46" fmla="*/ 100 w 172"/>
                <a:gd name="T47" fmla="*/ 2 h 307"/>
                <a:gd name="T48" fmla="*/ 88 w 172"/>
                <a:gd name="T49" fmla="*/ 0 h 307"/>
                <a:gd name="T50" fmla="*/ 81 w 172"/>
                <a:gd name="T51" fmla="*/ 4 h 307"/>
                <a:gd name="T52" fmla="*/ 81 w 172"/>
                <a:gd name="T53" fmla="*/ 15 h 307"/>
                <a:gd name="T54" fmla="*/ 81 w 172"/>
                <a:gd name="T55" fmla="*/ 31 h 307"/>
                <a:gd name="T56" fmla="*/ 85 w 172"/>
                <a:gd name="T57" fmla="*/ 42 h 307"/>
                <a:gd name="T58" fmla="*/ 92 w 172"/>
                <a:gd name="T59" fmla="*/ 46 h 307"/>
                <a:gd name="T60" fmla="*/ 81 w 172"/>
                <a:gd name="T61" fmla="*/ 63 h 307"/>
                <a:gd name="T62" fmla="*/ 70 w 172"/>
                <a:gd name="T63" fmla="*/ 101 h 307"/>
                <a:gd name="T64" fmla="*/ 72 w 172"/>
                <a:gd name="T65" fmla="*/ 142 h 307"/>
                <a:gd name="T66" fmla="*/ 74 w 172"/>
                <a:gd name="T67" fmla="*/ 175 h 307"/>
                <a:gd name="T68" fmla="*/ 70 w 172"/>
                <a:gd name="T69" fmla="*/ 190 h 307"/>
                <a:gd name="T70" fmla="*/ 57 w 172"/>
                <a:gd name="T71" fmla="*/ 194 h 307"/>
                <a:gd name="T72" fmla="*/ 35 w 172"/>
                <a:gd name="T73" fmla="*/ 188 h 307"/>
                <a:gd name="T74" fmla="*/ 24 w 172"/>
                <a:gd name="T75" fmla="*/ 179 h 307"/>
                <a:gd name="T76" fmla="*/ 20 w 172"/>
                <a:gd name="T77" fmla="*/ 186 h 307"/>
                <a:gd name="T78" fmla="*/ 22 w 172"/>
                <a:gd name="T79" fmla="*/ 203 h 307"/>
                <a:gd name="T80" fmla="*/ 24 w 172"/>
                <a:gd name="T81" fmla="*/ 214 h 307"/>
                <a:gd name="T82" fmla="*/ 16 w 172"/>
                <a:gd name="T83" fmla="*/ 225 h 307"/>
                <a:gd name="T84" fmla="*/ 0 w 172"/>
                <a:gd name="T85" fmla="*/ 236 h 307"/>
                <a:gd name="T86" fmla="*/ 4 w 172"/>
                <a:gd name="T87" fmla="*/ 244 h 307"/>
                <a:gd name="T88" fmla="*/ 15 w 172"/>
                <a:gd name="T89" fmla="*/ 251 h 307"/>
                <a:gd name="T90" fmla="*/ 22 w 172"/>
                <a:gd name="T91" fmla="*/ 270 h 307"/>
                <a:gd name="T92" fmla="*/ 33 w 172"/>
                <a:gd name="T93" fmla="*/ 284 h 307"/>
                <a:gd name="T94" fmla="*/ 53 w 172"/>
                <a:gd name="T95" fmla="*/ 288 h 307"/>
                <a:gd name="T96" fmla="*/ 87 w 172"/>
                <a:gd name="T97" fmla="*/ 299 h 307"/>
                <a:gd name="T98" fmla="*/ 105 w 172"/>
                <a:gd name="T99" fmla="*/ 307 h 307"/>
                <a:gd name="T100" fmla="*/ 129 w 172"/>
                <a:gd name="T101" fmla="*/ 305 h 307"/>
                <a:gd name="T102" fmla="*/ 144 w 172"/>
                <a:gd name="T103" fmla="*/ 303 h 307"/>
                <a:gd name="T104" fmla="*/ 151 w 172"/>
                <a:gd name="T105" fmla="*/ 297 h 30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72"/>
                <a:gd name="T160" fmla="*/ 0 h 307"/>
                <a:gd name="T161" fmla="*/ 172 w 172"/>
                <a:gd name="T162" fmla="*/ 307 h 30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72" h="307">
                  <a:moveTo>
                    <a:pt x="153" y="294"/>
                  </a:moveTo>
                  <a:lnTo>
                    <a:pt x="140" y="281"/>
                  </a:lnTo>
                  <a:lnTo>
                    <a:pt x="131" y="268"/>
                  </a:lnTo>
                  <a:lnTo>
                    <a:pt x="125" y="257"/>
                  </a:lnTo>
                  <a:lnTo>
                    <a:pt x="124" y="247"/>
                  </a:lnTo>
                  <a:lnTo>
                    <a:pt x="127" y="242"/>
                  </a:lnTo>
                  <a:lnTo>
                    <a:pt x="129" y="240"/>
                  </a:lnTo>
                  <a:lnTo>
                    <a:pt x="135" y="240"/>
                  </a:lnTo>
                  <a:lnTo>
                    <a:pt x="140" y="242"/>
                  </a:lnTo>
                  <a:lnTo>
                    <a:pt x="148" y="249"/>
                  </a:lnTo>
                  <a:lnTo>
                    <a:pt x="153" y="253"/>
                  </a:lnTo>
                  <a:lnTo>
                    <a:pt x="157" y="235"/>
                  </a:lnTo>
                  <a:lnTo>
                    <a:pt x="159" y="214"/>
                  </a:lnTo>
                  <a:lnTo>
                    <a:pt x="164" y="194"/>
                  </a:lnTo>
                  <a:lnTo>
                    <a:pt x="172" y="175"/>
                  </a:lnTo>
                  <a:lnTo>
                    <a:pt x="170" y="168"/>
                  </a:lnTo>
                  <a:lnTo>
                    <a:pt x="166" y="161"/>
                  </a:lnTo>
                  <a:lnTo>
                    <a:pt x="159" y="153"/>
                  </a:lnTo>
                  <a:lnTo>
                    <a:pt x="149" y="146"/>
                  </a:lnTo>
                  <a:lnTo>
                    <a:pt x="135" y="135"/>
                  </a:lnTo>
                  <a:lnTo>
                    <a:pt x="129" y="127"/>
                  </a:lnTo>
                  <a:lnTo>
                    <a:pt x="142" y="116"/>
                  </a:lnTo>
                  <a:lnTo>
                    <a:pt x="153" y="107"/>
                  </a:lnTo>
                  <a:lnTo>
                    <a:pt x="153" y="101"/>
                  </a:lnTo>
                  <a:lnTo>
                    <a:pt x="153" y="96"/>
                  </a:lnTo>
                  <a:lnTo>
                    <a:pt x="149" y="90"/>
                  </a:lnTo>
                  <a:lnTo>
                    <a:pt x="146" y="85"/>
                  </a:lnTo>
                  <a:lnTo>
                    <a:pt x="144" y="79"/>
                  </a:lnTo>
                  <a:lnTo>
                    <a:pt x="142" y="74"/>
                  </a:lnTo>
                  <a:lnTo>
                    <a:pt x="142" y="68"/>
                  </a:lnTo>
                  <a:lnTo>
                    <a:pt x="144" y="63"/>
                  </a:lnTo>
                  <a:lnTo>
                    <a:pt x="149" y="59"/>
                  </a:lnTo>
                  <a:lnTo>
                    <a:pt x="161" y="57"/>
                  </a:lnTo>
                  <a:lnTo>
                    <a:pt x="161" y="48"/>
                  </a:lnTo>
                  <a:lnTo>
                    <a:pt x="159" y="41"/>
                  </a:lnTo>
                  <a:lnTo>
                    <a:pt x="157" y="35"/>
                  </a:lnTo>
                  <a:lnTo>
                    <a:pt x="155" y="28"/>
                  </a:lnTo>
                  <a:lnTo>
                    <a:pt x="151" y="24"/>
                  </a:lnTo>
                  <a:lnTo>
                    <a:pt x="148" y="24"/>
                  </a:lnTo>
                  <a:lnTo>
                    <a:pt x="144" y="22"/>
                  </a:lnTo>
                  <a:lnTo>
                    <a:pt x="138" y="22"/>
                  </a:lnTo>
                  <a:lnTo>
                    <a:pt x="129" y="15"/>
                  </a:lnTo>
                  <a:lnTo>
                    <a:pt x="120" y="7"/>
                  </a:lnTo>
                  <a:lnTo>
                    <a:pt x="114" y="9"/>
                  </a:lnTo>
                  <a:lnTo>
                    <a:pt x="109" y="9"/>
                  </a:lnTo>
                  <a:lnTo>
                    <a:pt x="107" y="7"/>
                  </a:lnTo>
                  <a:lnTo>
                    <a:pt x="103" y="5"/>
                  </a:lnTo>
                  <a:lnTo>
                    <a:pt x="100" y="2"/>
                  </a:lnTo>
                  <a:lnTo>
                    <a:pt x="96" y="0"/>
                  </a:lnTo>
                  <a:lnTo>
                    <a:pt x="88" y="0"/>
                  </a:lnTo>
                  <a:lnTo>
                    <a:pt x="85" y="2"/>
                  </a:lnTo>
                  <a:lnTo>
                    <a:pt x="81" y="4"/>
                  </a:lnTo>
                  <a:lnTo>
                    <a:pt x="77" y="7"/>
                  </a:lnTo>
                  <a:lnTo>
                    <a:pt x="81" y="15"/>
                  </a:lnTo>
                  <a:lnTo>
                    <a:pt x="81" y="24"/>
                  </a:lnTo>
                  <a:lnTo>
                    <a:pt x="81" y="31"/>
                  </a:lnTo>
                  <a:lnTo>
                    <a:pt x="81" y="42"/>
                  </a:lnTo>
                  <a:lnTo>
                    <a:pt x="85" y="42"/>
                  </a:lnTo>
                  <a:lnTo>
                    <a:pt x="88" y="44"/>
                  </a:lnTo>
                  <a:lnTo>
                    <a:pt x="92" y="46"/>
                  </a:lnTo>
                  <a:lnTo>
                    <a:pt x="92" y="52"/>
                  </a:lnTo>
                  <a:lnTo>
                    <a:pt x="81" y="63"/>
                  </a:lnTo>
                  <a:lnTo>
                    <a:pt x="70" y="81"/>
                  </a:lnTo>
                  <a:lnTo>
                    <a:pt x="70" y="101"/>
                  </a:lnTo>
                  <a:lnTo>
                    <a:pt x="74" y="124"/>
                  </a:lnTo>
                  <a:lnTo>
                    <a:pt x="72" y="142"/>
                  </a:lnTo>
                  <a:lnTo>
                    <a:pt x="74" y="164"/>
                  </a:lnTo>
                  <a:lnTo>
                    <a:pt x="74" y="175"/>
                  </a:lnTo>
                  <a:lnTo>
                    <a:pt x="72" y="183"/>
                  </a:lnTo>
                  <a:lnTo>
                    <a:pt x="70" y="190"/>
                  </a:lnTo>
                  <a:lnTo>
                    <a:pt x="68" y="194"/>
                  </a:lnTo>
                  <a:lnTo>
                    <a:pt x="57" y="194"/>
                  </a:lnTo>
                  <a:lnTo>
                    <a:pt x="42" y="194"/>
                  </a:lnTo>
                  <a:lnTo>
                    <a:pt x="35" y="188"/>
                  </a:lnTo>
                  <a:lnTo>
                    <a:pt x="29" y="183"/>
                  </a:lnTo>
                  <a:lnTo>
                    <a:pt x="24" y="179"/>
                  </a:lnTo>
                  <a:lnTo>
                    <a:pt x="16" y="177"/>
                  </a:lnTo>
                  <a:lnTo>
                    <a:pt x="20" y="186"/>
                  </a:lnTo>
                  <a:lnTo>
                    <a:pt x="24" y="199"/>
                  </a:lnTo>
                  <a:lnTo>
                    <a:pt x="22" y="203"/>
                  </a:lnTo>
                  <a:lnTo>
                    <a:pt x="18" y="209"/>
                  </a:lnTo>
                  <a:lnTo>
                    <a:pt x="24" y="214"/>
                  </a:lnTo>
                  <a:lnTo>
                    <a:pt x="29" y="218"/>
                  </a:lnTo>
                  <a:lnTo>
                    <a:pt x="16" y="225"/>
                  </a:lnTo>
                  <a:lnTo>
                    <a:pt x="2" y="233"/>
                  </a:lnTo>
                  <a:lnTo>
                    <a:pt x="0" y="236"/>
                  </a:lnTo>
                  <a:lnTo>
                    <a:pt x="2" y="240"/>
                  </a:lnTo>
                  <a:lnTo>
                    <a:pt x="4" y="244"/>
                  </a:lnTo>
                  <a:lnTo>
                    <a:pt x="7" y="246"/>
                  </a:lnTo>
                  <a:lnTo>
                    <a:pt x="15" y="251"/>
                  </a:lnTo>
                  <a:lnTo>
                    <a:pt x="20" y="257"/>
                  </a:lnTo>
                  <a:lnTo>
                    <a:pt x="22" y="270"/>
                  </a:lnTo>
                  <a:lnTo>
                    <a:pt x="26" y="281"/>
                  </a:lnTo>
                  <a:lnTo>
                    <a:pt x="33" y="284"/>
                  </a:lnTo>
                  <a:lnTo>
                    <a:pt x="42" y="288"/>
                  </a:lnTo>
                  <a:lnTo>
                    <a:pt x="53" y="288"/>
                  </a:lnTo>
                  <a:lnTo>
                    <a:pt x="64" y="286"/>
                  </a:lnTo>
                  <a:lnTo>
                    <a:pt x="87" y="299"/>
                  </a:lnTo>
                  <a:lnTo>
                    <a:pt x="98" y="307"/>
                  </a:lnTo>
                  <a:lnTo>
                    <a:pt x="105" y="307"/>
                  </a:lnTo>
                  <a:lnTo>
                    <a:pt x="116" y="303"/>
                  </a:lnTo>
                  <a:lnTo>
                    <a:pt x="129" y="305"/>
                  </a:lnTo>
                  <a:lnTo>
                    <a:pt x="138" y="305"/>
                  </a:lnTo>
                  <a:lnTo>
                    <a:pt x="144" y="303"/>
                  </a:lnTo>
                  <a:lnTo>
                    <a:pt x="148" y="301"/>
                  </a:lnTo>
                  <a:lnTo>
                    <a:pt x="151" y="297"/>
                  </a:lnTo>
                  <a:lnTo>
                    <a:pt x="153" y="29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1" name="Freeform 57"/>
            <p:cNvSpPr>
              <a:spLocks/>
            </p:cNvSpPr>
            <p:nvPr/>
          </p:nvSpPr>
          <p:spPr bwMode="auto">
            <a:xfrm>
              <a:off x="3571809" y="2573940"/>
              <a:ext cx="63659" cy="45292"/>
            </a:xfrm>
            <a:custGeom>
              <a:avLst/>
              <a:gdLst>
                <a:gd name="T0" fmla="*/ 0 w 122"/>
                <a:gd name="T1" fmla="*/ 23 h 89"/>
                <a:gd name="T2" fmla="*/ 1 w 122"/>
                <a:gd name="T3" fmla="*/ 24 h 89"/>
                <a:gd name="T4" fmla="*/ 3 w 122"/>
                <a:gd name="T5" fmla="*/ 24 h 89"/>
                <a:gd name="T6" fmla="*/ 11 w 122"/>
                <a:gd name="T7" fmla="*/ 41 h 89"/>
                <a:gd name="T8" fmla="*/ 14 w 122"/>
                <a:gd name="T9" fmla="*/ 56 h 89"/>
                <a:gd name="T10" fmla="*/ 18 w 122"/>
                <a:gd name="T11" fmla="*/ 71 h 89"/>
                <a:gd name="T12" fmla="*/ 18 w 122"/>
                <a:gd name="T13" fmla="*/ 85 h 89"/>
                <a:gd name="T14" fmla="*/ 18 w 122"/>
                <a:gd name="T15" fmla="*/ 84 h 89"/>
                <a:gd name="T16" fmla="*/ 18 w 122"/>
                <a:gd name="T17" fmla="*/ 84 h 89"/>
                <a:gd name="T18" fmla="*/ 25 w 122"/>
                <a:gd name="T19" fmla="*/ 85 h 89"/>
                <a:gd name="T20" fmla="*/ 31 w 122"/>
                <a:gd name="T21" fmla="*/ 87 h 89"/>
                <a:gd name="T22" fmla="*/ 37 w 122"/>
                <a:gd name="T23" fmla="*/ 87 h 89"/>
                <a:gd name="T24" fmla="*/ 42 w 122"/>
                <a:gd name="T25" fmla="*/ 85 h 89"/>
                <a:gd name="T26" fmla="*/ 49 w 122"/>
                <a:gd name="T27" fmla="*/ 82 h 89"/>
                <a:gd name="T28" fmla="*/ 57 w 122"/>
                <a:gd name="T29" fmla="*/ 78 h 89"/>
                <a:gd name="T30" fmla="*/ 70 w 122"/>
                <a:gd name="T31" fmla="*/ 82 h 89"/>
                <a:gd name="T32" fmla="*/ 83 w 122"/>
                <a:gd name="T33" fmla="*/ 89 h 89"/>
                <a:gd name="T34" fmla="*/ 96 w 122"/>
                <a:gd name="T35" fmla="*/ 85 h 89"/>
                <a:gd name="T36" fmla="*/ 109 w 122"/>
                <a:gd name="T37" fmla="*/ 80 h 89"/>
                <a:gd name="T38" fmla="*/ 112 w 122"/>
                <a:gd name="T39" fmla="*/ 78 h 89"/>
                <a:gd name="T40" fmla="*/ 114 w 122"/>
                <a:gd name="T41" fmla="*/ 71 h 89"/>
                <a:gd name="T42" fmla="*/ 118 w 122"/>
                <a:gd name="T43" fmla="*/ 65 h 89"/>
                <a:gd name="T44" fmla="*/ 122 w 122"/>
                <a:gd name="T45" fmla="*/ 61 h 89"/>
                <a:gd name="T46" fmla="*/ 120 w 122"/>
                <a:gd name="T47" fmla="*/ 56 h 89"/>
                <a:gd name="T48" fmla="*/ 114 w 122"/>
                <a:gd name="T49" fmla="*/ 52 h 89"/>
                <a:gd name="T50" fmla="*/ 107 w 122"/>
                <a:gd name="T51" fmla="*/ 50 h 89"/>
                <a:gd name="T52" fmla="*/ 98 w 122"/>
                <a:gd name="T53" fmla="*/ 50 h 89"/>
                <a:gd name="T54" fmla="*/ 92 w 122"/>
                <a:gd name="T55" fmla="*/ 49 h 89"/>
                <a:gd name="T56" fmla="*/ 88 w 122"/>
                <a:gd name="T57" fmla="*/ 47 h 89"/>
                <a:gd name="T58" fmla="*/ 83 w 122"/>
                <a:gd name="T59" fmla="*/ 45 h 89"/>
                <a:gd name="T60" fmla="*/ 77 w 122"/>
                <a:gd name="T61" fmla="*/ 39 h 89"/>
                <a:gd name="T62" fmla="*/ 72 w 122"/>
                <a:gd name="T63" fmla="*/ 21 h 89"/>
                <a:gd name="T64" fmla="*/ 70 w 122"/>
                <a:gd name="T65" fmla="*/ 2 h 89"/>
                <a:gd name="T66" fmla="*/ 55 w 122"/>
                <a:gd name="T67" fmla="*/ 0 h 89"/>
                <a:gd name="T68" fmla="*/ 40 w 122"/>
                <a:gd name="T69" fmla="*/ 0 h 89"/>
                <a:gd name="T70" fmla="*/ 27 w 122"/>
                <a:gd name="T71" fmla="*/ 2 h 89"/>
                <a:gd name="T72" fmla="*/ 16 w 122"/>
                <a:gd name="T73" fmla="*/ 8 h 89"/>
                <a:gd name="T74" fmla="*/ 7 w 122"/>
                <a:gd name="T75" fmla="*/ 15 h 89"/>
                <a:gd name="T76" fmla="*/ 0 w 122"/>
                <a:gd name="T77" fmla="*/ 23 h 8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2"/>
                <a:gd name="T118" fmla="*/ 0 h 89"/>
                <a:gd name="T119" fmla="*/ 122 w 122"/>
                <a:gd name="T120" fmla="*/ 89 h 8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2" h="89">
                  <a:moveTo>
                    <a:pt x="0" y="23"/>
                  </a:moveTo>
                  <a:lnTo>
                    <a:pt x="1" y="24"/>
                  </a:lnTo>
                  <a:lnTo>
                    <a:pt x="3" y="24"/>
                  </a:lnTo>
                  <a:lnTo>
                    <a:pt x="11" y="41"/>
                  </a:lnTo>
                  <a:lnTo>
                    <a:pt x="14" y="56"/>
                  </a:lnTo>
                  <a:lnTo>
                    <a:pt x="18" y="71"/>
                  </a:lnTo>
                  <a:lnTo>
                    <a:pt x="18" y="85"/>
                  </a:lnTo>
                  <a:lnTo>
                    <a:pt x="18" y="84"/>
                  </a:lnTo>
                  <a:lnTo>
                    <a:pt x="25" y="85"/>
                  </a:lnTo>
                  <a:lnTo>
                    <a:pt x="31" y="87"/>
                  </a:lnTo>
                  <a:lnTo>
                    <a:pt x="37" y="87"/>
                  </a:lnTo>
                  <a:lnTo>
                    <a:pt x="42" y="85"/>
                  </a:lnTo>
                  <a:lnTo>
                    <a:pt x="49" y="82"/>
                  </a:lnTo>
                  <a:lnTo>
                    <a:pt x="57" y="78"/>
                  </a:lnTo>
                  <a:lnTo>
                    <a:pt x="70" y="82"/>
                  </a:lnTo>
                  <a:lnTo>
                    <a:pt x="83" y="89"/>
                  </a:lnTo>
                  <a:lnTo>
                    <a:pt x="96" y="85"/>
                  </a:lnTo>
                  <a:lnTo>
                    <a:pt x="109" y="80"/>
                  </a:lnTo>
                  <a:lnTo>
                    <a:pt x="112" y="78"/>
                  </a:lnTo>
                  <a:lnTo>
                    <a:pt x="114" y="71"/>
                  </a:lnTo>
                  <a:lnTo>
                    <a:pt x="118" y="65"/>
                  </a:lnTo>
                  <a:lnTo>
                    <a:pt x="122" y="61"/>
                  </a:lnTo>
                  <a:lnTo>
                    <a:pt x="120" y="56"/>
                  </a:lnTo>
                  <a:lnTo>
                    <a:pt x="114" y="52"/>
                  </a:lnTo>
                  <a:lnTo>
                    <a:pt x="107" y="50"/>
                  </a:lnTo>
                  <a:lnTo>
                    <a:pt x="98" y="50"/>
                  </a:lnTo>
                  <a:lnTo>
                    <a:pt x="92" y="49"/>
                  </a:lnTo>
                  <a:lnTo>
                    <a:pt x="88" y="47"/>
                  </a:lnTo>
                  <a:lnTo>
                    <a:pt x="83" y="45"/>
                  </a:lnTo>
                  <a:lnTo>
                    <a:pt x="77" y="39"/>
                  </a:lnTo>
                  <a:lnTo>
                    <a:pt x="72" y="21"/>
                  </a:lnTo>
                  <a:lnTo>
                    <a:pt x="70" y="2"/>
                  </a:lnTo>
                  <a:lnTo>
                    <a:pt x="55" y="0"/>
                  </a:lnTo>
                  <a:lnTo>
                    <a:pt x="40" y="0"/>
                  </a:lnTo>
                  <a:lnTo>
                    <a:pt x="27" y="2"/>
                  </a:lnTo>
                  <a:lnTo>
                    <a:pt x="16" y="8"/>
                  </a:lnTo>
                  <a:lnTo>
                    <a:pt x="7" y="1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2" name="Freeform 58"/>
            <p:cNvSpPr>
              <a:spLocks/>
            </p:cNvSpPr>
            <p:nvPr/>
          </p:nvSpPr>
          <p:spPr bwMode="auto">
            <a:xfrm>
              <a:off x="3545719" y="2519487"/>
              <a:ext cx="64180" cy="66157"/>
            </a:xfrm>
            <a:custGeom>
              <a:avLst/>
              <a:gdLst>
                <a:gd name="T0" fmla="*/ 0 w 123"/>
                <a:gd name="T1" fmla="*/ 35 h 130"/>
                <a:gd name="T2" fmla="*/ 7 w 123"/>
                <a:gd name="T3" fmla="*/ 54 h 130"/>
                <a:gd name="T4" fmla="*/ 11 w 123"/>
                <a:gd name="T5" fmla="*/ 69 h 130"/>
                <a:gd name="T6" fmla="*/ 16 w 123"/>
                <a:gd name="T7" fmla="*/ 83 h 130"/>
                <a:gd name="T8" fmla="*/ 20 w 123"/>
                <a:gd name="T9" fmla="*/ 95 h 130"/>
                <a:gd name="T10" fmla="*/ 35 w 123"/>
                <a:gd name="T11" fmla="*/ 111 h 130"/>
                <a:gd name="T12" fmla="*/ 50 w 123"/>
                <a:gd name="T13" fmla="*/ 130 h 130"/>
                <a:gd name="T14" fmla="*/ 57 w 123"/>
                <a:gd name="T15" fmla="*/ 122 h 130"/>
                <a:gd name="T16" fmla="*/ 66 w 123"/>
                <a:gd name="T17" fmla="*/ 115 h 130"/>
                <a:gd name="T18" fmla="*/ 77 w 123"/>
                <a:gd name="T19" fmla="*/ 109 h 130"/>
                <a:gd name="T20" fmla="*/ 90 w 123"/>
                <a:gd name="T21" fmla="*/ 107 h 130"/>
                <a:gd name="T22" fmla="*/ 96 w 123"/>
                <a:gd name="T23" fmla="*/ 107 h 130"/>
                <a:gd name="T24" fmla="*/ 103 w 123"/>
                <a:gd name="T25" fmla="*/ 107 h 130"/>
                <a:gd name="T26" fmla="*/ 103 w 123"/>
                <a:gd name="T27" fmla="*/ 95 h 130"/>
                <a:gd name="T28" fmla="*/ 105 w 123"/>
                <a:gd name="T29" fmla="*/ 85 h 130"/>
                <a:gd name="T30" fmla="*/ 107 w 123"/>
                <a:gd name="T31" fmla="*/ 82 h 130"/>
                <a:gd name="T32" fmla="*/ 111 w 123"/>
                <a:gd name="T33" fmla="*/ 78 h 130"/>
                <a:gd name="T34" fmla="*/ 116 w 123"/>
                <a:gd name="T35" fmla="*/ 76 h 130"/>
                <a:gd name="T36" fmla="*/ 123 w 123"/>
                <a:gd name="T37" fmla="*/ 72 h 130"/>
                <a:gd name="T38" fmla="*/ 109 w 123"/>
                <a:gd name="T39" fmla="*/ 50 h 130"/>
                <a:gd name="T40" fmla="*/ 92 w 123"/>
                <a:gd name="T41" fmla="*/ 22 h 130"/>
                <a:gd name="T42" fmla="*/ 87 w 123"/>
                <a:gd name="T43" fmla="*/ 28 h 130"/>
                <a:gd name="T44" fmla="*/ 81 w 123"/>
                <a:gd name="T45" fmla="*/ 35 h 130"/>
                <a:gd name="T46" fmla="*/ 74 w 123"/>
                <a:gd name="T47" fmla="*/ 39 h 130"/>
                <a:gd name="T48" fmla="*/ 64 w 123"/>
                <a:gd name="T49" fmla="*/ 43 h 130"/>
                <a:gd name="T50" fmla="*/ 59 w 123"/>
                <a:gd name="T51" fmla="*/ 39 h 130"/>
                <a:gd name="T52" fmla="*/ 55 w 123"/>
                <a:gd name="T53" fmla="*/ 35 h 130"/>
                <a:gd name="T54" fmla="*/ 55 w 123"/>
                <a:gd name="T55" fmla="*/ 30 h 130"/>
                <a:gd name="T56" fmla="*/ 55 w 123"/>
                <a:gd name="T57" fmla="*/ 22 h 130"/>
                <a:gd name="T58" fmla="*/ 55 w 123"/>
                <a:gd name="T59" fmla="*/ 17 h 130"/>
                <a:gd name="T60" fmla="*/ 55 w 123"/>
                <a:gd name="T61" fmla="*/ 11 h 130"/>
                <a:gd name="T62" fmla="*/ 53 w 123"/>
                <a:gd name="T63" fmla="*/ 6 h 130"/>
                <a:gd name="T64" fmla="*/ 50 w 123"/>
                <a:gd name="T65" fmla="*/ 0 h 130"/>
                <a:gd name="T66" fmla="*/ 44 w 123"/>
                <a:gd name="T67" fmla="*/ 0 h 130"/>
                <a:gd name="T68" fmla="*/ 40 w 123"/>
                <a:gd name="T69" fmla="*/ 0 h 130"/>
                <a:gd name="T70" fmla="*/ 39 w 123"/>
                <a:gd name="T71" fmla="*/ 4 h 130"/>
                <a:gd name="T72" fmla="*/ 35 w 123"/>
                <a:gd name="T73" fmla="*/ 6 h 130"/>
                <a:gd name="T74" fmla="*/ 24 w 123"/>
                <a:gd name="T75" fmla="*/ 10 h 130"/>
                <a:gd name="T76" fmla="*/ 15 w 123"/>
                <a:gd name="T77" fmla="*/ 13 h 130"/>
                <a:gd name="T78" fmla="*/ 11 w 123"/>
                <a:gd name="T79" fmla="*/ 15 h 130"/>
                <a:gd name="T80" fmla="*/ 7 w 123"/>
                <a:gd name="T81" fmla="*/ 21 h 130"/>
                <a:gd name="T82" fmla="*/ 3 w 123"/>
                <a:gd name="T83" fmla="*/ 28 h 130"/>
                <a:gd name="T84" fmla="*/ 0 w 123"/>
                <a:gd name="T85" fmla="*/ 35 h 13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3"/>
                <a:gd name="T130" fmla="*/ 0 h 130"/>
                <a:gd name="T131" fmla="*/ 123 w 123"/>
                <a:gd name="T132" fmla="*/ 130 h 13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3" h="130">
                  <a:moveTo>
                    <a:pt x="0" y="35"/>
                  </a:moveTo>
                  <a:lnTo>
                    <a:pt x="7" y="54"/>
                  </a:lnTo>
                  <a:lnTo>
                    <a:pt x="11" y="69"/>
                  </a:lnTo>
                  <a:lnTo>
                    <a:pt x="16" y="83"/>
                  </a:lnTo>
                  <a:lnTo>
                    <a:pt x="20" y="95"/>
                  </a:lnTo>
                  <a:lnTo>
                    <a:pt x="35" y="111"/>
                  </a:lnTo>
                  <a:lnTo>
                    <a:pt x="50" y="130"/>
                  </a:lnTo>
                  <a:lnTo>
                    <a:pt x="57" y="122"/>
                  </a:lnTo>
                  <a:lnTo>
                    <a:pt x="66" y="115"/>
                  </a:lnTo>
                  <a:lnTo>
                    <a:pt x="77" y="109"/>
                  </a:lnTo>
                  <a:lnTo>
                    <a:pt x="90" y="107"/>
                  </a:lnTo>
                  <a:lnTo>
                    <a:pt x="96" y="107"/>
                  </a:lnTo>
                  <a:lnTo>
                    <a:pt x="103" y="107"/>
                  </a:lnTo>
                  <a:lnTo>
                    <a:pt x="103" y="95"/>
                  </a:lnTo>
                  <a:lnTo>
                    <a:pt x="105" y="85"/>
                  </a:lnTo>
                  <a:lnTo>
                    <a:pt x="107" y="82"/>
                  </a:lnTo>
                  <a:lnTo>
                    <a:pt x="111" y="78"/>
                  </a:lnTo>
                  <a:lnTo>
                    <a:pt x="116" y="76"/>
                  </a:lnTo>
                  <a:lnTo>
                    <a:pt x="123" y="72"/>
                  </a:lnTo>
                  <a:lnTo>
                    <a:pt x="109" y="50"/>
                  </a:lnTo>
                  <a:lnTo>
                    <a:pt x="92" y="22"/>
                  </a:lnTo>
                  <a:lnTo>
                    <a:pt x="87" y="28"/>
                  </a:lnTo>
                  <a:lnTo>
                    <a:pt x="81" y="35"/>
                  </a:lnTo>
                  <a:lnTo>
                    <a:pt x="74" y="39"/>
                  </a:lnTo>
                  <a:lnTo>
                    <a:pt x="64" y="43"/>
                  </a:lnTo>
                  <a:lnTo>
                    <a:pt x="59" y="39"/>
                  </a:lnTo>
                  <a:lnTo>
                    <a:pt x="55" y="35"/>
                  </a:lnTo>
                  <a:lnTo>
                    <a:pt x="55" y="30"/>
                  </a:lnTo>
                  <a:lnTo>
                    <a:pt x="55" y="22"/>
                  </a:lnTo>
                  <a:lnTo>
                    <a:pt x="55" y="17"/>
                  </a:lnTo>
                  <a:lnTo>
                    <a:pt x="55" y="11"/>
                  </a:lnTo>
                  <a:lnTo>
                    <a:pt x="53" y="6"/>
                  </a:lnTo>
                  <a:lnTo>
                    <a:pt x="50" y="0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39" y="4"/>
                  </a:lnTo>
                  <a:lnTo>
                    <a:pt x="35" y="6"/>
                  </a:lnTo>
                  <a:lnTo>
                    <a:pt x="24" y="10"/>
                  </a:lnTo>
                  <a:lnTo>
                    <a:pt x="15" y="13"/>
                  </a:lnTo>
                  <a:lnTo>
                    <a:pt x="11" y="15"/>
                  </a:lnTo>
                  <a:lnTo>
                    <a:pt x="7" y="21"/>
                  </a:lnTo>
                  <a:lnTo>
                    <a:pt x="3" y="2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3" name="Freeform 59"/>
            <p:cNvSpPr>
              <a:spLocks/>
            </p:cNvSpPr>
            <p:nvPr/>
          </p:nvSpPr>
          <p:spPr bwMode="auto">
            <a:xfrm>
              <a:off x="3523282" y="2381575"/>
              <a:ext cx="119490" cy="159795"/>
            </a:xfrm>
            <a:custGeom>
              <a:avLst/>
              <a:gdLst>
                <a:gd name="T0" fmla="*/ 183 w 229"/>
                <a:gd name="T1" fmla="*/ 29 h 314"/>
                <a:gd name="T2" fmla="*/ 174 w 229"/>
                <a:gd name="T3" fmla="*/ 27 h 314"/>
                <a:gd name="T4" fmla="*/ 155 w 229"/>
                <a:gd name="T5" fmla="*/ 14 h 314"/>
                <a:gd name="T6" fmla="*/ 139 w 229"/>
                <a:gd name="T7" fmla="*/ 5 h 314"/>
                <a:gd name="T8" fmla="*/ 130 w 229"/>
                <a:gd name="T9" fmla="*/ 22 h 314"/>
                <a:gd name="T10" fmla="*/ 131 w 229"/>
                <a:gd name="T11" fmla="*/ 29 h 314"/>
                <a:gd name="T12" fmla="*/ 131 w 229"/>
                <a:gd name="T13" fmla="*/ 48 h 314"/>
                <a:gd name="T14" fmla="*/ 124 w 229"/>
                <a:gd name="T15" fmla="*/ 57 h 314"/>
                <a:gd name="T16" fmla="*/ 111 w 229"/>
                <a:gd name="T17" fmla="*/ 50 h 314"/>
                <a:gd name="T18" fmla="*/ 106 w 229"/>
                <a:gd name="T19" fmla="*/ 46 h 314"/>
                <a:gd name="T20" fmla="*/ 94 w 229"/>
                <a:gd name="T21" fmla="*/ 44 h 314"/>
                <a:gd name="T22" fmla="*/ 80 w 229"/>
                <a:gd name="T23" fmla="*/ 48 h 314"/>
                <a:gd name="T24" fmla="*/ 67 w 229"/>
                <a:gd name="T25" fmla="*/ 57 h 314"/>
                <a:gd name="T26" fmla="*/ 48 w 229"/>
                <a:gd name="T27" fmla="*/ 57 h 314"/>
                <a:gd name="T28" fmla="*/ 35 w 229"/>
                <a:gd name="T29" fmla="*/ 48 h 314"/>
                <a:gd name="T30" fmla="*/ 22 w 229"/>
                <a:gd name="T31" fmla="*/ 42 h 314"/>
                <a:gd name="T32" fmla="*/ 24 w 229"/>
                <a:gd name="T33" fmla="*/ 29 h 314"/>
                <a:gd name="T34" fmla="*/ 24 w 229"/>
                <a:gd name="T35" fmla="*/ 18 h 314"/>
                <a:gd name="T36" fmla="*/ 15 w 229"/>
                <a:gd name="T37" fmla="*/ 14 h 314"/>
                <a:gd name="T38" fmla="*/ 4 w 229"/>
                <a:gd name="T39" fmla="*/ 18 h 314"/>
                <a:gd name="T40" fmla="*/ 0 w 229"/>
                <a:gd name="T41" fmla="*/ 33 h 314"/>
                <a:gd name="T42" fmla="*/ 0 w 229"/>
                <a:gd name="T43" fmla="*/ 74 h 314"/>
                <a:gd name="T44" fmla="*/ 2 w 229"/>
                <a:gd name="T45" fmla="*/ 127 h 314"/>
                <a:gd name="T46" fmla="*/ 8 w 229"/>
                <a:gd name="T47" fmla="*/ 186 h 314"/>
                <a:gd name="T48" fmla="*/ 8 w 229"/>
                <a:gd name="T49" fmla="*/ 229 h 314"/>
                <a:gd name="T50" fmla="*/ 4 w 229"/>
                <a:gd name="T51" fmla="*/ 255 h 314"/>
                <a:gd name="T52" fmla="*/ 11 w 229"/>
                <a:gd name="T53" fmla="*/ 268 h 314"/>
                <a:gd name="T54" fmla="*/ 22 w 229"/>
                <a:gd name="T55" fmla="*/ 271 h 314"/>
                <a:gd name="T56" fmla="*/ 35 w 229"/>
                <a:gd name="T57" fmla="*/ 290 h 314"/>
                <a:gd name="T58" fmla="*/ 46 w 229"/>
                <a:gd name="T59" fmla="*/ 299 h 314"/>
                <a:gd name="T60" fmla="*/ 54 w 229"/>
                <a:gd name="T61" fmla="*/ 286 h 314"/>
                <a:gd name="T62" fmla="*/ 67 w 229"/>
                <a:gd name="T63" fmla="*/ 281 h 314"/>
                <a:gd name="T64" fmla="*/ 82 w 229"/>
                <a:gd name="T65" fmla="*/ 275 h 314"/>
                <a:gd name="T66" fmla="*/ 87 w 229"/>
                <a:gd name="T67" fmla="*/ 271 h 314"/>
                <a:gd name="T68" fmla="*/ 96 w 229"/>
                <a:gd name="T69" fmla="*/ 277 h 314"/>
                <a:gd name="T70" fmla="*/ 98 w 229"/>
                <a:gd name="T71" fmla="*/ 288 h 314"/>
                <a:gd name="T72" fmla="*/ 98 w 229"/>
                <a:gd name="T73" fmla="*/ 301 h 314"/>
                <a:gd name="T74" fmla="*/ 102 w 229"/>
                <a:gd name="T75" fmla="*/ 310 h 314"/>
                <a:gd name="T76" fmla="*/ 117 w 229"/>
                <a:gd name="T77" fmla="*/ 310 h 314"/>
                <a:gd name="T78" fmla="*/ 130 w 229"/>
                <a:gd name="T79" fmla="*/ 299 h 314"/>
                <a:gd name="T80" fmla="*/ 141 w 229"/>
                <a:gd name="T81" fmla="*/ 281 h 314"/>
                <a:gd name="T82" fmla="*/ 154 w 229"/>
                <a:gd name="T83" fmla="*/ 269 h 314"/>
                <a:gd name="T84" fmla="*/ 165 w 229"/>
                <a:gd name="T85" fmla="*/ 262 h 314"/>
                <a:gd name="T86" fmla="*/ 174 w 229"/>
                <a:gd name="T87" fmla="*/ 242 h 314"/>
                <a:gd name="T88" fmla="*/ 179 w 229"/>
                <a:gd name="T89" fmla="*/ 218 h 314"/>
                <a:gd name="T90" fmla="*/ 178 w 229"/>
                <a:gd name="T91" fmla="*/ 201 h 314"/>
                <a:gd name="T92" fmla="*/ 181 w 229"/>
                <a:gd name="T93" fmla="*/ 192 h 314"/>
                <a:gd name="T94" fmla="*/ 198 w 229"/>
                <a:gd name="T95" fmla="*/ 196 h 314"/>
                <a:gd name="T96" fmla="*/ 211 w 229"/>
                <a:gd name="T97" fmla="*/ 201 h 314"/>
                <a:gd name="T98" fmla="*/ 211 w 229"/>
                <a:gd name="T99" fmla="*/ 196 h 314"/>
                <a:gd name="T100" fmla="*/ 215 w 229"/>
                <a:gd name="T101" fmla="*/ 192 h 314"/>
                <a:gd name="T102" fmla="*/ 222 w 229"/>
                <a:gd name="T103" fmla="*/ 186 h 314"/>
                <a:gd name="T104" fmla="*/ 229 w 229"/>
                <a:gd name="T105" fmla="*/ 172 h 314"/>
                <a:gd name="T106" fmla="*/ 218 w 229"/>
                <a:gd name="T107" fmla="*/ 157 h 314"/>
                <a:gd name="T108" fmla="*/ 209 w 229"/>
                <a:gd name="T109" fmla="*/ 131 h 314"/>
                <a:gd name="T110" fmla="*/ 224 w 229"/>
                <a:gd name="T111" fmla="*/ 112 h 314"/>
                <a:gd name="T112" fmla="*/ 227 w 229"/>
                <a:gd name="T113" fmla="*/ 98 h 314"/>
                <a:gd name="T114" fmla="*/ 222 w 229"/>
                <a:gd name="T115" fmla="*/ 87 h 314"/>
                <a:gd name="T116" fmla="*/ 200 w 229"/>
                <a:gd name="T117" fmla="*/ 74 h 314"/>
                <a:gd name="T118" fmla="*/ 189 w 229"/>
                <a:gd name="T119" fmla="*/ 61 h 314"/>
                <a:gd name="T120" fmla="*/ 192 w 229"/>
                <a:gd name="T121" fmla="*/ 46 h 3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9"/>
                <a:gd name="T184" fmla="*/ 0 h 314"/>
                <a:gd name="T185" fmla="*/ 229 w 229"/>
                <a:gd name="T186" fmla="*/ 314 h 3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9" h="314">
                  <a:moveTo>
                    <a:pt x="187" y="33"/>
                  </a:moveTo>
                  <a:lnTo>
                    <a:pt x="183" y="29"/>
                  </a:lnTo>
                  <a:lnTo>
                    <a:pt x="178" y="24"/>
                  </a:lnTo>
                  <a:lnTo>
                    <a:pt x="174" y="27"/>
                  </a:lnTo>
                  <a:lnTo>
                    <a:pt x="166" y="29"/>
                  </a:lnTo>
                  <a:lnTo>
                    <a:pt x="155" y="14"/>
                  </a:lnTo>
                  <a:lnTo>
                    <a:pt x="142" y="0"/>
                  </a:lnTo>
                  <a:lnTo>
                    <a:pt x="139" y="5"/>
                  </a:lnTo>
                  <a:lnTo>
                    <a:pt x="133" y="16"/>
                  </a:lnTo>
                  <a:lnTo>
                    <a:pt x="130" y="22"/>
                  </a:lnTo>
                  <a:lnTo>
                    <a:pt x="130" y="26"/>
                  </a:lnTo>
                  <a:lnTo>
                    <a:pt x="131" y="29"/>
                  </a:lnTo>
                  <a:lnTo>
                    <a:pt x="135" y="31"/>
                  </a:lnTo>
                  <a:lnTo>
                    <a:pt x="131" y="48"/>
                  </a:lnTo>
                  <a:lnTo>
                    <a:pt x="130" y="66"/>
                  </a:lnTo>
                  <a:lnTo>
                    <a:pt x="124" y="57"/>
                  </a:lnTo>
                  <a:lnTo>
                    <a:pt x="118" y="48"/>
                  </a:lnTo>
                  <a:lnTo>
                    <a:pt x="111" y="50"/>
                  </a:lnTo>
                  <a:lnTo>
                    <a:pt x="109" y="53"/>
                  </a:lnTo>
                  <a:lnTo>
                    <a:pt x="106" y="46"/>
                  </a:lnTo>
                  <a:lnTo>
                    <a:pt x="102" y="40"/>
                  </a:lnTo>
                  <a:lnTo>
                    <a:pt x="94" y="44"/>
                  </a:lnTo>
                  <a:lnTo>
                    <a:pt x="87" y="50"/>
                  </a:lnTo>
                  <a:lnTo>
                    <a:pt x="80" y="48"/>
                  </a:lnTo>
                  <a:lnTo>
                    <a:pt x="74" y="48"/>
                  </a:lnTo>
                  <a:lnTo>
                    <a:pt x="67" y="57"/>
                  </a:lnTo>
                  <a:lnTo>
                    <a:pt x="54" y="66"/>
                  </a:lnTo>
                  <a:lnTo>
                    <a:pt x="48" y="57"/>
                  </a:lnTo>
                  <a:lnTo>
                    <a:pt x="43" y="51"/>
                  </a:lnTo>
                  <a:lnTo>
                    <a:pt x="35" y="48"/>
                  </a:lnTo>
                  <a:lnTo>
                    <a:pt x="28" y="46"/>
                  </a:lnTo>
                  <a:lnTo>
                    <a:pt x="22" y="42"/>
                  </a:lnTo>
                  <a:lnTo>
                    <a:pt x="21" y="38"/>
                  </a:lnTo>
                  <a:lnTo>
                    <a:pt x="24" y="29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2" y="16"/>
                  </a:lnTo>
                  <a:lnTo>
                    <a:pt x="15" y="14"/>
                  </a:lnTo>
                  <a:lnTo>
                    <a:pt x="8" y="14"/>
                  </a:lnTo>
                  <a:lnTo>
                    <a:pt x="4" y="18"/>
                  </a:lnTo>
                  <a:lnTo>
                    <a:pt x="2" y="22"/>
                  </a:lnTo>
                  <a:lnTo>
                    <a:pt x="0" y="33"/>
                  </a:lnTo>
                  <a:lnTo>
                    <a:pt x="2" y="48"/>
                  </a:lnTo>
                  <a:lnTo>
                    <a:pt x="0" y="74"/>
                  </a:lnTo>
                  <a:lnTo>
                    <a:pt x="0" y="98"/>
                  </a:lnTo>
                  <a:lnTo>
                    <a:pt x="2" y="127"/>
                  </a:lnTo>
                  <a:lnTo>
                    <a:pt x="4" y="157"/>
                  </a:lnTo>
                  <a:lnTo>
                    <a:pt x="8" y="186"/>
                  </a:lnTo>
                  <a:lnTo>
                    <a:pt x="11" y="216"/>
                  </a:lnTo>
                  <a:lnTo>
                    <a:pt x="8" y="229"/>
                  </a:lnTo>
                  <a:lnTo>
                    <a:pt x="6" y="244"/>
                  </a:lnTo>
                  <a:lnTo>
                    <a:pt x="4" y="255"/>
                  </a:lnTo>
                  <a:lnTo>
                    <a:pt x="4" y="268"/>
                  </a:lnTo>
                  <a:lnTo>
                    <a:pt x="11" y="268"/>
                  </a:lnTo>
                  <a:lnTo>
                    <a:pt x="17" y="268"/>
                  </a:lnTo>
                  <a:lnTo>
                    <a:pt x="22" y="271"/>
                  </a:lnTo>
                  <a:lnTo>
                    <a:pt x="28" y="277"/>
                  </a:lnTo>
                  <a:lnTo>
                    <a:pt x="35" y="290"/>
                  </a:lnTo>
                  <a:lnTo>
                    <a:pt x="43" y="306"/>
                  </a:lnTo>
                  <a:lnTo>
                    <a:pt x="46" y="299"/>
                  </a:lnTo>
                  <a:lnTo>
                    <a:pt x="50" y="292"/>
                  </a:lnTo>
                  <a:lnTo>
                    <a:pt x="54" y="286"/>
                  </a:lnTo>
                  <a:lnTo>
                    <a:pt x="58" y="284"/>
                  </a:lnTo>
                  <a:lnTo>
                    <a:pt x="67" y="281"/>
                  </a:lnTo>
                  <a:lnTo>
                    <a:pt x="78" y="277"/>
                  </a:lnTo>
                  <a:lnTo>
                    <a:pt x="82" y="275"/>
                  </a:lnTo>
                  <a:lnTo>
                    <a:pt x="83" y="271"/>
                  </a:lnTo>
                  <a:lnTo>
                    <a:pt x="87" y="271"/>
                  </a:lnTo>
                  <a:lnTo>
                    <a:pt x="93" y="271"/>
                  </a:lnTo>
                  <a:lnTo>
                    <a:pt x="96" y="277"/>
                  </a:lnTo>
                  <a:lnTo>
                    <a:pt x="98" y="282"/>
                  </a:lnTo>
                  <a:lnTo>
                    <a:pt x="98" y="288"/>
                  </a:lnTo>
                  <a:lnTo>
                    <a:pt x="98" y="293"/>
                  </a:lnTo>
                  <a:lnTo>
                    <a:pt x="98" y="301"/>
                  </a:lnTo>
                  <a:lnTo>
                    <a:pt x="98" y="306"/>
                  </a:lnTo>
                  <a:lnTo>
                    <a:pt x="102" y="310"/>
                  </a:lnTo>
                  <a:lnTo>
                    <a:pt x="107" y="314"/>
                  </a:lnTo>
                  <a:lnTo>
                    <a:pt x="117" y="310"/>
                  </a:lnTo>
                  <a:lnTo>
                    <a:pt x="124" y="306"/>
                  </a:lnTo>
                  <a:lnTo>
                    <a:pt x="130" y="299"/>
                  </a:lnTo>
                  <a:lnTo>
                    <a:pt x="135" y="293"/>
                  </a:lnTo>
                  <a:lnTo>
                    <a:pt x="141" y="281"/>
                  </a:lnTo>
                  <a:lnTo>
                    <a:pt x="148" y="269"/>
                  </a:lnTo>
                  <a:lnTo>
                    <a:pt x="154" y="269"/>
                  </a:lnTo>
                  <a:lnTo>
                    <a:pt x="161" y="269"/>
                  </a:lnTo>
                  <a:lnTo>
                    <a:pt x="165" y="262"/>
                  </a:lnTo>
                  <a:lnTo>
                    <a:pt x="166" y="253"/>
                  </a:lnTo>
                  <a:lnTo>
                    <a:pt x="174" y="242"/>
                  </a:lnTo>
                  <a:lnTo>
                    <a:pt x="181" y="231"/>
                  </a:lnTo>
                  <a:lnTo>
                    <a:pt x="179" y="218"/>
                  </a:lnTo>
                  <a:lnTo>
                    <a:pt x="178" y="207"/>
                  </a:lnTo>
                  <a:lnTo>
                    <a:pt x="178" y="201"/>
                  </a:lnTo>
                  <a:lnTo>
                    <a:pt x="179" y="197"/>
                  </a:lnTo>
                  <a:lnTo>
                    <a:pt x="181" y="192"/>
                  </a:lnTo>
                  <a:lnTo>
                    <a:pt x="187" y="188"/>
                  </a:lnTo>
                  <a:lnTo>
                    <a:pt x="198" y="196"/>
                  </a:lnTo>
                  <a:lnTo>
                    <a:pt x="209" y="203"/>
                  </a:lnTo>
                  <a:lnTo>
                    <a:pt x="211" y="201"/>
                  </a:lnTo>
                  <a:lnTo>
                    <a:pt x="211" y="197"/>
                  </a:lnTo>
                  <a:lnTo>
                    <a:pt x="211" y="196"/>
                  </a:lnTo>
                  <a:lnTo>
                    <a:pt x="213" y="194"/>
                  </a:lnTo>
                  <a:lnTo>
                    <a:pt x="215" y="192"/>
                  </a:lnTo>
                  <a:lnTo>
                    <a:pt x="218" y="192"/>
                  </a:lnTo>
                  <a:lnTo>
                    <a:pt x="222" y="186"/>
                  </a:lnTo>
                  <a:lnTo>
                    <a:pt x="226" y="179"/>
                  </a:lnTo>
                  <a:lnTo>
                    <a:pt x="229" y="172"/>
                  </a:lnTo>
                  <a:lnTo>
                    <a:pt x="229" y="166"/>
                  </a:lnTo>
                  <a:lnTo>
                    <a:pt x="218" y="157"/>
                  </a:lnTo>
                  <a:lnTo>
                    <a:pt x="207" y="144"/>
                  </a:lnTo>
                  <a:lnTo>
                    <a:pt x="209" y="131"/>
                  </a:lnTo>
                  <a:lnTo>
                    <a:pt x="215" y="120"/>
                  </a:lnTo>
                  <a:lnTo>
                    <a:pt x="224" y="112"/>
                  </a:lnTo>
                  <a:lnTo>
                    <a:pt x="227" y="103"/>
                  </a:lnTo>
                  <a:lnTo>
                    <a:pt x="227" y="98"/>
                  </a:lnTo>
                  <a:lnTo>
                    <a:pt x="226" y="92"/>
                  </a:lnTo>
                  <a:lnTo>
                    <a:pt x="222" y="87"/>
                  </a:lnTo>
                  <a:lnTo>
                    <a:pt x="218" y="83"/>
                  </a:lnTo>
                  <a:lnTo>
                    <a:pt x="200" y="74"/>
                  </a:lnTo>
                  <a:lnTo>
                    <a:pt x="181" y="68"/>
                  </a:lnTo>
                  <a:lnTo>
                    <a:pt x="189" y="61"/>
                  </a:lnTo>
                  <a:lnTo>
                    <a:pt x="194" y="55"/>
                  </a:lnTo>
                  <a:lnTo>
                    <a:pt x="192" y="46"/>
                  </a:lnTo>
                  <a:lnTo>
                    <a:pt x="187" y="3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4" name="Freeform 60"/>
            <p:cNvSpPr>
              <a:spLocks/>
            </p:cNvSpPr>
            <p:nvPr/>
          </p:nvSpPr>
          <p:spPr bwMode="auto">
            <a:xfrm>
              <a:off x="3721041" y="2346461"/>
              <a:ext cx="183149" cy="174045"/>
            </a:xfrm>
            <a:custGeom>
              <a:avLst/>
              <a:gdLst>
                <a:gd name="T0" fmla="*/ 262 w 351"/>
                <a:gd name="T1" fmla="*/ 318 h 342"/>
                <a:gd name="T2" fmla="*/ 264 w 351"/>
                <a:gd name="T3" fmla="*/ 290 h 342"/>
                <a:gd name="T4" fmla="*/ 283 w 351"/>
                <a:gd name="T5" fmla="*/ 283 h 342"/>
                <a:gd name="T6" fmla="*/ 325 w 351"/>
                <a:gd name="T7" fmla="*/ 279 h 342"/>
                <a:gd name="T8" fmla="*/ 351 w 351"/>
                <a:gd name="T9" fmla="*/ 274 h 342"/>
                <a:gd name="T10" fmla="*/ 332 w 351"/>
                <a:gd name="T11" fmla="*/ 226 h 342"/>
                <a:gd name="T12" fmla="*/ 312 w 351"/>
                <a:gd name="T13" fmla="*/ 220 h 342"/>
                <a:gd name="T14" fmla="*/ 305 w 351"/>
                <a:gd name="T15" fmla="*/ 205 h 342"/>
                <a:gd name="T16" fmla="*/ 294 w 351"/>
                <a:gd name="T17" fmla="*/ 196 h 342"/>
                <a:gd name="T18" fmla="*/ 283 w 351"/>
                <a:gd name="T19" fmla="*/ 183 h 342"/>
                <a:gd name="T20" fmla="*/ 284 w 351"/>
                <a:gd name="T21" fmla="*/ 170 h 342"/>
                <a:gd name="T22" fmla="*/ 312 w 351"/>
                <a:gd name="T23" fmla="*/ 130 h 342"/>
                <a:gd name="T24" fmla="*/ 301 w 351"/>
                <a:gd name="T25" fmla="*/ 107 h 342"/>
                <a:gd name="T26" fmla="*/ 288 w 351"/>
                <a:gd name="T27" fmla="*/ 95 h 342"/>
                <a:gd name="T28" fmla="*/ 273 w 351"/>
                <a:gd name="T29" fmla="*/ 95 h 342"/>
                <a:gd name="T30" fmla="*/ 257 w 351"/>
                <a:gd name="T31" fmla="*/ 80 h 342"/>
                <a:gd name="T32" fmla="*/ 247 w 351"/>
                <a:gd name="T33" fmla="*/ 65 h 342"/>
                <a:gd name="T34" fmla="*/ 240 w 351"/>
                <a:gd name="T35" fmla="*/ 48 h 342"/>
                <a:gd name="T36" fmla="*/ 212 w 351"/>
                <a:gd name="T37" fmla="*/ 35 h 342"/>
                <a:gd name="T38" fmla="*/ 187 w 351"/>
                <a:gd name="T39" fmla="*/ 13 h 342"/>
                <a:gd name="T40" fmla="*/ 170 w 351"/>
                <a:gd name="T41" fmla="*/ 2 h 342"/>
                <a:gd name="T42" fmla="*/ 151 w 351"/>
                <a:gd name="T43" fmla="*/ 13 h 342"/>
                <a:gd name="T44" fmla="*/ 114 w 351"/>
                <a:gd name="T45" fmla="*/ 35 h 342"/>
                <a:gd name="T46" fmla="*/ 122 w 351"/>
                <a:gd name="T47" fmla="*/ 61 h 342"/>
                <a:gd name="T48" fmla="*/ 118 w 351"/>
                <a:gd name="T49" fmla="*/ 85 h 342"/>
                <a:gd name="T50" fmla="*/ 103 w 351"/>
                <a:gd name="T51" fmla="*/ 106 h 342"/>
                <a:gd name="T52" fmla="*/ 79 w 351"/>
                <a:gd name="T53" fmla="*/ 152 h 342"/>
                <a:gd name="T54" fmla="*/ 65 w 351"/>
                <a:gd name="T55" fmla="*/ 172 h 342"/>
                <a:gd name="T56" fmla="*/ 42 w 351"/>
                <a:gd name="T57" fmla="*/ 170 h 342"/>
                <a:gd name="T58" fmla="*/ 20 w 351"/>
                <a:gd name="T59" fmla="*/ 172 h 342"/>
                <a:gd name="T60" fmla="*/ 17 w 351"/>
                <a:gd name="T61" fmla="*/ 185 h 342"/>
                <a:gd name="T62" fmla="*/ 9 w 351"/>
                <a:gd name="T63" fmla="*/ 204 h 342"/>
                <a:gd name="T64" fmla="*/ 0 w 351"/>
                <a:gd name="T65" fmla="*/ 250 h 342"/>
                <a:gd name="T66" fmla="*/ 18 w 351"/>
                <a:gd name="T67" fmla="*/ 276 h 342"/>
                <a:gd name="T68" fmla="*/ 26 w 351"/>
                <a:gd name="T69" fmla="*/ 292 h 342"/>
                <a:gd name="T70" fmla="*/ 41 w 351"/>
                <a:gd name="T71" fmla="*/ 277 h 342"/>
                <a:gd name="T72" fmla="*/ 79 w 351"/>
                <a:gd name="T73" fmla="*/ 290 h 342"/>
                <a:gd name="T74" fmla="*/ 87 w 351"/>
                <a:gd name="T75" fmla="*/ 289 h 342"/>
                <a:gd name="T76" fmla="*/ 92 w 351"/>
                <a:gd name="T77" fmla="*/ 277 h 342"/>
                <a:gd name="T78" fmla="*/ 114 w 351"/>
                <a:gd name="T79" fmla="*/ 300 h 342"/>
                <a:gd name="T80" fmla="*/ 127 w 351"/>
                <a:gd name="T81" fmla="*/ 292 h 342"/>
                <a:gd name="T82" fmla="*/ 127 w 351"/>
                <a:gd name="T83" fmla="*/ 292 h 342"/>
                <a:gd name="T84" fmla="*/ 138 w 351"/>
                <a:gd name="T85" fmla="*/ 285 h 342"/>
                <a:gd name="T86" fmla="*/ 153 w 351"/>
                <a:gd name="T87" fmla="*/ 290 h 342"/>
                <a:gd name="T88" fmla="*/ 164 w 351"/>
                <a:gd name="T89" fmla="*/ 294 h 342"/>
                <a:gd name="T90" fmla="*/ 188 w 351"/>
                <a:gd name="T91" fmla="*/ 307 h 342"/>
                <a:gd name="T92" fmla="*/ 201 w 351"/>
                <a:gd name="T93" fmla="*/ 309 h 342"/>
                <a:gd name="T94" fmla="*/ 209 w 351"/>
                <a:gd name="T95" fmla="*/ 326 h 342"/>
                <a:gd name="T96" fmla="*/ 225 w 351"/>
                <a:gd name="T97" fmla="*/ 340 h 34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51"/>
                <a:gd name="T148" fmla="*/ 0 h 342"/>
                <a:gd name="T149" fmla="*/ 351 w 351"/>
                <a:gd name="T150" fmla="*/ 342 h 34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51" h="342">
                  <a:moveTo>
                    <a:pt x="249" y="333"/>
                  </a:moveTo>
                  <a:lnTo>
                    <a:pt x="257" y="326"/>
                  </a:lnTo>
                  <a:lnTo>
                    <a:pt x="262" y="318"/>
                  </a:lnTo>
                  <a:lnTo>
                    <a:pt x="264" y="309"/>
                  </a:lnTo>
                  <a:lnTo>
                    <a:pt x="264" y="298"/>
                  </a:lnTo>
                  <a:lnTo>
                    <a:pt x="264" y="290"/>
                  </a:lnTo>
                  <a:lnTo>
                    <a:pt x="268" y="287"/>
                  </a:lnTo>
                  <a:lnTo>
                    <a:pt x="273" y="285"/>
                  </a:lnTo>
                  <a:lnTo>
                    <a:pt x="283" y="283"/>
                  </a:lnTo>
                  <a:lnTo>
                    <a:pt x="301" y="283"/>
                  </a:lnTo>
                  <a:lnTo>
                    <a:pt x="320" y="285"/>
                  </a:lnTo>
                  <a:lnTo>
                    <a:pt x="325" y="279"/>
                  </a:lnTo>
                  <a:lnTo>
                    <a:pt x="332" y="276"/>
                  </a:lnTo>
                  <a:lnTo>
                    <a:pt x="340" y="274"/>
                  </a:lnTo>
                  <a:lnTo>
                    <a:pt x="351" y="274"/>
                  </a:lnTo>
                  <a:lnTo>
                    <a:pt x="342" y="257"/>
                  </a:lnTo>
                  <a:lnTo>
                    <a:pt x="334" y="241"/>
                  </a:lnTo>
                  <a:lnTo>
                    <a:pt x="332" y="226"/>
                  </a:lnTo>
                  <a:lnTo>
                    <a:pt x="332" y="218"/>
                  </a:lnTo>
                  <a:lnTo>
                    <a:pt x="321" y="218"/>
                  </a:lnTo>
                  <a:lnTo>
                    <a:pt x="312" y="220"/>
                  </a:lnTo>
                  <a:lnTo>
                    <a:pt x="308" y="215"/>
                  </a:lnTo>
                  <a:lnTo>
                    <a:pt x="307" y="209"/>
                  </a:lnTo>
                  <a:lnTo>
                    <a:pt x="305" y="205"/>
                  </a:lnTo>
                  <a:lnTo>
                    <a:pt x="303" y="202"/>
                  </a:lnTo>
                  <a:lnTo>
                    <a:pt x="299" y="200"/>
                  </a:lnTo>
                  <a:lnTo>
                    <a:pt x="294" y="196"/>
                  </a:lnTo>
                  <a:lnTo>
                    <a:pt x="290" y="192"/>
                  </a:lnTo>
                  <a:lnTo>
                    <a:pt x="284" y="187"/>
                  </a:lnTo>
                  <a:lnTo>
                    <a:pt x="283" y="183"/>
                  </a:lnTo>
                  <a:lnTo>
                    <a:pt x="283" y="180"/>
                  </a:lnTo>
                  <a:lnTo>
                    <a:pt x="283" y="176"/>
                  </a:lnTo>
                  <a:lnTo>
                    <a:pt x="284" y="170"/>
                  </a:lnTo>
                  <a:lnTo>
                    <a:pt x="297" y="154"/>
                  </a:lnTo>
                  <a:lnTo>
                    <a:pt x="312" y="137"/>
                  </a:lnTo>
                  <a:lnTo>
                    <a:pt x="312" y="130"/>
                  </a:lnTo>
                  <a:lnTo>
                    <a:pt x="310" y="122"/>
                  </a:lnTo>
                  <a:lnTo>
                    <a:pt x="307" y="115"/>
                  </a:lnTo>
                  <a:lnTo>
                    <a:pt x="301" y="107"/>
                  </a:lnTo>
                  <a:lnTo>
                    <a:pt x="295" y="100"/>
                  </a:lnTo>
                  <a:lnTo>
                    <a:pt x="292" y="96"/>
                  </a:lnTo>
                  <a:lnTo>
                    <a:pt x="288" y="95"/>
                  </a:lnTo>
                  <a:lnTo>
                    <a:pt x="284" y="95"/>
                  </a:lnTo>
                  <a:lnTo>
                    <a:pt x="279" y="95"/>
                  </a:lnTo>
                  <a:lnTo>
                    <a:pt x="273" y="95"/>
                  </a:lnTo>
                  <a:lnTo>
                    <a:pt x="270" y="85"/>
                  </a:lnTo>
                  <a:lnTo>
                    <a:pt x="266" y="78"/>
                  </a:lnTo>
                  <a:lnTo>
                    <a:pt x="257" y="80"/>
                  </a:lnTo>
                  <a:lnTo>
                    <a:pt x="249" y="80"/>
                  </a:lnTo>
                  <a:lnTo>
                    <a:pt x="247" y="74"/>
                  </a:lnTo>
                  <a:lnTo>
                    <a:pt x="247" y="65"/>
                  </a:lnTo>
                  <a:lnTo>
                    <a:pt x="247" y="61"/>
                  </a:lnTo>
                  <a:lnTo>
                    <a:pt x="246" y="56"/>
                  </a:lnTo>
                  <a:lnTo>
                    <a:pt x="240" y="48"/>
                  </a:lnTo>
                  <a:lnTo>
                    <a:pt x="233" y="43"/>
                  </a:lnTo>
                  <a:lnTo>
                    <a:pt x="223" y="39"/>
                  </a:lnTo>
                  <a:lnTo>
                    <a:pt x="212" y="35"/>
                  </a:lnTo>
                  <a:lnTo>
                    <a:pt x="201" y="30"/>
                  </a:lnTo>
                  <a:lnTo>
                    <a:pt x="194" y="22"/>
                  </a:lnTo>
                  <a:lnTo>
                    <a:pt x="187" y="13"/>
                  </a:lnTo>
                  <a:lnTo>
                    <a:pt x="179" y="6"/>
                  </a:lnTo>
                  <a:lnTo>
                    <a:pt x="174" y="4"/>
                  </a:lnTo>
                  <a:lnTo>
                    <a:pt x="170" y="2"/>
                  </a:lnTo>
                  <a:lnTo>
                    <a:pt x="166" y="0"/>
                  </a:lnTo>
                  <a:lnTo>
                    <a:pt x="161" y="0"/>
                  </a:lnTo>
                  <a:lnTo>
                    <a:pt x="151" y="13"/>
                  </a:lnTo>
                  <a:lnTo>
                    <a:pt x="144" y="28"/>
                  </a:lnTo>
                  <a:lnTo>
                    <a:pt x="131" y="34"/>
                  </a:lnTo>
                  <a:lnTo>
                    <a:pt x="114" y="35"/>
                  </a:lnTo>
                  <a:lnTo>
                    <a:pt x="118" y="45"/>
                  </a:lnTo>
                  <a:lnTo>
                    <a:pt x="120" y="52"/>
                  </a:lnTo>
                  <a:lnTo>
                    <a:pt x="122" y="61"/>
                  </a:lnTo>
                  <a:lnTo>
                    <a:pt x="122" y="69"/>
                  </a:lnTo>
                  <a:lnTo>
                    <a:pt x="120" y="76"/>
                  </a:lnTo>
                  <a:lnTo>
                    <a:pt x="118" y="85"/>
                  </a:lnTo>
                  <a:lnTo>
                    <a:pt x="116" y="91"/>
                  </a:lnTo>
                  <a:lnTo>
                    <a:pt x="113" y="98"/>
                  </a:lnTo>
                  <a:lnTo>
                    <a:pt x="103" y="106"/>
                  </a:lnTo>
                  <a:lnTo>
                    <a:pt x="92" y="111"/>
                  </a:lnTo>
                  <a:lnTo>
                    <a:pt x="87" y="130"/>
                  </a:lnTo>
                  <a:lnTo>
                    <a:pt x="79" y="152"/>
                  </a:lnTo>
                  <a:lnTo>
                    <a:pt x="76" y="161"/>
                  </a:lnTo>
                  <a:lnTo>
                    <a:pt x="70" y="168"/>
                  </a:lnTo>
                  <a:lnTo>
                    <a:pt x="65" y="172"/>
                  </a:lnTo>
                  <a:lnTo>
                    <a:pt x="59" y="174"/>
                  </a:lnTo>
                  <a:lnTo>
                    <a:pt x="50" y="172"/>
                  </a:lnTo>
                  <a:lnTo>
                    <a:pt x="42" y="170"/>
                  </a:lnTo>
                  <a:lnTo>
                    <a:pt x="33" y="168"/>
                  </a:lnTo>
                  <a:lnTo>
                    <a:pt x="26" y="170"/>
                  </a:lnTo>
                  <a:lnTo>
                    <a:pt x="20" y="172"/>
                  </a:lnTo>
                  <a:lnTo>
                    <a:pt x="18" y="176"/>
                  </a:lnTo>
                  <a:lnTo>
                    <a:pt x="18" y="180"/>
                  </a:lnTo>
                  <a:lnTo>
                    <a:pt x="17" y="185"/>
                  </a:lnTo>
                  <a:lnTo>
                    <a:pt x="7" y="191"/>
                  </a:lnTo>
                  <a:lnTo>
                    <a:pt x="2" y="194"/>
                  </a:lnTo>
                  <a:lnTo>
                    <a:pt x="9" y="204"/>
                  </a:lnTo>
                  <a:lnTo>
                    <a:pt x="17" y="220"/>
                  </a:lnTo>
                  <a:lnTo>
                    <a:pt x="9" y="233"/>
                  </a:lnTo>
                  <a:lnTo>
                    <a:pt x="0" y="250"/>
                  </a:lnTo>
                  <a:lnTo>
                    <a:pt x="5" y="257"/>
                  </a:lnTo>
                  <a:lnTo>
                    <a:pt x="15" y="268"/>
                  </a:lnTo>
                  <a:lnTo>
                    <a:pt x="18" y="276"/>
                  </a:lnTo>
                  <a:lnTo>
                    <a:pt x="22" y="281"/>
                  </a:lnTo>
                  <a:lnTo>
                    <a:pt x="26" y="287"/>
                  </a:lnTo>
                  <a:lnTo>
                    <a:pt x="26" y="292"/>
                  </a:lnTo>
                  <a:lnTo>
                    <a:pt x="28" y="290"/>
                  </a:lnTo>
                  <a:lnTo>
                    <a:pt x="33" y="283"/>
                  </a:lnTo>
                  <a:lnTo>
                    <a:pt x="41" y="277"/>
                  </a:lnTo>
                  <a:lnTo>
                    <a:pt x="50" y="276"/>
                  </a:lnTo>
                  <a:lnTo>
                    <a:pt x="66" y="283"/>
                  </a:lnTo>
                  <a:lnTo>
                    <a:pt x="79" y="290"/>
                  </a:lnTo>
                  <a:lnTo>
                    <a:pt x="83" y="290"/>
                  </a:lnTo>
                  <a:lnTo>
                    <a:pt x="85" y="290"/>
                  </a:lnTo>
                  <a:lnTo>
                    <a:pt x="87" y="289"/>
                  </a:lnTo>
                  <a:lnTo>
                    <a:pt x="89" y="285"/>
                  </a:lnTo>
                  <a:lnTo>
                    <a:pt x="90" y="279"/>
                  </a:lnTo>
                  <a:lnTo>
                    <a:pt x="92" y="277"/>
                  </a:lnTo>
                  <a:lnTo>
                    <a:pt x="100" y="287"/>
                  </a:lnTo>
                  <a:lnTo>
                    <a:pt x="107" y="298"/>
                  </a:lnTo>
                  <a:lnTo>
                    <a:pt x="114" y="300"/>
                  </a:lnTo>
                  <a:lnTo>
                    <a:pt x="118" y="298"/>
                  </a:lnTo>
                  <a:lnTo>
                    <a:pt x="124" y="296"/>
                  </a:lnTo>
                  <a:lnTo>
                    <a:pt x="127" y="292"/>
                  </a:lnTo>
                  <a:lnTo>
                    <a:pt x="131" y="289"/>
                  </a:lnTo>
                  <a:lnTo>
                    <a:pt x="135" y="287"/>
                  </a:lnTo>
                  <a:lnTo>
                    <a:pt x="138" y="285"/>
                  </a:lnTo>
                  <a:lnTo>
                    <a:pt x="146" y="285"/>
                  </a:lnTo>
                  <a:lnTo>
                    <a:pt x="150" y="287"/>
                  </a:lnTo>
                  <a:lnTo>
                    <a:pt x="153" y="290"/>
                  </a:lnTo>
                  <a:lnTo>
                    <a:pt x="157" y="292"/>
                  </a:lnTo>
                  <a:lnTo>
                    <a:pt x="159" y="294"/>
                  </a:lnTo>
                  <a:lnTo>
                    <a:pt x="164" y="294"/>
                  </a:lnTo>
                  <a:lnTo>
                    <a:pt x="170" y="292"/>
                  </a:lnTo>
                  <a:lnTo>
                    <a:pt x="179" y="300"/>
                  </a:lnTo>
                  <a:lnTo>
                    <a:pt x="188" y="307"/>
                  </a:lnTo>
                  <a:lnTo>
                    <a:pt x="194" y="307"/>
                  </a:lnTo>
                  <a:lnTo>
                    <a:pt x="198" y="309"/>
                  </a:lnTo>
                  <a:lnTo>
                    <a:pt x="201" y="309"/>
                  </a:lnTo>
                  <a:lnTo>
                    <a:pt x="205" y="313"/>
                  </a:lnTo>
                  <a:lnTo>
                    <a:pt x="207" y="320"/>
                  </a:lnTo>
                  <a:lnTo>
                    <a:pt x="209" y="326"/>
                  </a:lnTo>
                  <a:lnTo>
                    <a:pt x="211" y="333"/>
                  </a:lnTo>
                  <a:lnTo>
                    <a:pt x="211" y="342"/>
                  </a:lnTo>
                  <a:lnTo>
                    <a:pt x="225" y="340"/>
                  </a:lnTo>
                  <a:lnTo>
                    <a:pt x="249" y="33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5" name="Freeform 61"/>
            <p:cNvSpPr>
              <a:spLocks/>
            </p:cNvSpPr>
            <p:nvPr/>
          </p:nvSpPr>
          <p:spPr bwMode="auto">
            <a:xfrm>
              <a:off x="3617726" y="2357148"/>
              <a:ext cx="166973" cy="173536"/>
            </a:xfrm>
            <a:custGeom>
              <a:avLst/>
              <a:gdLst>
                <a:gd name="T0" fmla="*/ 200 w 320"/>
                <a:gd name="T1" fmla="*/ 13 h 341"/>
                <a:gd name="T2" fmla="*/ 178 w 320"/>
                <a:gd name="T3" fmla="*/ 24 h 341"/>
                <a:gd name="T4" fmla="*/ 172 w 320"/>
                <a:gd name="T5" fmla="*/ 38 h 341"/>
                <a:gd name="T6" fmla="*/ 146 w 320"/>
                <a:gd name="T7" fmla="*/ 35 h 341"/>
                <a:gd name="T8" fmla="*/ 133 w 320"/>
                <a:gd name="T9" fmla="*/ 68 h 341"/>
                <a:gd name="T10" fmla="*/ 109 w 320"/>
                <a:gd name="T11" fmla="*/ 70 h 341"/>
                <a:gd name="T12" fmla="*/ 98 w 320"/>
                <a:gd name="T13" fmla="*/ 72 h 341"/>
                <a:gd name="T14" fmla="*/ 83 w 320"/>
                <a:gd name="T15" fmla="*/ 46 h 341"/>
                <a:gd name="T16" fmla="*/ 54 w 320"/>
                <a:gd name="T17" fmla="*/ 46 h 341"/>
                <a:gd name="T18" fmla="*/ 37 w 320"/>
                <a:gd name="T19" fmla="*/ 33 h 341"/>
                <a:gd name="T20" fmla="*/ 17 w 320"/>
                <a:gd name="T21" fmla="*/ 40 h 341"/>
                <a:gd name="T22" fmla="*/ 13 w 320"/>
                <a:gd name="T23" fmla="*/ 59 h 341"/>
                <a:gd name="T24" fmla="*/ 26 w 320"/>
                <a:gd name="T25" fmla="*/ 70 h 341"/>
                <a:gd name="T26" fmla="*/ 39 w 320"/>
                <a:gd name="T27" fmla="*/ 86 h 341"/>
                <a:gd name="T28" fmla="*/ 32 w 320"/>
                <a:gd name="T29" fmla="*/ 99 h 341"/>
                <a:gd name="T30" fmla="*/ 26 w 320"/>
                <a:gd name="T31" fmla="*/ 94 h 341"/>
                <a:gd name="T32" fmla="*/ 6 w 320"/>
                <a:gd name="T33" fmla="*/ 81 h 341"/>
                <a:gd name="T34" fmla="*/ 8 w 320"/>
                <a:gd name="T35" fmla="*/ 109 h 341"/>
                <a:gd name="T36" fmla="*/ 37 w 320"/>
                <a:gd name="T37" fmla="*/ 131 h 341"/>
                <a:gd name="T38" fmla="*/ 46 w 320"/>
                <a:gd name="T39" fmla="*/ 146 h 341"/>
                <a:gd name="T40" fmla="*/ 34 w 320"/>
                <a:gd name="T41" fmla="*/ 168 h 341"/>
                <a:gd name="T42" fmla="*/ 37 w 320"/>
                <a:gd name="T43" fmla="*/ 205 h 341"/>
                <a:gd name="T44" fmla="*/ 45 w 320"/>
                <a:gd name="T45" fmla="*/ 227 h 341"/>
                <a:gd name="T46" fmla="*/ 37 w 320"/>
                <a:gd name="T47" fmla="*/ 240 h 341"/>
                <a:gd name="T48" fmla="*/ 52 w 320"/>
                <a:gd name="T49" fmla="*/ 256 h 341"/>
                <a:gd name="T50" fmla="*/ 76 w 320"/>
                <a:gd name="T51" fmla="*/ 264 h 341"/>
                <a:gd name="T52" fmla="*/ 96 w 320"/>
                <a:gd name="T53" fmla="*/ 266 h 341"/>
                <a:gd name="T54" fmla="*/ 107 w 320"/>
                <a:gd name="T55" fmla="*/ 258 h 341"/>
                <a:gd name="T56" fmla="*/ 118 w 320"/>
                <a:gd name="T57" fmla="*/ 271 h 341"/>
                <a:gd name="T58" fmla="*/ 133 w 320"/>
                <a:gd name="T59" fmla="*/ 290 h 341"/>
                <a:gd name="T60" fmla="*/ 141 w 320"/>
                <a:gd name="T61" fmla="*/ 327 h 341"/>
                <a:gd name="T62" fmla="*/ 159 w 320"/>
                <a:gd name="T63" fmla="*/ 327 h 341"/>
                <a:gd name="T64" fmla="*/ 161 w 320"/>
                <a:gd name="T65" fmla="*/ 341 h 341"/>
                <a:gd name="T66" fmla="*/ 172 w 320"/>
                <a:gd name="T67" fmla="*/ 336 h 341"/>
                <a:gd name="T68" fmla="*/ 194 w 320"/>
                <a:gd name="T69" fmla="*/ 323 h 341"/>
                <a:gd name="T70" fmla="*/ 215 w 320"/>
                <a:gd name="T71" fmla="*/ 319 h 341"/>
                <a:gd name="T72" fmla="*/ 235 w 320"/>
                <a:gd name="T73" fmla="*/ 305 h 341"/>
                <a:gd name="T74" fmla="*/ 246 w 320"/>
                <a:gd name="T75" fmla="*/ 290 h 341"/>
                <a:gd name="T76" fmla="*/ 239 w 320"/>
                <a:gd name="T77" fmla="*/ 282 h 341"/>
                <a:gd name="T78" fmla="*/ 227 w 320"/>
                <a:gd name="T79" fmla="*/ 284 h 341"/>
                <a:gd name="T80" fmla="*/ 220 w 320"/>
                <a:gd name="T81" fmla="*/ 277 h 341"/>
                <a:gd name="T82" fmla="*/ 220 w 320"/>
                <a:gd name="T83" fmla="*/ 260 h 341"/>
                <a:gd name="T84" fmla="*/ 202 w 320"/>
                <a:gd name="T85" fmla="*/ 236 h 341"/>
                <a:gd name="T86" fmla="*/ 215 w 320"/>
                <a:gd name="T87" fmla="*/ 199 h 341"/>
                <a:gd name="T88" fmla="*/ 205 w 320"/>
                <a:gd name="T89" fmla="*/ 170 h 341"/>
                <a:gd name="T90" fmla="*/ 216 w 320"/>
                <a:gd name="T91" fmla="*/ 155 h 341"/>
                <a:gd name="T92" fmla="*/ 231 w 320"/>
                <a:gd name="T93" fmla="*/ 147 h 341"/>
                <a:gd name="T94" fmla="*/ 257 w 320"/>
                <a:gd name="T95" fmla="*/ 153 h 341"/>
                <a:gd name="T96" fmla="*/ 274 w 320"/>
                <a:gd name="T97" fmla="*/ 140 h 341"/>
                <a:gd name="T98" fmla="*/ 290 w 320"/>
                <a:gd name="T99" fmla="*/ 90 h 341"/>
                <a:gd name="T100" fmla="*/ 314 w 320"/>
                <a:gd name="T101" fmla="*/ 70 h 341"/>
                <a:gd name="T102" fmla="*/ 320 w 320"/>
                <a:gd name="T103" fmla="*/ 48 h 341"/>
                <a:gd name="T104" fmla="*/ 316 w 320"/>
                <a:gd name="T105" fmla="*/ 24 h 341"/>
                <a:gd name="T106" fmla="*/ 312 w 320"/>
                <a:gd name="T107" fmla="*/ 14 h 341"/>
                <a:gd name="T108" fmla="*/ 279 w 320"/>
                <a:gd name="T109" fmla="*/ 25 h 341"/>
                <a:gd name="T110" fmla="*/ 242 w 320"/>
                <a:gd name="T111" fmla="*/ 14 h 341"/>
                <a:gd name="T112" fmla="*/ 218 w 320"/>
                <a:gd name="T113" fmla="*/ 0 h 34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0"/>
                <a:gd name="T172" fmla="*/ 0 h 341"/>
                <a:gd name="T173" fmla="*/ 320 w 320"/>
                <a:gd name="T174" fmla="*/ 341 h 34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0" h="341">
                  <a:moveTo>
                    <a:pt x="218" y="0"/>
                  </a:moveTo>
                  <a:lnTo>
                    <a:pt x="209" y="7"/>
                  </a:lnTo>
                  <a:lnTo>
                    <a:pt x="200" y="13"/>
                  </a:lnTo>
                  <a:lnTo>
                    <a:pt x="189" y="16"/>
                  </a:lnTo>
                  <a:lnTo>
                    <a:pt x="178" y="16"/>
                  </a:lnTo>
                  <a:lnTo>
                    <a:pt x="178" y="24"/>
                  </a:lnTo>
                  <a:lnTo>
                    <a:pt x="178" y="29"/>
                  </a:lnTo>
                  <a:lnTo>
                    <a:pt x="176" y="35"/>
                  </a:lnTo>
                  <a:lnTo>
                    <a:pt x="172" y="38"/>
                  </a:lnTo>
                  <a:lnTo>
                    <a:pt x="165" y="33"/>
                  </a:lnTo>
                  <a:lnTo>
                    <a:pt x="155" y="27"/>
                  </a:lnTo>
                  <a:lnTo>
                    <a:pt x="146" y="35"/>
                  </a:lnTo>
                  <a:lnTo>
                    <a:pt x="143" y="38"/>
                  </a:lnTo>
                  <a:lnTo>
                    <a:pt x="139" y="48"/>
                  </a:lnTo>
                  <a:lnTo>
                    <a:pt x="133" y="68"/>
                  </a:lnTo>
                  <a:lnTo>
                    <a:pt x="124" y="64"/>
                  </a:lnTo>
                  <a:lnTo>
                    <a:pt x="117" y="64"/>
                  </a:lnTo>
                  <a:lnTo>
                    <a:pt x="109" y="70"/>
                  </a:lnTo>
                  <a:lnTo>
                    <a:pt x="106" y="74"/>
                  </a:lnTo>
                  <a:lnTo>
                    <a:pt x="100" y="74"/>
                  </a:lnTo>
                  <a:lnTo>
                    <a:pt x="98" y="72"/>
                  </a:lnTo>
                  <a:lnTo>
                    <a:pt x="94" y="61"/>
                  </a:lnTo>
                  <a:lnTo>
                    <a:pt x="89" y="51"/>
                  </a:lnTo>
                  <a:lnTo>
                    <a:pt x="83" y="46"/>
                  </a:lnTo>
                  <a:lnTo>
                    <a:pt x="78" y="42"/>
                  </a:lnTo>
                  <a:lnTo>
                    <a:pt x="69" y="44"/>
                  </a:lnTo>
                  <a:lnTo>
                    <a:pt x="54" y="46"/>
                  </a:lnTo>
                  <a:lnTo>
                    <a:pt x="48" y="38"/>
                  </a:lnTo>
                  <a:lnTo>
                    <a:pt x="43" y="35"/>
                  </a:lnTo>
                  <a:lnTo>
                    <a:pt x="37" y="33"/>
                  </a:lnTo>
                  <a:lnTo>
                    <a:pt x="30" y="33"/>
                  </a:lnTo>
                  <a:lnTo>
                    <a:pt x="24" y="37"/>
                  </a:lnTo>
                  <a:lnTo>
                    <a:pt x="17" y="40"/>
                  </a:lnTo>
                  <a:lnTo>
                    <a:pt x="13" y="46"/>
                  </a:lnTo>
                  <a:lnTo>
                    <a:pt x="8" y="51"/>
                  </a:lnTo>
                  <a:lnTo>
                    <a:pt x="13" y="59"/>
                  </a:lnTo>
                  <a:lnTo>
                    <a:pt x="17" y="64"/>
                  </a:lnTo>
                  <a:lnTo>
                    <a:pt x="22" y="68"/>
                  </a:lnTo>
                  <a:lnTo>
                    <a:pt x="26" y="70"/>
                  </a:lnTo>
                  <a:lnTo>
                    <a:pt x="35" y="74"/>
                  </a:lnTo>
                  <a:lnTo>
                    <a:pt x="39" y="79"/>
                  </a:lnTo>
                  <a:lnTo>
                    <a:pt x="39" y="86"/>
                  </a:lnTo>
                  <a:lnTo>
                    <a:pt x="37" y="96"/>
                  </a:lnTo>
                  <a:lnTo>
                    <a:pt x="35" y="98"/>
                  </a:lnTo>
                  <a:lnTo>
                    <a:pt x="32" y="99"/>
                  </a:lnTo>
                  <a:lnTo>
                    <a:pt x="30" y="98"/>
                  </a:lnTo>
                  <a:lnTo>
                    <a:pt x="26" y="94"/>
                  </a:lnTo>
                  <a:lnTo>
                    <a:pt x="21" y="90"/>
                  </a:lnTo>
                  <a:lnTo>
                    <a:pt x="13" y="85"/>
                  </a:lnTo>
                  <a:lnTo>
                    <a:pt x="6" y="81"/>
                  </a:lnTo>
                  <a:lnTo>
                    <a:pt x="11" y="94"/>
                  </a:lnTo>
                  <a:lnTo>
                    <a:pt x="13" y="103"/>
                  </a:lnTo>
                  <a:lnTo>
                    <a:pt x="8" y="109"/>
                  </a:lnTo>
                  <a:lnTo>
                    <a:pt x="0" y="116"/>
                  </a:lnTo>
                  <a:lnTo>
                    <a:pt x="19" y="122"/>
                  </a:lnTo>
                  <a:lnTo>
                    <a:pt x="37" y="131"/>
                  </a:lnTo>
                  <a:lnTo>
                    <a:pt x="41" y="135"/>
                  </a:lnTo>
                  <a:lnTo>
                    <a:pt x="45" y="140"/>
                  </a:lnTo>
                  <a:lnTo>
                    <a:pt x="46" y="146"/>
                  </a:lnTo>
                  <a:lnTo>
                    <a:pt x="46" y="151"/>
                  </a:lnTo>
                  <a:lnTo>
                    <a:pt x="43" y="160"/>
                  </a:lnTo>
                  <a:lnTo>
                    <a:pt x="34" y="168"/>
                  </a:lnTo>
                  <a:lnTo>
                    <a:pt x="28" y="179"/>
                  </a:lnTo>
                  <a:lnTo>
                    <a:pt x="26" y="192"/>
                  </a:lnTo>
                  <a:lnTo>
                    <a:pt x="37" y="205"/>
                  </a:lnTo>
                  <a:lnTo>
                    <a:pt x="48" y="214"/>
                  </a:lnTo>
                  <a:lnTo>
                    <a:pt x="48" y="220"/>
                  </a:lnTo>
                  <a:lnTo>
                    <a:pt x="45" y="227"/>
                  </a:lnTo>
                  <a:lnTo>
                    <a:pt x="41" y="234"/>
                  </a:lnTo>
                  <a:lnTo>
                    <a:pt x="37" y="240"/>
                  </a:lnTo>
                  <a:lnTo>
                    <a:pt x="41" y="245"/>
                  </a:lnTo>
                  <a:lnTo>
                    <a:pt x="46" y="251"/>
                  </a:lnTo>
                  <a:lnTo>
                    <a:pt x="52" y="256"/>
                  </a:lnTo>
                  <a:lnTo>
                    <a:pt x="59" y="260"/>
                  </a:lnTo>
                  <a:lnTo>
                    <a:pt x="67" y="262"/>
                  </a:lnTo>
                  <a:lnTo>
                    <a:pt x="76" y="264"/>
                  </a:lnTo>
                  <a:lnTo>
                    <a:pt x="83" y="264"/>
                  </a:lnTo>
                  <a:lnTo>
                    <a:pt x="91" y="264"/>
                  </a:lnTo>
                  <a:lnTo>
                    <a:pt x="96" y="266"/>
                  </a:lnTo>
                  <a:lnTo>
                    <a:pt x="100" y="264"/>
                  </a:lnTo>
                  <a:lnTo>
                    <a:pt x="106" y="262"/>
                  </a:lnTo>
                  <a:lnTo>
                    <a:pt x="107" y="258"/>
                  </a:lnTo>
                  <a:lnTo>
                    <a:pt x="113" y="260"/>
                  </a:lnTo>
                  <a:lnTo>
                    <a:pt x="118" y="264"/>
                  </a:lnTo>
                  <a:lnTo>
                    <a:pt x="118" y="271"/>
                  </a:lnTo>
                  <a:lnTo>
                    <a:pt x="120" y="280"/>
                  </a:lnTo>
                  <a:lnTo>
                    <a:pt x="126" y="286"/>
                  </a:lnTo>
                  <a:lnTo>
                    <a:pt x="133" y="290"/>
                  </a:lnTo>
                  <a:lnTo>
                    <a:pt x="135" y="306"/>
                  </a:lnTo>
                  <a:lnTo>
                    <a:pt x="137" y="323"/>
                  </a:lnTo>
                  <a:lnTo>
                    <a:pt x="141" y="327"/>
                  </a:lnTo>
                  <a:lnTo>
                    <a:pt x="146" y="329"/>
                  </a:lnTo>
                  <a:lnTo>
                    <a:pt x="154" y="329"/>
                  </a:lnTo>
                  <a:lnTo>
                    <a:pt x="159" y="327"/>
                  </a:lnTo>
                  <a:lnTo>
                    <a:pt x="159" y="334"/>
                  </a:lnTo>
                  <a:lnTo>
                    <a:pt x="157" y="340"/>
                  </a:lnTo>
                  <a:lnTo>
                    <a:pt x="161" y="341"/>
                  </a:lnTo>
                  <a:lnTo>
                    <a:pt x="163" y="341"/>
                  </a:lnTo>
                  <a:lnTo>
                    <a:pt x="167" y="340"/>
                  </a:lnTo>
                  <a:lnTo>
                    <a:pt x="172" y="336"/>
                  </a:lnTo>
                  <a:lnTo>
                    <a:pt x="179" y="330"/>
                  </a:lnTo>
                  <a:lnTo>
                    <a:pt x="185" y="325"/>
                  </a:lnTo>
                  <a:lnTo>
                    <a:pt x="194" y="323"/>
                  </a:lnTo>
                  <a:lnTo>
                    <a:pt x="203" y="321"/>
                  </a:lnTo>
                  <a:lnTo>
                    <a:pt x="209" y="321"/>
                  </a:lnTo>
                  <a:lnTo>
                    <a:pt x="215" y="319"/>
                  </a:lnTo>
                  <a:lnTo>
                    <a:pt x="220" y="317"/>
                  </a:lnTo>
                  <a:lnTo>
                    <a:pt x="226" y="312"/>
                  </a:lnTo>
                  <a:lnTo>
                    <a:pt x="235" y="305"/>
                  </a:lnTo>
                  <a:lnTo>
                    <a:pt x="242" y="297"/>
                  </a:lnTo>
                  <a:lnTo>
                    <a:pt x="246" y="293"/>
                  </a:lnTo>
                  <a:lnTo>
                    <a:pt x="246" y="290"/>
                  </a:lnTo>
                  <a:lnTo>
                    <a:pt x="246" y="286"/>
                  </a:lnTo>
                  <a:lnTo>
                    <a:pt x="244" y="282"/>
                  </a:lnTo>
                  <a:lnTo>
                    <a:pt x="239" y="282"/>
                  </a:lnTo>
                  <a:lnTo>
                    <a:pt x="233" y="284"/>
                  </a:lnTo>
                  <a:lnTo>
                    <a:pt x="229" y="284"/>
                  </a:lnTo>
                  <a:lnTo>
                    <a:pt x="227" y="284"/>
                  </a:lnTo>
                  <a:lnTo>
                    <a:pt x="224" y="284"/>
                  </a:lnTo>
                  <a:lnTo>
                    <a:pt x="220" y="282"/>
                  </a:lnTo>
                  <a:lnTo>
                    <a:pt x="220" y="277"/>
                  </a:lnTo>
                  <a:lnTo>
                    <a:pt x="224" y="271"/>
                  </a:lnTo>
                  <a:lnTo>
                    <a:pt x="224" y="266"/>
                  </a:lnTo>
                  <a:lnTo>
                    <a:pt x="220" y="260"/>
                  </a:lnTo>
                  <a:lnTo>
                    <a:pt x="216" y="253"/>
                  </a:lnTo>
                  <a:lnTo>
                    <a:pt x="213" y="247"/>
                  </a:lnTo>
                  <a:lnTo>
                    <a:pt x="202" y="236"/>
                  </a:lnTo>
                  <a:lnTo>
                    <a:pt x="198" y="229"/>
                  </a:lnTo>
                  <a:lnTo>
                    <a:pt x="207" y="212"/>
                  </a:lnTo>
                  <a:lnTo>
                    <a:pt x="215" y="199"/>
                  </a:lnTo>
                  <a:lnTo>
                    <a:pt x="207" y="183"/>
                  </a:lnTo>
                  <a:lnTo>
                    <a:pt x="200" y="173"/>
                  </a:lnTo>
                  <a:lnTo>
                    <a:pt x="205" y="170"/>
                  </a:lnTo>
                  <a:lnTo>
                    <a:pt x="215" y="164"/>
                  </a:lnTo>
                  <a:lnTo>
                    <a:pt x="216" y="159"/>
                  </a:lnTo>
                  <a:lnTo>
                    <a:pt x="216" y="155"/>
                  </a:lnTo>
                  <a:lnTo>
                    <a:pt x="218" y="151"/>
                  </a:lnTo>
                  <a:lnTo>
                    <a:pt x="224" y="149"/>
                  </a:lnTo>
                  <a:lnTo>
                    <a:pt x="231" y="147"/>
                  </a:lnTo>
                  <a:lnTo>
                    <a:pt x="240" y="149"/>
                  </a:lnTo>
                  <a:lnTo>
                    <a:pt x="248" y="151"/>
                  </a:lnTo>
                  <a:lnTo>
                    <a:pt x="257" y="153"/>
                  </a:lnTo>
                  <a:lnTo>
                    <a:pt x="263" y="151"/>
                  </a:lnTo>
                  <a:lnTo>
                    <a:pt x="268" y="147"/>
                  </a:lnTo>
                  <a:lnTo>
                    <a:pt x="274" y="140"/>
                  </a:lnTo>
                  <a:lnTo>
                    <a:pt x="277" y="131"/>
                  </a:lnTo>
                  <a:lnTo>
                    <a:pt x="285" y="109"/>
                  </a:lnTo>
                  <a:lnTo>
                    <a:pt x="290" y="90"/>
                  </a:lnTo>
                  <a:lnTo>
                    <a:pt x="301" y="85"/>
                  </a:lnTo>
                  <a:lnTo>
                    <a:pt x="311" y="77"/>
                  </a:lnTo>
                  <a:lnTo>
                    <a:pt x="314" y="70"/>
                  </a:lnTo>
                  <a:lnTo>
                    <a:pt x="316" y="64"/>
                  </a:lnTo>
                  <a:lnTo>
                    <a:pt x="318" y="55"/>
                  </a:lnTo>
                  <a:lnTo>
                    <a:pt x="320" y="48"/>
                  </a:lnTo>
                  <a:lnTo>
                    <a:pt x="320" y="40"/>
                  </a:lnTo>
                  <a:lnTo>
                    <a:pt x="318" y="31"/>
                  </a:lnTo>
                  <a:lnTo>
                    <a:pt x="316" y="24"/>
                  </a:lnTo>
                  <a:lnTo>
                    <a:pt x="312" y="14"/>
                  </a:lnTo>
                  <a:lnTo>
                    <a:pt x="301" y="18"/>
                  </a:lnTo>
                  <a:lnTo>
                    <a:pt x="290" y="22"/>
                  </a:lnTo>
                  <a:lnTo>
                    <a:pt x="279" y="25"/>
                  </a:lnTo>
                  <a:lnTo>
                    <a:pt x="266" y="25"/>
                  </a:lnTo>
                  <a:lnTo>
                    <a:pt x="253" y="20"/>
                  </a:lnTo>
                  <a:lnTo>
                    <a:pt x="242" y="14"/>
                  </a:lnTo>
                  <a:lnTo>
                    <a:pt x="229" y="7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6" name="Freeform 62"/>
            <p:cNvSpPr>
              <a:spLocks/>
            </p:cNvSpPr>
            <p:nvPr/>
          </p:nvSpPr>
          <p:spPr bwMode="auto">
            <a:xfrm>
              <a:off x="3648512" y="2486918"/>
              <a:ext cx="146624" cy="156742"/>
            </a:xfrm>
            <a:custGeom>
              <a:avLst/>
              <a:gdLst>
                <a:gd name="T0" fmla="*/ 174 w 281"/>
                <a:gd name="T1" fmla="*/ 297 h 308"/>
                <a:gd name="T2" fmla="*/ 209 w 281"/>
                <a:gd name="T3" fmla="*/ 288 h 308"/>
                <a:gd name="T4" fmla="*/ 209 w 281"/>
                <a:gd name="T5" fmla="*/ 266 h 308"/>
                <a:gd name="T6" fmla="*/ 193 w 281"/>
                <a:gd name="T7" fmla="*/ 253 h 308"/>
                <a:gd name="T8" fmla="*/ 191 w 281"/>
                <a:gd name="T9" fmla="*/ 242 h 308"/>
                <a:gd name="T10" fmla="*/ 213 w 281"/>
                <a:gd name="T11" fmla="*/ 223 h 308"/>
                <a:gd name="T12" fmla="*/ 213 w 281"/>
                <a:gd name="T13" fmla="*/ 208 h 308"/>
                <a:gd name="T14" fmla="*/ 213 w 281"/>
                <a:gd name="T15" fmla="*/ 188 h 308"/>
                <a:gd name="T16" fmla="*/ 231 w 281"/>
                <a:gd name="T17" fmla="*/ 203 h 308"/>
                <a:gd name="T18" fmla="*/ 259 w 281"/>
                <a:gd name="T19" fmla="*/ 199 h 308"/>
                <a:gd name="T20" fmla="*/ 263 w 281"/>
                <a:gd name="T21" fmla="*/ 173 h 308"/>
                <a:gd name="T22" fmla="*/ 259 w 281"/>
                <a:gd name="T23" fmla="*/ 110 h 308"/>
                <a:gd name="T24" fmla="*/ 281 w 281"/>
                <a:gd name="T25" fmla="*/ 61 h 308"/>
                <a:gd name="T26" fmla="*/ 274 w 281"/>
                <a:gd name="T27" fmla="*/ 51 h 308"/>
                <a:gd name="T28" fmla="*/ 270 w 281"/>
                <a:gd name="T29" fmla="*/ 33 h 308"/>
                <a:gd name="T30" fmla="*/ 266 w 281"/>
                <a:gd name="T31" fmla="*/ 16 h 308"/>
                <a:gd name="T32" fmla="*/ 257 w 281"/>
                <a:gd name="T33" fmla="*/ 22 h 308"/>
                <a:gd name="T34" fmla="*/ 239 w 281"/>
                <a:gd name="T35" fmla="*/ 11 h 308"/>
                <a:gd name="T36" fmla="*/ 228 w 281"/>
                <a:gd name="T37" fmla="*/ 9 h 308"/>
                <a:gd name="T38" fmla="*/ 222 w 281"/>
                <a:gd name="T39" fmla="*/ 14 h 308"/>
                <a:gd name="T40" fmla="*/ 189 w 281"/>
                <a:gd name="T41" fmla="*/ 0 h 308"/>
                <a:gd name="T42" fmla="*/ 167 w 281"/>
                <a:gd name="T43" fmla="*/ 14 h 308"/>
                <a:gd name="T44" fmla="*/ 161 w 281"/>
                <a:gd name="T45" fmla="*/ 27 h 308"/>
                <a:gd name="T46" fmla="*/ 170 w 281"/>
                <a:gd name="T47" fmla="*/ 29 h 308"/>
                <a:gd name="T48" fmla="*/ 185 w 281"/>
                <a:gd name="T49" fmla="*/ 27 h 308"/>
                <a:gd name="T50" fmla="*/ 187 w 281"/>
                <a:gd name="T51" fmla="*/ 38 h 308"/>
                <a:gd name="T52" fmla="*/ 167 w 281"/>
                <a:gd name="T53" fmla="*/ 57 h 308"/>
                <a:gd name="T54" fmla="*/ 150 w 281"/>
                <a:gd name="T55" fmla="*/ 66 h 308"/>
                <a:gd name="T56" fmla="*/ 126 w 281"/>
                <a:gd name="T57" fmla="*/ 70 h 308"/>
                <a:gd name="T58" fmla="*/ 108 w 281"/>
                <a:gd name="T59" fmla="*/ 85 h 308"/>
                <a:gd name="T60" fmla="*/ 98 w 281"/>
                <a:gd name="T61" fmla="*/ 85 h 308"/>
                <a:gd name="T62" fmla="*/ 95 w 281"/>
                <a:gd name="T63" fmla="*/ 74 h 308"/>
                <a:gd name="T64" fmla="*/ 78 w 281"/>
                <a:gd name="T65" fmla="*/ 68 h 308"/>
                <a:gd name="T66" fmla="*/ 67 w 281"/>
                <a:gd name="T67" fmla="*/ 31 h 308"/>
                <a:gd name="T68" fmla="*/ 59 w 281"/>
                <a:gd name="T69" fmla="*/ 9 h 308"/>
                <a:gd name="T70" fmla="*/ 47 w 281"/>
                <a:gd name="T71" fmla="*/ 7 h 308"/>
                <a:gd name="T72" fmla="*/ 32 w 281"/>
                <a:gd name="T73" fmla="*/ 9 h 308"/>
                <a:gd name="T74" fmla="*/ 8 w 281"/>
                <a:gd name="T75" fmla="*/ 7 h 308"/>
                <a:gd name="T76" fmla="*/ 2 w 281"/>
                <a:gd name="T77" fmla="*/ 18 h 308"/>
                <a:gd name="T78" fmla="*/ 21 w 281"/>
                <a:gd name="T79" fmla="*/ 40 h 308"/>
                <a:gd name="T80" fmla="*/ 56 w 281"/>
                <a:gd name="T81" fmla="*/ 55 h 308"/>
                <a:gd name="T82" fmla="*/ 74 w 281"/>
                <a:gd name="T83" fmla="*/ 101 h 308"/>
                <a:gd name="T84" fmla="*/ 78 w 281"/>
                <a:gd name="T85" fmla="*/ 144 h 308"/>
                <a:gd name="T86" fmla="*/ 96 w 281"/>
                <a:gd name="T87" fmla="*/ 188 h 308"/>
                <a:gd name="T88" fmla="*/ 109 w 281"/>
                <a:gd name="T89" fmla="*/ 223 h 308"/>
                <a:gd name="T90" fmla="*/ 104 w 281"/>
                <a:gd name="T91" fmla="*/ 242 h 308"/>
                <a:gd name="T92" fmla="*/ 113 w 281"/>
                <a:gd name="T93" fmla="*/ 255 h 308"/>
                <a:gd name="T94" fmla="*/ 135 w 281"/>
                <a:gd name="T95" fmla="*/ 290 h 30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81"/>
                <a:gd name="T145" fmla="*/ 0 h 308"/>
                <a:gd name="T146" fmla="*/ 281 w 281"/>
                <a:gd name="T147" fmla="*/ 308 h 30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81" h="308">
                  <a:moveTo>
                    <a:pt x="137" y="308"/>
                  </a:moveTo>
                  <a:lnTo>
                    <a:pt x="156" y="303"/>
                  </a:lnTo>
                  <a:lnTo>
                    <a:pt x="174" y="297"/>
                  </a:lnTo>
                  <a:lnTo>
                    <a:pt x="193" y="290"/>
                  </a:lnTo>
                  <a:lnTo>
                    <a:pt x="205" y="286"/>
                  </a:lnTo>
                  <a:lnTo>
                    <a:pt x="209" y="288"/>
                  </a:lnTo>
                  <a:lnTo>
                    <a:pt x="215" y="290"/>
                  </a:lnTo>
                  <a:lnTo>
                    <a:pt x="211" y="279"/>
                  </a:lnTo>
                  <a:lnTo>
                    <a:pt x="209" y="266"/>
                  </a:lnTo>
                  <a:lnTo>
                    <a:pt x="204" y="260"/>
                  </a:lnTo>
                  <a:lnTo>
                    <a:pt x="196" y="255"/>
                  </a:lnTo>
                  <a:lnTo>
                    <a:pt x="193" y="253"/>
                  </a:lnTo>
                  <a:lnTo>
                    <a:pt x="191" y="249"/>
                  </a:lnTo>
                  <a:lnTo>
                    <a:pt x="189" y="245"/>
                  </a:lnTo>
                  <a:lnTo>
                    <a:pt x="191" y="242"/>
                  </a:lnTo>
                  <a:lnTo>
                    <a:pt x="205" y="234"/>
                  </a:lnTo>
                  <a:lnTo>
                    <a:pt x="218" y="227"/>
                  </a:lnTo>
                  <a:lnTo>
                    <a:pt x="213" y="223"/>
                  </a:lnTo>
                  <a:lnTo>
                    <a:pt x="207" y="218"/>
                  </a:lnTo>
                  <a:lnTo>
                    <a:pt x="211" y="212"/>
                  </a:lnTo>
                  <a:lnTo>
                    <a:pt x="213" y="208"/>
                  </a:lnTo>
                  <a:lnTo>
                    <a:pt x="209" y="195"/>
                  </a:lnTo>
                  <a:lnTo>
                    <a:pt x="205" y="186"/>
                  </a:lnTo>
                  <a:lnTo>
                    <a:pt x="213" y="188"/>
                  </a:lnTo>
                  <a:lnTo>
                    <a:pt x="218" y="192"/>
                  </a:lnTo>
                  <a:lnTo>
                    <a:pt x="224" y="197"/>
                  </a:lnTo>
                  <a:lnTo>
                    <a:pt x="231" y="203"/>
                  </a:lnTo>
                  <a:lnTo>
                    <a:pt x="246" y="203"/>
                  </a:lnTo>
                  <a:lnTo>
                    <a:pt x="257" y="203"/>
                  </a:lnTo>
                  <a:lnTo>
                    <a:pt x="259" y="199"/>
                  </a:lnTo>
                  <a:lnTo>
                    <a:pt x="261" y="192"/>
                  </a:lnTo>
                  <a:lnTo>
                    <a:pt x="263" y="184"/>
                  </a:lnTo>
                  <a:lnTo>
                    <a:pt x="263" y="173"/>
                  </a:lnTo>
                  <a:lnTo>
                    <a:pt x="261" y="151"/>
                  </a:lnTo>
                  <a:lnTo>
                    <a:pt x="263" y="133"/>
                  </a:lnTo>
                  <a:lnTo>
                    <a:pt x="259" y="110"/>
                  </a:lnTo>
                  <a:lnTo>
                    <a:pt x="259" y="90"/>
                  </a:lnTo>
                  <a:lnTo>
                    <a:pt x="270" y="72"/>
                  </a:lnTo>
                  <a:lnTo>
                    <a:pt x="281" y="61"/>
                  </a:lnTo>
                  <a:lnTo>
                    <a:pt x="281" y="55"/>
                  </a:lnTo>
                  <a:lnTo>
                    <a:pt x="277" y="53"/>
                  </a:lnTo>
                  <a:lnTo>
                    <a:pt x="274" y="51"/>
                  </a:lnTo>
                  <a:lnTo>
                    <a:pt x="270" y="51"/>
                  </a:lnTo>
                  <a:lnTo>
                    <a:pt x="270" y="40"/>
                  </a:lnTo>
                  <a:lnTo>
                    <a:pt x="270" y="33"/>
                  </a:lnTo>
                  <a:lnTo>
                    <a:pt x="270" y="24"/>
                  </a:lnTo>
                  <a:lnTo>
                    <a:pt x="266" y="16"/>
                  </a:lnTo>
                  <a:lnTo>
                    <a:pt x="263" y="20"/>
                  </a:lnTo>
                  <a:lnTo>
                    <a:pt x="257" y="22"/>
                  </a:lnTo>
                  <a:lnTo>
                    <a:pt x="253" y="24"/>
                  </a:lnTo>
                  <a:lnTo>
                    <a:pt x="246" y="22"/>
                  </a:lnTo>
                  <a:lnTo>
                    <a:pt x="239" y="11"/>
                  </a:lnTo>
                  <a:lnTo>
                    <a:pt x="231" y="1"/>
                  </a:lnTo>
                  <a:lnTo>
                    <a:pt x="229" y="3"/>
                  </a:lnTo>
                  <a:lnTo>
                    <a:pt x="228" y="9"/>
                  </a:lnTo>
                  <a:lnTo>
                    <a:pt x="226" y="13"/>
                  </a:lnTo>
                  <a:lnTo>
                    <a:pt x="224" y="14"/>
                  </a:lnTo>
                  <a:lnTo>
                    <a:pt x="222" y="14"/>
                  </a:lnTo>
                  <a:lnTo>
                    <a:pt x="218" y="14"/>
                  </a:lnTo>
                  <a:lnTo>
                    <a:pt x="205" y="7"/>
                  </a:lnTo>
                  <a:lnTo>
                    <a:pt x="189" y="0"/>
                  </a:lnTo>
                  <a:lnTo>
                    <a:pt x="180" y="1"/>
                  </a:lnTo>
                  <a:lnTo>
                    <a:pt x="172" y="7"/>
                  </a:lnTo>
                  <a:lnTo>
                    <a:pt x="167" y="14"/>
                  </a:lnTo>
                  <a:lnTo>
                    <a:pt x="165" y="16"/>
                  </a:lnTo>
                  <a:lnTo>
                    <a:pt x="163" y="20"/>
                  </a:lnTo>
                  <a:lnTo>
                    <a:pt x="161" y="27"/>
                  </a:lnTo>
                  <a:lnTo>
                    <a:pt x="165" y="29"/>
                  </a:lnTo>
                  <a:lnTo>
                    <a:pt x="168" y="29"/>
                  </a:lnTo>
                  <a:lnTo>
                    <a:pt x="170" y="29"/>
                  </a:lnTo>
                  <a:lnTo>
                    <a:pt x="174" y="29"/>
                  </a:lnTo>
                  <a:lnTo>
                    <a:pt x="180" y="27"/>
                  </a:lnTo>
                  <a:lnTo>
                    <a:pt x="185" y="27"/>
                  </a:lnTo>
                  <a:lnTo>
                    <a:pt x="187" y="31"/>
                  </a:lnTo>
                  <a:lnTo>
                    <a:pt x="187" y="35"/>
                  </a:lnTo>
                  <a:lnTo>
                    <a:pt x="187" y="38"/>
                  </a:lnTo>
                  <a:lnTo>
                    <a:pt x="183" y="42"/>
                  </a:lnTo>
                  <a:lnTo>
                    <a:pt x="176" y="50"/>
                  </a:lnTo>
                  <a:lnTo>
                    <a:pt x="167" y="57"/>
                  </a:lnTo>
                  <a:lnTo>
                    <a:pt x="161" y="62"/>
                  </a:lnTo>
                  <a:lnTo>
                    <a:pt x="156" y="6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35" y="68"/>
                  </a:lnTo>
                  <a:lnTo>
                    <a:pt x="126" y="70"/>
                  </a:lnTo>
                  <a:lnTo>
                    <a:pt x="120" y="75"/>
                  </a:lnTo>
                  <a:lnTo>
                    <a:pt x="113" y="81"/>
                  </a:lnTo>
                  <a:lnTo>
                    <a:pt x="108" y="85"/>
                  </a:lnTo>
                  <a:lnTo>
                    <a:pt x="104" y="86"/>
                  </a:lnTo>
                  <a:lnTo>
                    <a:pt x="102" y="86"/>
                  </a:lnTo>
                  <a:lnTo>
                    <a:pt x="98" y="85"/>
                  </a:lnTo>
                  <a:lnTo>
                    <a:pt x="100" y="79"/>
                  </a:lnTo>
                  <a:lnTo>
                    <a:pt x="100" y="72"/>
                  </a:lnTo>
                  <a:lnTo>
                    <a:pt x="95" y="74"/>
                  </a:lnTo>
                  <a:lnTo>
                    <a:pt x="87" y="74"/>
                  </a:lnTo>
                  <a:lnTo>
                    <a:pt x="82" y="72"/>
                  </a:lnTo>
                  <a:lnTo>
                    <a:pt x="78" y="68"/>
                  </a:lnTo>
                  <a:lnTo>
                    <a:pt x="76" y="51"/>
                  </a:lnTo>
                  <a:lnTo>
                    <a:pt x="74" y="35"/>
                  </a:lnTo>
                  <a:lnTo>
                    <a:pt x="67" y="31"/>
                  </a:lnTo>
                  <a:lnTo>
                    <a:pt x="61" y="25"/>
                  </a:lnTo>
                  <a:lnTo>
                    <a:pt x="59" y="16"/>
                  </a:lnTo>
                  <a:lnTo>
                    <a:pt x="59" y="9"/>
                  </a:lnTo>
                  <a:lnTo>
                    <a:pt x="54" y="5"/>
                  </a:lnTo>
                  <a:lnTo>
                    <a:pt x="48" y="3"/>
                  </a:lnTo>
                  <a:lnTo>
                    <a:pt x="47" y="7"/>
                  </a:lnTo>
                  <a:lnTo>
                    <a:pt x="41" y="9"/>
                  </a:lnTo>
                  <a:lnTo>
                    <a:pt x="37" y="11"/>
                  </a:lnTo>
                  <a:lnTo>
                    <a:pt x="32" y="9"/>
                  </a:lnTo>
                  <a:lnTo>
                    <a:pt x="24" y="9"/>
                  </a:lnTo>
                  <a:lnTo>
                    <a:pt x="17" y="9"/>
                  </a:lnTo>
                  <a:lnTo>
                    <a:pt x="8" y="7"/>
                  </a:lnTo>
                  <a:lnTo>
                    <a:pt x="0" y="5"/>
                  </a:lnTo>
                  <a:lnTo>
                    <a:pt x="0" y="11"/>
                  </a:lnTo>
                  <a:lnTo>
                    <a:pt x="2" y="18"/>
                  </a:lnTo>
                  <a:lnTo>
                    <a:pt x="10" y="25"/>
                  </a:lnTo>
                  <a:lnTo>
                    <a:pt x="19" y="33"/>
                  </a:lnTo>
                  <a:lnTo>
                    <a:pt x="21" y="40"/>
                  </a:lnTo>
                  <a:lnTo>
                    <a:pt x="23" y="46"/>
                  </a:lnTo>
                  <a:lnTo>
                    <a:pt x="39" y="51"/>
                  </a:lnTo>
                  <a:lnTo>
                    <a:pt x="56" y="55"/>
                  </a:lnTo>
                  <a:lnTo>
                    <a:pt x="63" y="70"/>
                  </a:lnTo>
                  <a:lnTo>
                    <a:pt x="71" y="85"/>
                  </a:lnTo>
                  <a:lnTo>
                    <a:pt x="74" y="101"/>
                  </a:lnTo>
                  <a:lnTo>
                    <a:pt x="78" y="116"/>
                  </a:lnTo>
                  <a:lnTo>
                    <a:pt x="78" y="131"/>
                  </a:lnTo>
                  <a:lnTo>
                    <a:pt x="78" y="144"/>
                  </a:lnTo>
                  <a:lnTo>
                    <a:pt x="80" y="159"/>
                  </a:lnTo>
                  <a:lnTo>
                    <a:pt x="84" y="171"/>
                  </a:lnTo>
                  <a:lnTo>
                    <a:pt x="96" y="188"/>
                  </a:lnTo>
                  <a:lnTo>
                    <a:pt x="106" y="207"/>
                  </a:lnTo>
                  <a:lnTo>
                    <a:pt x="109" y="214"/>
                  </a:lnTo>
                  <a:lnTo>
                    <a:pt x="109" y="223"/>
                  </a:lnTo>
                  <a:lnTo>
                    <a:pt x="109" y="231"/>
                  </a:lnTo>
                  <a:lnTo>
                    <a:pt x="106" y="238"/>
                  </a:lnTo>
                  <a:lnTo>
                    <a:pt x="104" y="242"/>
                  </a:lnTo>
                  <a:lnTo>
                    <a:pt x="100" y="244"/>
                  </a:lnTo>
                  <a:lnTo>
                    <a:pt x="113" y="255"/>
                  </a:lnTo>
                  <a:lnTo>
                    <a:pt x="124" y="271"/>
                  </a:lnTo>
                  <a:lnTo>
                    <a:pt x="130" y="280"/>
                  </a:lnTo>
                  <a:lnTo>
                    <a:pt x="135" y="290"/>
                  </a:lnTo>
                  <a:lnTo>
                    <a:pt x="137" y="299"/>
                  </a:lnTo>
                  <a:lnTo>
                    <a:pt x="137" y="30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7" name="Freeform 63"/>
            <p:cNvSpPr>
              <a:spLocks/>
            </p:cNvSpPr>
            <p:nvPr/>
          </p:nvSpPr>
          <p:spPr bwMode="auto">
            <a:xfrm>
              <a:off x="3593724" y="2477249"/>
              <a:ext cx="111663" cy="157251"/>
            </a:xfrm>
            <a:custGeom>
              <a:avLst/>
              <a:gdLst>
                <a:gd name="T0" fmla="*/ 205 w 214"/>
                <a:gd name="T1" fmla="*/ 263 h 309"/>
                <a:gd name="T2" fmla="*/ 211 w 214"/>
                <a:gd name="T3" fmla="*/ 257 h 309"/>
                <a:gd name="T4" fmla="*/ 214 w 214"/>
                <a:gd name="T5" fmla="*/ 242 h 309"/>
                <a:gd name="T6" fmla="*/ 211 w 214"/>
                <a:gd name="T7" fmla="*/ 226 h 309"/>
                <a:gd name="T8" fmla="*/ 189 w 214"/>
                <a:gd name="T9" fmla="*/ 190 h 309"/>
                <a:gd name="T10" fmla="*/ 183 w 214"/>
                <a:gd name="T11" fmla="*/ 163 h 309"/>
                <a:gd name="T12" fmla="*/ 183 w 214"/>
                <a:gd name="T13" fmla="*/ 135 h 309"/>
                <a:gd name="T14" fmla="*/ 176 w 214"/>
                <a:gd name="T15" fmla="*/ 104 h 309"/>
                <a:gd name="T16" fmla="*/ 161 w 214"/>
                <a:gd name="T17" fmla="*/ 74 h 309"/>
                <a:gd name="T18" fmla="*/ 128 w 214"/>
                <a:gd name="T19" fmla="*/ 65 h 309"/>
                <a:gd name="T20" fmla="*/ 124 w 214"/>
                <a:gd name="T21" fmla="*/ 52 h 309"/>
                <a:gd name="T22" fmla="*/ 107 w 214"/>
                <a:gd name="T23" fmla="*/ 37 h 309"/>
                <a:gd name="T24" fmla="*/ 105 w 214"/>
                <a:gd name="T25" fmla="*/ 24 h 309"/>
                <a:gd name="T26" fmla="*/ 91 w 214"/>
                <a:gd name="T27" fmla="*/ 15 h 309"/>
                <a:gd name="T28" fmla="*/ 83 w 214"/>
                <a:gd name="T29" fmla="*/ 4 h 309"/>
                <a:gd name="T30" fmla="*/ 78 w 214"/>
                <a:gd name="T31" fmla="*/ 6 h 309"/>
                <a:gd name="T32" fmla="*/ 76 w 214"/>
                <a:gd name="T33" fmla="*/ 9 h 309"/>
                <a:gd name="T34" fmla="*/ 74 w 214"/>
                <a:gd name="T35" fmla="*/ 15 h 309"/>
                <a:gd name="T36" fmla="*/ 52 w 214"/>
                <a:gd name="T37" fmla="*/ 0 h 309"/>
                <a:gd name="T38" fmla="*/ 44 w 214"/>
                <a:gd name="T39" fmla="*/ 9 h 309"/>
                <a:gd name="T40" fmla="*/ 43 w 214"/>
                <a:gd name="T41" fmla="*/ 19 h 309"/>
                <a:gd name="T42" fmla="*/ 46 w 214"/>
                <a:gd name="T43" fmla="*/ 43 h 309"/>
                <a:gd name="T44" fmla="*/ 31 w 214"/>
                <a:gd name="T45" fmla="*/ 65 h 309"/>
                <a:gd name="T46" fmla="*/ 26 w 214"/>
                <a:gd name="T47" fmla="*/ 81 h 309"/>
                <a:gd name="T48" fmla="*/ 13 w 214"/>
                <a:gd name="T49" fmla="*/ 81 h 309"/>
                <a:gd name="T50" fmla="*/ 0 w 214"/>
                <a:gd name="T51" fmla="*/ 105 h 309"/>
                <a:gd name="T52" fmla="*/ 17 w 214"/>
                <a:gd name="T53" fmla="*/ 133 h 309"/>
                <a:gd name="T54" fmla="*/ 24 w 214"/>
                <a:gd name="T55" fmla="*/ 159 h 309"/>
                <a:gd name="T56" fmla="*/ 15 w 214"/>
                <a:gd name="T57" fmla="*/ 165 h 309"/>
                <a:gd name="T58" fmla="*/ 11 w 214"/>
                <a:gd name="T59" fmla="*/ 178 h 309"/>
                <a:gd name="T60" fmla="*/ 11 w 214"/>
                <a:gd name="T61" fmla="*/ 190 h 309"/>
                <a:gd name="T62" fmla="*/ 28 w 214"/>
                <a:gd name="T63" fmla="*/ 192 h 309"/>
                <a:gd name="T64" fmla="*/ 35 w 214"/>
                <a:gd name="T65" fmla="*/ 229 h 309"/>
                <a:gd name="T66" fmla="*/ 46 w 214"/>
                <a:gd name="T67" fmla="*/ 237 h 309"/>
                <a:gd name="T68" fmla="*/ 56 w 214"/>
                <a:gd name="T69" fmla="*/ 240 h 309"/>
                <a:gd name="T70" fmla="*/ 72 w 214"/>
                <a:gd name="T71" fmla="*/ 242 h 309"/>
                <a:gd name="T72" fmla="*/ 80 w 214"/>
                <a:gd name="T73" fmla="*/ 251 h 309"/>
                <a:gd name="T74" fmla="*/ 94 w 214"/>
                <a:gd name="T75" fmla="*/ 283 h 309"/>
                <a:gd name="T76" fmla="*/ 113 w 214"/>
                <a:gd name="T77" fmla="*/ 292 h 309"/>
                <a:gd name="T78" fmla="*/ 120 w 214"/>
                <a:gd name="T79" fmla="*/ 307 h 309"/>
                <a:gd name="T80" fmla="*/ 131 w 214"/>
                <a:gd name="T81" fmla="*/ 309 h 309"/>
                <a:gd name="T82" fmla="*/ 131 w 214"/>
                <a:gd name="T83" fmla="*/ 309 h 309"/>
                <a:gd name="T84" fmla="*/ 131 w 214"/>
                <a:gd name="T85" fmla="*/ 309 h 309"/>
                <a:gd name="T86" fmla="*/ 146 w 214"/>
                <a:gd name="T87" fmla="*/ 303 h 309"/>
                <a:gd name="T88" fmla="*/ 142 w 214"/>
                <a:gd name="T89" fmla="*/ 292 h 309"/>
                <a:gd name="T90" fmla="*/ 133 w 214"/>
                <a:gd name="T91" fmla="*/ 287 h 309"/>
                <a:gd name="T92" fmla="*/ 124 w 214"/>
                <a:gd name="T93" fmla="*/ 283 h 309"/>
                <a:gd name="T94" fmla="*/ 122 w 214"/>
                <a:gd name="T95" fmla="*/ 277 h 309"/>
                <a:gd name="T96" fmla="*/ 159 w 214"/>
                <a:gd name="T97" fmla="*/ 283 h 309"/>
                <a:gd name="T98" fmla="*/ 155 w 214"/>
                <a:gd name="T99" fmla="*/ 274 h 309"/>
                <a:gd name="T100" fmla="*/ 153 w 214"/>
                <a:gd name="T101" fmla="*/ 266 h 309"/>
                <a:gd name="T102" fmla="*/ 157 w 214"/>
                <a:gd name="T103" fmla="*/ 259 h 309"/>
                <a:gd name="T104" fmla="*/ 205 w 214"/>
                <a:gd name="T105" fmla="*/ 263 h 30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4"/>
                <a:gd name="T160" fmla="*/ 0 h 309"/>
                <a:gd name="T161" fmla="*/ 214 w 214"/>
                <a:gd name="T162" fmla="*/ 309 h 30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4" h="309">
                  <a:moveTo>
                    <a:pt x="205" y="263"/>
                  </a:moveTo>
                  <a:lnTo>
                    <a:pt x="205" y="263"/>
                  </a:lnTo>
                  <a:lnTo>
                    <a:pt x="209" y="261"/>
                  </a:lnTo>
                  <a:lnTo>
                    <a:pt x="211" y="257"/>
                  </a:lnTo>
                  <a:lnTo>
                    <a:pt x="214" y="250"/>
                  </a:lnTo>
                  <a:lnTo>
                    <a:pt x="214" y="242"/>
                  </a:lnTo>
                  <a:lnTo>
                    <a:pt x="214" y="233"/>
                  </a:lnTo>
                  <a:lnTo>
                    <a:pt x="211" y="226"/>
                  </a:lnTo>
                  <a:lnTo>
                    <a:pt x="201" y="207"/>
                  </a:lnTo>
                  <a:lnTo>
                    <a:pt x="189" y="190"/>
                  </a:lnTo>
                  <a:lnTo>
                    <a:pt x="185" y="178"/>
                  </a:lnTo>
                  <a:lnTo>
                    <a:pt x="183" y="163"/>
                  </a:lnTo>
                  <a:lnTo>
                    <a:pt x="183" y="150"/>
                  </a:lnTo>
                  <a:lnTo>
                    <a:pt x="183" y="135"/>
                  </a:lnTo>
                  <a:lnTo>
                    <a:pt x="179" y="120"/>
                  </a:lnTo>
                  <a:lnTo>
                    <a:pt x="176" y="104"/>
                  </a:lnTo>
                  <a:lnTo>
                    <a:pt x="168" y="89"/>
                  </a:lnTo>
                  <a:lnTo>
                    <a:pt x="161" y="74"/>
                  </a:lnTo>
                  <a:lnTo>
                    <a:pt x="144" y="70"/>
                  </a:lnTo>
                  <a:lnTo>
                    <a:pt x="128" y="65"/>
                  </a:lnTo>
                  <a:lnTo>
                    <a:pt x="126" y="59"/>
                  </a:lnTo>
                  <a:lnTo>
                    <a:pt x="124" y="52"/>
                  </a:lnTo>
                  <a:lnTo>
                    <a:pt x="115" y="44"/>
                  </a:lnTo>
                  <a:lnTo>
                    <a:pt x="107" y="37"/>
                  </a:lnTo>
                  <a:lnTo>
                    <a:pt x="105" y="30"/>
                  </a:lnTo>
                  <a:lnTo>
                    <a:pt x="105" y="24"/>
                  </a:lnTo>
                  <a:lnTo>
                    <a:pt x="98" y="20"/>
                  </a:lnTo>
                  <a:lnTo>
                    <a:pt x="91" y="15"/>
                  </a:lnTo>
                  <a:lnTo>
                    <a:pt x="87" y="9"/>
                  </a:lnTo>
                  <a:lnTo>
                    <a:pt x="83" y="4"/>
                  </a:lnTo>
                  <a:lnTo>
                    <a:pt x="80" y="4"/>
                  </a:lnTo>
                  <a:lnTo>
                    <a:pt x="78" y="6"/>
                  </a:lnTo>
                  <a:lnTo>
                    <a:pt x="76" y="8"/>
                  </a:lnTo>
                  <a:lnTo>
                    <a:pt x="76" y="9"/>
                  </a:lnTo>
                  <a:lnTo>
                    <a:pt x="76" y="13"/>
                  </a:lnTo>
                  <a:lnTo>
                    <a:pt x="74" y="15"/>
                  </a:lnTo>
                  <a:lnTo>
                    <a:pt x="63" y="8"/>
                  </a:lnTo>
                  <a:lnTo>
                    <a:pt x="52" y="0"/>
                  </a:lnTo>
                  <a:lnTo>
                    <a:pt x="46" y="4"/>
                  </a:lnTo>
                  <a:lnTo>
                    <a:pt x="44" y="9"/>
                  </a:lnTo>
                  <a:lnTo>
                    <a:pt x="43" y="13"/>
                  </a:lnTo>
                  <a:lnTo>
                    <a:pt x="43" y="19"/>
                  </a:lnTo>
                  <a:lnTo>
                    <a:pt x="44" y="30"/>
                  </a:lnTo>
                  <a:lnTo>
                    <a:pt x="46" y="43"/>
                  </a:lnTo>
                  <a:lnTo>
                    <a:pt x="39" y="54"/>
                  </a:lnTo>
                  <a:lnTo>
                    <a:pt x="31" y="65"/>
                  </a:lnTo>
                  <a:lnTo>
                    <a:pt x="30" y="74"/>
                  </a:lnTo>
                  <a:lnTo>
                    <a:pt x="26" y="81"/>
                  </a:lnTo>
                  <a:lnTo>
                    <a:pt x="19" y="81"/>
                  </a:lnTo>
                  <a:lnTo>
                    <a:pt x="13" y="81"/>
                  </a:lnTo>
                  <a:lnTo>
                    <a:pt x="6" y="93"/>
                  </a:lnTo>
                  <a:lnTo>
                    <a:pt x="0" y="105"/>
                  </a:lnTo>
                  <a:lnTo>
                    <a:pt x="17" y="133"/>
                  </a:lnTo>
                  <a:lnTo>
                    <a:pt x="31" y="155"/>
                  </a:lnTo>
                  <a:lnTo>
                    <a:pt x="24" y="159"/>
                  </a:lnTo>
                  <a:lnTo>
                    <a:pt x="19" y="161"/>
                  </a:lnTo>
                  <a:lnTo>
                    <a:pt x="15" y="165"/>
                  </a:lnTo>
                  <a:lnTo>
                    <a:pt x="13" y="168"/>
                  </a:lnTo>
                  <a:lnTo>
                    <a:pt x="11" y="178"/>
                  </a:lnTo>
                  <a:lnTo>
                    <a:pt x="11" y="190"/>
                  </a:lnTo>
                  <a:lnTo>
                    <a:pt x="19" y="190"/>
                  </a:lnTo>
                  <a:lnTo>
                    <a:pt x="28" y="192"/>
                  </a:lnTo>
                  <a:lnTo>
                    <a:pt x="30" y="211"/>
                  </a:lnTo>
                  <a:lnTo>
                    <a:pt x="35" y="229"/>
                  </a:lnTo>
                  <a:lnTo>
                    <a:pt x="41" y="235"/>
                  </a:lnTo>
                  <a:lnTo>
                    <a:pt x="46" y="237"/>
                  </a:lnTo>
                  <a:lnTo>
                    <a:pt x="50" y="239"/>
                  </a:lnTo>
                  <a:lnTo>
                    <a:pt x="56" y="240"/>
                  </a:lnTo>
                  <a:lnTo>
                    <a:pt x="65" y="240"/>
                  </a:lnTo>
                  <a:lnTo>
                    <a:pt x="72" y="242"/>
                  </a:lnTo>
                  <a:lnTo>
                    <a:pt x="78" y="246"/>
                  </a:lnTo>
                  <a:lnTo>
                    <a:pt x="80" y="251"/>
                  </a:lnTo>
                  <a:lnTo>
                    <a:pt x="87" y="266"/>
                  </a:lnTo>
                  <a:lnTo>
                    <a:pt x="94" y="283"/>
                  </a:lnTo>
                  <a:lnTo>
                    <a:pt x="104" y="287"/>
                  </a:lnTo>
                  <a:lnTo>
                    <a:pt x="113" y="292"/>
                  </a:lnTo>
                  <a:lnTo>
                    <a:pt x="118" y="299"/>
                  </a:lnTo>
                  <a:lnTo>
                    <a:pt x="120" y="307"/>
                  </a:lnTo>
                  <a:lnTo>
                    <a:pt x="126" y="309"/>
                  </a:lnTo>
                  <a:lnTo>
                    <a:pt x="131" y="309"/>
                  </a:lnTo>
                  <a:lnTo>
                    <a:pt x="139" y="307"/>
                  </a:lnTo>
                  <a:lnTo>
                    <a:pt x="146" y="303"/>
                  </a:lnTo>
                  <a:lnTo>
                    <a:pt x="144" y="298"/>
                  </a:lnTo>
                  <a:lnTo>
                    <a:pt x="142" y="292"/>
                  </a:lnTo>
                  <a:lnTo>
                    <a:pt x="137" y="288"/>
                  </a:lnTo>
                  <a:lnTo>
                    <a:pt x="133" y="287"/>
                  </a:lnTo>
                  <a:lnTo>
                    <a:pt x="128" y="285"/>
                  </a:lnTo>
                  <a:lnTo>
                    <a:pt x="124" y="283"/>
                  </a:lnTo>
                  <a:lnTo>
                    <a:pt x="122" y="281"/>
                  </a:lnTo>
                  <a:lnTo>
                    <a:pt x="122" y="277"/>
                  </a:lnTo>
                  <a:lnTo>
                    <a:pt x="140" y="279"/>
                  </a:lnTo>
                  <a:lnTo>
                    <a:pt x="159" y="283"/>
                  </a:lnTo>
                  <a:lnTo>
                    <a:pt x="161" y="279"/>
                  </a:lnTo>
                  <a:lnTo>
                    <a:pt x="155" y="274"/>
                  </a:lnTo>
                  <a:lnTo>
                    <a:pt x="153" y="270"/>
                  </a:lnTo>
                  <a:lnTo>
                    <a:pt x="153" y="266"/>
                  </a:lnTo>
                  <a:lnTo>
                    <a:pt x="153" y="263"/>
                  </a:lnTo>
                  <a:lnTo>
                    <a:pt x="157" y="259"/>
                  </a:lnTo>
                  <a:lnTo>
                    <a:pt x="177" y="263"/>
                  </a:lnTo>
                  <a:lnTo>
                    <a:pt x="205" y="26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8" name="Freeform 64"/>
            <p:cNvSpPr>
              <a:spLocks noEditPoints="1"/>
            </p:cNvSpPr>
            <p:nvPr/>
          </p:nvSpPr>
          <p:spPr bwMode="auto">
            <a:xfrm>
              <a:off x="6419750" y="2073689"/>
              <a:ext cx="224892" cy="319082"/>
            </a:xfrm>
            <a:custGeom>
              <a:avLst/>
              <a:gdLst>
                <a:gd name="T0" fmla="*/ 34 w 431"/>
                <a:gd name="T1" fmla="*/ 420 h 627"/>
                <a:gd name="T2" fmla="*/ 120 w 431"/>
                <a:gd name="T3" fmla="*/ 490 h 627"/>
                <a:gd name="T4" fmla="*/ 180 w 431"/>
                <a:gd name="T5" fmla="*/ 531 h 627"/>
                <a:gd name="T6" fmla="*/ 216 w 431"/>
                <a:gd name="T7" fmla="*/ 549 h 627"/>
                <a:gd name="T8" fmla="*/ 235 w 431"/>
                <a:gd name="T9" fmla="*/ 566 h 627"/>
                <a:gd name="T10" fmla="*/ 268 w 431"/>
                <a:gd name="T11" fmla="*/ 588 h 627"/>
                <a:gd name="T12" fmla="*/ 303 w 431"/>
                <a:gd name="T13" fmla="*/ 618 h 627"/>
                <a:gd name="T14" fmla="*/ 337 w 431"/>
                <a:gd name="T15" fmla="*/ 625 h 627"/>
                <a:gd name="T16" fmla="*/ 329 w 431"/>
                <a:gd name="T17" fmla="*/ 605 h 627"/>
                <a:gd name="T18" fmla="*/ 329 w 431"/>
                <a:gd name="T19" fmla="*/ 579 h 627"/>
                <a:gd name="T20" fmla="*/ 325 w 431"/>
                <a:gd name="T21" fmla="*/ 542 h 627"/>
                <a:gd name="T22" fmla="*/ 316 w 431"/>
                <a:gd name="T23" fmla="*/ 510 h 627"/>
                <a:gd name="T24" fmla="*/ 300 w 431"/>
                <a:gd name="T25" fmla="*/ 483 h 627"/>
                <a:gd name="T26" fmla="*/ 285 w 431"/>
                <a:gd name="T27" fmla="*/ 459 h 627"/>
                <a:gd name="T28" fmla="*/ 266 w 431"/>
                <a:gd name="T29" fmla="*/ 449 h 627"/>
                <a:gd name="T30" fmla="*/ 270 w 431"/>
                <a:gd name="T31" fmla="*/ 438 h 627"/>
                <a:gd name="T32" fmla="*/ 290 w 431"/>
                <a:gd name="T33" fmla="*/ 387 h 627"/>
                <a:gd name="T34" fmla="*/ 290 w 431"/>
                <a:gd name="T35" fmla="*/ 376 h 627"/>
                <a:gd name="T36" fmla="*/ 268 w 431"/>
                <a:gd name="T37" fmla="*/ 355 h 627"/>
                <a:gd name="T38" fmla="*/ 244 w 431"/>
                <a:gd name="T39" fmla="*/ 337 h 627"/>
                <a:gd name="T40" fmla="*/ 235 w 431"/>
                <a:gd name="T41" fmla="*/ 289 h 627"/>
                <a:gd name="T42" fmla="*/ 250 w 431"/>
                <a:gd name="T43" fmla="*/ 261 h 627"/>
                <a:gd name="T44" fmla="*/ 261 w 431"/>
                <a:gd name="T45" fmla="*/ 224 h 627"/>
                <a:gd name="T46" fmla="*/ 216 w 431"/>
                <a:gd name="T47" fmla="*/ 204 h 627"/>
                <a:gd name="T48" fmla="*/ 178 w 431"/>
                <a:gd name="T49" fmla="*/ 163 h 627"/>
                <a:gd name="T50" fmla="*/ 185 w 431"/>
                <a:gd name="T51" fmla="*/ 126 h 627"/>
                <a:gd name="T52" fmla="*/ 202 w 431"/>
                <a:gd name="T53" fmla="*/ 113 h 627"/>
                <a:gd name="T54" fmla="*/ 200 w 431"/>
                <a:gd name="T55" fmla="*/ 97 h 627"/>
                <a:gd name="T56" fmla="*/ 168 w 431"/>
                <a:gd name="T57" fmla="*/ 80 h 627"/>
                <a:gd name="T58" fmla="*/ 150 w 431"/>
                <a:gd name="T59" fmla="*/ 85 h 627"/>
                <a:gd name="T60" fmla="*/ 126 w 431"/>
                <a:gd name="T61" fmla="*/ 74 h 627"/>
                <a:gd name="T62" fmla="*/ 106 w 431"/>
                <a:gd name="T63" fmla="*/ 63 h 627"/>
                <a:gd name="T64" fmla="*/ 67 w 431"/>
                <a:gd name="T65" fmla="*/ 98 h 627"/>
                <a:gd name="T66" fmla="*/ 41 w 431"/>
                <a:gd name="T67" fmla="*/ 111 h 627"/>
                <a:gd name="T68" fmla="*/ 47 w 431"/>
                <a:gd name="T69" fmla="*/ 148 h 627"/>
                <a:gd name="T70" fmla="*/ 63 w 431"/>
                <a:gd name="T71" fmla="*/ 193 h 627"/>
                <a:gd name="T72" fmla="*/ 56 w 431"/>
                <a:gd name="T73" fmla="*/ 230 h 627"/>
                <a:gd name="T74" fmla="*/ 21 w 431"/>
                <a:gd name="T75" fmla="*/ 248 h 627"/>
                <a:gd name="T76" fmla="*/ 11 w 431"/>
                <a:gd name="T77" fmla="*/ 265 h 627"/>
                <a:gd name="T78" fmla="*/ 19 w 431"/>
                <a:gd name="T79" fmla="*/ 283 h 627"/>
                <a:gd name="T80" fmla="*/ 52 w 431"/>
                <a:gd name="T81" fmla="*/ 283 h 627"/>
                <a:gd name="T82" fmla="*/ 69 w 431"/>
                <a:gd name="T83" fmla="*/ 285 h 627"/>
                <a:gd name="T84" fmla="*/ 58 w 431"/>
                <a:gd name="T85" fmla="*/ 337 h 627"/>
                <a:gd name="T86" fmla="*/ 39 w 431"/>
                <a:gd name="T87" fmla="*/ 366 h 627"/>
                <a:gd name="T88" fmla="*/ 13 w 431"/>
                <a:gd name="T89" fmla="*/ 390 h 627"/>
                <a:gd name="T90" fmla="*/ 412 w 431"/>
                <a:gd name="T91" fmla="*/ 0 h 627"/>
                <a:gd name="T92" fmla="*/ 416 w 431"/>
                <a:gd name="T93" fmla="*/ 8 h 627"/>
                <a:gd name="T94" fmla="*/ 337 w 431"/>
                <a:gd name="T95" fmla="*/ 37 h 627"/>
                <a:gd name="T96" fmla="*/ 361 w 431"/>
                <a:gd name="T97" fmla="*/ 37 h 627"/>
                <a:gd name="T98" fmla="*/ 379 w 431"/>
                <a:gd name="T99" fmla="*/ 43 h 627"/>
                <a:gd name="T100" fmla="*/ 340 w 431"/>
                <a:gd name="T101" fmla="*/ 45 h 627"/>
                <a:gd name="T102" fmla="*/ 331 w 431"/>
                <a:gd name="T103" fmla="*/ 36 h 6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31"/>
                <a:gd name="T157" fmla="*/ 0 h 627"/>
                <a:gd name="T158" fmla="*/ 431 w 431"/>
                <a:gd name="T159" fmla="*/ 627 h 6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31" h="627">
                  <a:moveTo>
                    <a:pt x="0" y="394"/>
                  </a:moveTo>
                  <a:lnTo>
                    <a:pt x="8" y="400"/>
                  </a:lnTo>
                  <a:lnTo>
                    <a:pt x="19" y="407"/>
                  </a:lnTo>
                  <a:lnTo>
                    <a:pt x="34" y="420"/>
                  </a:lnTo>
                  <a:lnTo>
                    <a:pt x="52" y="442"/>
                  </a:lnTo>
                  <a:lnTo>
                    <a:pt x="76" y="457"/>
                  </a:lnTo>
                  <a:lnTo>
                    <a:pt x="100" y="470"/>
                  </a:lnTo>
                  <a:lnTo>
                    <a:pt x="120" y="490"/>
                  </a:lnTo>
                  <a:lnTo>
                    <a:pt x="137" y="503"/>
                  </a:lnTo>
                  <a:lnTo>
                    <a:pt x="152" y="514"/>
                  </a:lnTo>
                  <a:lnTo>
                    <a:pt x="168" y="522"/>
                  </a:lnTo>
                  <a:lnTo>
                    <a:pt x="180" y="531"/>
                  </a:lnTo>
                  <a:lnTo>
                    <a:pt x="191" y="538"/>
                  </a:lnTo>
                  <a:lnTo>
                    <a:pt x="198" y="544"/>
                  </a:lnTo>
                  <a:lnTo>
                    <a:pt x="205" y="546"/>
                  </a:lnTo>
                  <a:lnTo>
                    <a:pt x="216" y="549"/>
                  </a:lnTo>
                  <a:lnTo>
                    <a:pt x="220" y="549"/>
                  </a:lnTo>
                  <a:lnTo>
                    <a:pt x="226" y="557"/>
                  </a:lnTo>
                  <a:lnTo>
                    <a:pt x="229" y="562"/>
                  </a:lnTo>
                  <a:lnTo>
                    <a:pt x="235" y="566"/>
                  </a:lnTo>
                  <a:lnTo>
                    <a:pt x="239" y="568"/>
                  </a:lnTo>
                  <a:lnTo>
                    <a:pt x="248" y="571"/>
                  </a:lnTo>
                  <a:lnTo>
                    <a:pt x="257" y="577"/>
                  </a:lnTo>
                  <a:lnTo>
                    <a:pt x="268" y="588"/>
                  </a:lnTo>
                  <a:lnTo>
                    <a:pt x="277" y="601"/>
                  </a:lnTo>
                  <a:lnTo>
                    <a:pt x="283" y="608"/>
                  </a:lnTo>
                  <a:lnTo>
                    <a:pt x="290" y="612"/>
                  </a:lnTo>
                  <a:lnTo>
                    <a:pt x="303" y="618"/>
                  </a:lnTo>
                  <a:lnTo>
                    <a:pt x="318" y="621"/>
                  </a:lnTo>
                  <a:lnTo>
                    <a:pt x="327" y="625"/>
                  </a:lnTo>
                  <a:lnTo>
                    <a:pt x="335" y="627"/>
                  </a:lnTo>
                  <a:lnTo>
                    <a:pt x="337" y="625"/>
                  </a:lnTo>
                  <a:lnTo>
                    <a:pt x="337" y="621"/>
                  </a:lnTo>
                  <a:lnTo>
                    <a:pt x="335" y="618"/>
                  </a:lnTo>
                  <a:lnTo>
                    <a:pt x="333" y="614"/>
                  </a:lnTo>
                  <a:lnTo>
                    <a:pt x="329" y="605"/>
                  </a:lnTo>
                  <a:lnTo>
                    <a:pt x="327" y="599"/>
                  </a:lnTo>
                  <a:lnTo>
                    <a:pt x="329" y="590"/>
                  </a:lnTo>
                  <a:lnTo>
                    <a:pt x="331" y="584"/>
                  </a:lnTo>
                  <a:lnTo>
                    <a:pt x="329" y="579"/>
                  </a:lnTo>
                  <a:lnTo>
                    <a:pt x="322" y="568"/>
                  </a:lnTo>
                  <a:lnTo>
                    <a:pt x="327" y="555"/>
                  </a:lnTo>
                  <a:lnTo>
                    <a:pt x="327" y="549"/>
                  </a:lnTo>
                  <a:lnTo>
                    <a:pt x="325" y="542"/>
                  </a:lnTo>
                  <a:lnTo>
                    <a:pt x="320" y="531"/>
                  </a:lnTo>
                  <a:lnTo>
                    <a:pt x="322" y="522"/>
                  </a:lnTo>
                  <a:lnTo>
                    <a:pt x="322" y="516"/>
                  </a:lnTo>
                  <a:lnTo>
                    <a:pt x="316" y="510"/>
                  </a:lnTo>
                  <a:lnTo>
                    <a:pt x="309" y="503"/>
                  </a:lnTo>
                  <a:lnTo>
                    <a:pt x="307" y="494"/>
                  </a:lnTo>
                  <a:lnTo>
                    <a:pt x="303" y="488"/>
                  </a:lnTo>
                  <a:lnTo>
                    <a:pt x="300" y="483"/>
                  </a:lnTo>
                  <a:lnTo>
                    <a:pt x="296" y="477"/>
                  </a:lnTo>
                  <a:lnTo>
                    <a:pt x="287" y="470"/>
                  </a:lnTo>
                  <a:lnTo>
                    <a:pt x="283" y="464"/>
                  </a:lnTo>
                  <a:lnTo>
                    <a:pt x="285" y="459"/>
                  </a:lnTo>
                  <a:lnTo>
                    <a:pt x="285" y="453"/>
                  </a:lnTo>
                  <a:lnTo>
                    <a:pt x="285" y="449"/>
                  </a:lnTo>
                  <a:lnTo>
                    <a:pt x="281" y="449"/>
                  </a:lnTo>
                  <a:lnTo>
                    <a:pt x="266" y="449"/>
                  </a:lnTo>
                  <a:lnTo>
                    <a:pt x="261" y="449"/>
                  </a:lnTo>
                  <a:lnTo>
                    <a:pt x="259" y="444"/>
                  </a:lnTo>
                  <a:lnTo>
                    <a:pt x="261" y="440"/>
                  </a:lnTo>
                  <a:lnTo>
                    <a:pt x="270" y="438"/>
                  </a:lnTo>
                  <a:lnTo>
                    <a:pt x="276" y="433"/>
                  </a:lnTo>
                  <a:lnTo>
                    <a:pt x="279" y="411"/>
                  </a:lnTo>
                  <a:lnTo>
                    <a:pt x="287" y="388"/>
                  </a:lnTo>
                  <a:lnTo>
                    <a:pt x="290" y="387"/>
                  </a:lnTo>
                  <a:lnTo>
                    <a:pt x="296" y="387"/>
                  </a:lnTo>
                  <a:lnTo>
                    <a:pt x="298" y="383"/>
                  </a:lnTo>
                  <a:lnTo>
                    <a:pt x="301" y="379"/>
                  </a:lnTo>
                  <a:lnTo>
                    <a:pt x="290" y="376"/>
                  </a:lnTo>
                  <a:lnTo>
                    <a:pt x="279" y="370"/>
                  </a:lnTo>
                  <a:lnTo>
                    <a:pt x="276" y="363"/>
                  </a:lnTo>
                  <a:lnTo>
                    <a:pt x="272" y="359"/>
                  </a:lnTo>
                  <a:lnTo>
                    <a:pt x="268" y="355"/>
                  </a:lnTo>
                  <a:lnTo>
                    <a:pt x="265" y="353"/>
                  </a:lnTo>
                  <a:lnTo>
                    <a:pt x="255" y="352"/>
                  </a:lnTo>
                  <a:lnTo>
                    <a:pt x="250" y="348"/>
                  </a:lnTo>
                  <a:lnTo>
                    <a:pt x="244" y="337"/>
                  </a:lnTo>
                  <a:lnTo>
                    <a:pt x="242" y="326"/>
                  </a:lnTo>
                  <a:lnTo>
                    <a:pt x="240" y="313"/>
                  </a:lnTo>
                  <a:lnTo>
                    <a:pt x="240" y="302"/>
                  </a:lnTo>
                  <a:lnTo>
                    <a:pt x="235" y="289"/>
                  </a:lnTo>
                  <a:lnTo>
                    <a:pt x="235" y="278"/>
                  </a:lnTo>
                  <a:lnTo>
                    <a:pt x="237" y="272"/>
                  </a:lnTo>
                  <a:lnTo>
                    <a:pt x="240" y="268"/>
                  </a:lnTo>
                  <a:lnTo>
                    <a:pt x="250" y="261"/>
                  </a:lnTo>
                  <a:lnTo>
                    <a:pt x="261" y="252"/>
                  </a:lnTo>
                  <a:lnTo>
                    <a:pt x="263" y="244"/>
                  </a:lnTo>
                  <a:lnTo>
                    <a:pt x="263" y="233"/>
                  </a:lnTo>
                  <a:lnTo>
                    <a:pt x="261" y="224"/>
                  </a:lnTo>
                  <a:lnTo>
                    <a:pt x="255" y="218"/>
                  </a:lnTo>
                  <a:lnTo>
                    <a:pt x="242" y="213"/>
                  </a:lnTo>
                  <a:lnTo>
                    <a:pt x="226" y="207"/>
                  </a:lnTo>
                  <a:lnTo>
                    <a:pt x="216" y="204"/>
                  </a:lnTo>
                  <a:lnTo>
                    <a:pt x="207" y="200"/>
                  </a:lnTo>
                  <a:lnTo>
                    <a:pt x="196" y="191"/>
                  </a:lnTo>
                  <a:lnTo>
                    <a:pt x="187" y="180"/>
                  </a:lnTo>
                  <a:lnTo>
                    <a:pt x="178" y="163"/>
                  </a:lnTo>
                  <a:lnTo>
                    <a:pt x="172" y="148"/>
                  </a:lnTo>
                  <a:lnTo>
                    <a:pt x="170" y="135"/>
                  </a:lnTo>
                  <a:lnTo>
                    <a:pt x="172" y="126"/>
                  </a:lnTo>
                  <a:lnTo>
                    <a:pt x="185" y="126"/>
                  </a:lnTo>
                  <a:lnTo>
                    <a:pt x="194" y="122"/>
                  </a:lnTo>
                  <a:lnTo>
                    <a:pt x="198" y="121"/>
                  </a:lnTo>
                  <a:lnTo>
                    <a:pt x="200" y="119"/>
                  </a:lnTo>
                  <a:lnTo>
                    <a:pt x="202" y="113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2" y="100"/>
                  </a:lnTo>
                  <a:lnTo>
                    <a:pt x="200" y="97"/>
                  </a:lnTo>
                  <a:lnTo>
                    <a:pt x="194" y="95"/>
                  </a:lnTo>
                  <a:lnTo>
                    <a:pt x="185" y="89"/>
                  </a:lnTo>
                  <a:lnTo>
                    <a:pt x="174" y="84"/>
                  </a:lnTo>
                  <a:lnTo>
                    <a:pt x="168" y="80"/>
                  </a:lnTo>
                  <a:lnTo>
                    <a:pt x="163" y="78"/>
                  </a:lnTo>
                  <a:lnTo>
                    <a:pt x="159" y="78"/>
                  </a:lnTo>
                  <a:lnTo>
                    <a:pt x="156" y="80"/>
                  </a:lnTo>
                  <a:lnTo>
                    <a:pt x="150" y="85"/>
                  </a:lnTo>
                  <a:lnTo>
                    <a:pt x="144" y="89"/>
                  </a:lnTo>
                  <a:lnTo>
                    <a:pt x="139" y="82"/>
                  </a:lnTo>
                  <a:lnTo>
                    <a:pt x="135" y="76"/>
                  </a:lnTo>
                  <a:lnTo>
                    <a:pt x="126" y="74"/>
                  </a:lnTo>
                  <a:lnTo>
                    <a:pt x="117" y="72"/>
                  </a:lnTo>
                  <a:lnTo>
                    <a:pt x="111" y="71"/>
                  </a:lnTo>
                  <a:lnTo>
                    <a:pt x="107" y="69"/>
                  </a:lnTo>
                  <a:lnTo>
                    <a:pt x="106" y="63"/>
                  </a:lnTo>
                  <a:lnTo>
                    <a:pt x="104" y="58"/>
                  </a:lnTo>
                  <a:lnTo>
                    <a:pt x="83" y="84"/>
                  </a:lnTo>
                  <a:lnTo>
                    <a:pt x="76" y="93"/>
                  </a:lnTo>
                  <a:lnTo>
                    <a:pt x="67" y="98"/>
                  </a:lnTo>
                  <a:lnTo>
                    <a:pt x="54" y="104"/>
                  </a:lnTo>
                  <a:lnTo>
                    <a:pt x="48" y="106"/>
                  </a:lnTo>
                  <a:lnTo>
                    <a:pt x="45" y="108"/>
                  </a:lnTo>
                  <a:lnTo>
                    <a:pt x="41" y="111"/>
                  </a:lnTo>
                  <a:lnTo>
                    <a:pt x="39" y="115"/>
                  </a:lnTo>
                  <a:lnTo>
                    <a:pt x="39" y="126"/>
                  </a:lnTo>
                  <a:lnTo>
                    <a:pt x="43" y="137"/>
                  </a:lnTo>
                  <a:lnTo>
                    <a:pt x="47" y="148"/>
                  </a:lnTo>
                  <a:lnTo>
                    <a:pt x="54" y="159"/>
                  </a:lnTo>
                  <a:lnTo>
                    <a:pt x="58" y="172"/>
                  </a:lnTo>
                  <a:lnTo>
                    <a:pt x="63" y="185"/>
                  </a:lnTo>
                  <a:lnTo>
                    <a:pt x="63" y="193"/>
                  </a:lnTo>
                  <a:lnTo>
                    <a:pt x="63" y="202"/>
                  </a:lnTo>
                  <a:lnTo>
                    <a:pt x="63" y="211"/>
                  </a:lnTo>
                  <a:lnTo>
                    <a:pt x="61" y="220"/>
                  </a:lnTo>
                  <a:lnTo>
                    <a:pt x="56" y="230"/>
                  </a:lnTo>
                  <a:lnTo>
                    <a:pt x="48" y="235"/>
                  </a:lnTo>
                  <a:lnTo>
                    <a:pt x="39" y="239"/>
                  </a:lnTo>
                  <a:lnTo>
                    <a:pt x="30" y="242"/>
                  </a:lnTo>
                  <a:lnTo>
                    <a:pt x="21" y="248"/>
                  </a:lnTo>
                  <a:lnTo>
                    <a:pt x="15" y="254"/>
                  </a:lnTo>
                  <a:lnTo>
                    <a:pt x="13" y="255"/>
                  </a:lnTo>
                  <a:lnTo>
                    <a:pt x="11" y="259"/>
                  </a:lnTo>
                  <a:lnTo>
                    <a:pt x="11" y="265"/>
                  </a:lnTo>
                  <a:lnTo>
                    <a:pt x="11" y="270"/>
                  </a:lnTo>
                  <a:lnTo>
                    <a:pt x="13" y="276"/>
                  </a:lnTo>
                  <a:lnTo>
                    <a:pt x="15" y="279"/>
                  </a:lnTo>
                  <a:lnTo>
                    <a:pt x="19" y="283"/>
                  </a:lnTo>
                  <a:lnTo>
                    <a:pt x="23" y="285"/>
                  </a:lnTo>
                  <a:lnTo>
                    <a:pt x="32" y="285"/>
                  </a:lnTo>
                  <a:lnTo>
                    <a:pt x="43" y="285"/>
                  </a:lnTo>
                  <a:lnTo>
                    <a:pt x="52" y="283"/>
                  </a:lnTo>
                  <a:lnTo>
                    <a:pt x="61" y="283"/>
                  </a:lnTo>
                  <a:lnTo>
                    <a:pt x="65" y="283"/>
                  </a:lnTo>
                  <a:lnTo>
                    <a:pt x="67" y="283"/>
                  </a:lnTo>
                  <a:lnTo>
                    <a:pt x="69" y="285"/>
                  </a:lnTo>
                  <a:lnTo>
                    <a:pt x="69" y="289"/>
                  </a:lnTo>
                  <a:lnTo>
                    <a:pt x="67" y="311"/>
                  </a:lnTo>
                  <a:lnTo>
                    <a:pt x="65" y="333"/>
                  </a:lnTo>
                  <a:lnTo>
                    <a:pt x="58" y="337"/>
                  </a:lnTo>
                  <a:lnTo>
                    <a:pt x="52" y="342"/>
                  </a:lnTo>
                  <a:lnTo>
                    <a:pt x="47" y="350"/>
                  </a:lnTo>
                  <a:lnTo>
                    <a:pt x="43" y="357"/>
                  </a:lnTo>
                  <a:lnTo>
                    <a:pt x="39" y="366"/>
                  </a:lnTo>
                  <a:lnTo>
                    <a:pt x="34" y="374"/>
                  </a:lnTo>
                  <a:lnTo>
                    <a:pt x="30" y="379"/>
                  </a:lnTo>
                  <a:lnTo>
                    <a:pt x="24" y="383"/>
                  </a:lnTo>
                  <a:lnTo>
                    <a:pt x="13" y="390"/>
                  </a:lnTo>
                  <a:lnTo>
                    <a:pt x="0" y="394"/>
                  </a:lnTo>
                  <a:close/>
                  <a:moveTo>
                    <a:pt x="399" y="10"/>
                  </a:moveTo>
                  <a:lnTo>
                    <a:pt x="405" y="4"/>
                  </a:lnTo>
                  <a:lnTo>
                    <a:pt x="412" y="0"/>
                  </a:lnTo>
                  <a:lnTo>
                    <a:pt x="422" y="0"/>
                  </a:lnTo>
                  <a:lnTo>
                    <a:pt x="431" y="0"/>
                  </a:lnTo>
                  <a:lnTo>
                    <a:pt x="423" y="6"/>
                  </a:lnTo>
                  <a:lnTo>
                    <a:pt x="416" y="8"/>
                  </a:lnTo>
                  <a:lnTo>
                    <a:pt x="409" y="10"/>
                  </a:lnTo>
                  <a:lnTo>
                    <a:pt x="399" y="10"/>
                  </a:lnTo>
                  <a:close/>
                  <a:moveTo>
                    <a:pt x="335" y="32"/>
                  </a:moveTo>
                  <a:lnTo>
                    <a:pt x="337" y="37"/>
                  </a:lnTo>
                  <a:lnTo>
                    <a:pt x="342" y="39"/>
                  </a:lnTo>
                  <a:lnTo>
                    <a:pt x="348" y="39"/>
                  </a:lnTo>
                  <a:lnTo>
                    <a:pt x="353" y="39"/>
                  </a:lnTo>
                  <a:lnTo>
                    <a:pt x="361" y="37"/>
                  </a:lnTo>
                  <a:lnTo>
                    <a:pt x="368" y="37"/>
                  </a:lnTo>
                  <a:lnTo>
                    <a:pt x="375" y="39"/>
                  </a:lnTo>
                  <a:lnTo>
                    <a:pt x="381" y="41"/>
                  </a:lnTo>
                  <a:lnTo>
                    <a:pt x="379" y="43"/>
                  </a:lnTo>
                  <a:lnTo>
                    <a:pt x="379" y="47"/>
                  </a:lnTo>
                  <a:lnTo>
                    <a:pt x="364" y="47"/>
                  </a:lnTo>
                  <a:lnTo>
                    <a:pt x="348" y="47"/>
                  </a:lnTo>
                  <a:lnTo>
                    <a:pt x="340" y="45"/>
                  </a:lnTo>
                  <a:lnTo>
                    <a:pt x="335" y="45"/>
                  </a:lnTo>
                  <a:lnTo>
                    <a:pt x="329" y="43"/>
                  </a:lnTo>
                  <a:lnTo>
                    <a:pt x="325" y="39"/>
                  </a:lnTo>
                  <a:lnTo>
                    <a:pt x="331" y="36"/>
                  </a:lnTo>
                  <a:lnTo>
                    <a:pt x="335" y="3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89" name="Freeform 65"/>
            <p:cNvSpPr>
              <a:spLocks noEditPoints="1"/>
            </p:cNvSpPr>
            <p:nvPr/>
          </p:nvSpPr>
          <p:spPr bwMode="auto">
            <a:xfrm>
              <a:off x="6222512" y="1785141"/>
              <a:ext cx="251504" cy="489055"/>
            </a:xfrm>
            <a:custGeom>
              <a:avLst/>
              <a:gdLst>
                <a:gd name="T0" fmla="*/ 203 w 482"/>
                <a:gd name="T1" fmla="*/ 409 h 961"/>
                <a:gd name="T2" fmla="*/ 195 w 482"/>
                <a:gd name="T3" fmla="*/ 401 h 961"/>
                <a:gd name="T4" fmla="*/ 155 w 482"/>
                <a:gd name="T5" fmla="*/ 362 h 961"/>
                <a:gd name="T6" fmla="*/ 192 w 482"/>
                <a:gd name="T7" fmla="*/ 301 h 961"/>
                <a:gd name="T8" fmla="*/ 188 w 482"/>
                <a:gd name="T9" fmla="*/ 338 h 961"/>
                <a:gd name="T10" fmla="*/ 223 w 482"/>
                <a:gd name="T11" fmla="*/ 384 h 961"/>
                <a:gd name="T12" fmla="*/ 255 w 482"/>
                <a:gd name="T13" fmla="*/ 423 h 961"/>
                <a:gd name="T14" fmla="*/ 271 w 482"/>
                <a:gd name="T15" fmla="*/ 433 h 961"/>
                <a:gd name="T16" fmla="*/ 256 w 482"/>
                <a:gd name="T17" fmla="*/ 508 h 961"/>
                <a:gd name="T18" fmla="*/ 280 w 482"/>
                <a:gd name="T19" fmla="*/ 614 h 961"/>
                <a:gd name="T20" fmla="*/ 319 w 482"/>
                <a:gd name="T21" fmla="*/ 750 h 961"/>
                <a:gd name="T22" fmla="*/ 288 w 482"/>
                <a:gd name="T23" fmla="*/ 804 h 961"/>
                <a:gd name="T24" fmla="*/ 319 w 482"/>
                <a:gd name="T25" fmla="*/ 835 h 961"/>
                <a:gd name="T26" fmla="*/ 328 w 482"/>
                <a:gd name="T27" fmla="*/ 870 h 961"/>
                <a:gd name="T28" fmla="*/ 369 w 482"/>
                <a:gd name="T29" fmla="*/ 952 h 961"/>
                <a:gd name="T30" fmla="*/ 417 w 482"/>
                <a:gd name="T31" fmla="*/ 933 h 961"/>
                <a:gd name="T32" fmla="*/ 447 w 482"/>
                <a:gd name="T33" fmla="*/ 856 h 961"/>
                <a:gd name="T34" fmla="*/ 410 w 482"/>
                <a:gd name="T35" fmla="*/ 852 h 961"/>
                <a:gd name="T36" fmla="*/ 389 w 482"/>
                <a:gd name="T37" fmla="*/ 826 h 961"/>
                <a:gd name="T38" fmla="*/ 434 w 482"/>
                <a:gd name="T39" fmla="*/ 797 h 961"/>
                <a:gd name="T40" fmla="*/ 432 w 482"/>
                <a:gd name="T41" fmla="*/ 726 h 961"/>
                <a:gd name="T42" fmla="*/ 426 w 482"/>
                <a:gd name="T43" fmla="*/ 673 h 961"/>
                <a:gd name="T44" fmla="*/ 480 w 482"/>
                <a:gd name="T45" fmla="*/ 614 h 961"/>
                <a:gd name="T46" fmla="*/ 450 w 482"/>
                <a:gd name="T47" fmla="*/ 599 h 961"/>
                <a:gd name="T48" fmla="*/ 445 w 482"/>
                <a:gd name="T49" fmla="*/ 623 h 961"/>
                <a:gd name="T50" fmla="*/ 395 w 482"/>
                <a:gd name="T51" fmla="*/ 582 h 961"/>
                <a:gd name="T52" fmla="*/ 375 w 482"/>
                <a:gd name="T53" fmla="*/ 530 h 961"/>
                <a:gd name="T54" fmla="*/ 362 w 482"/>
                <a:gd name="T55" fmla="*/ 512 h 961"/>
                <a:gd name="T56" fmla="*/ 328 w 482"/>
                <a:gd name="T57" fmla="*/ 468 h 961"/>
                <a:gd name="T58" fmla="*/ 352 w 482"/>
                <a:gd name="T59" fmla="*/ 438 h 961"/>
                <a:gd name="T60" fmla="*/ 373 w 482"/>
                <a:gd name="T61" fmla="*/ 425 h 961"/>
                <a:gd name="T62" fmla="*/ 360 w 482"/>
                <a:gd name="T63" fmla="*/ 386 h 961"/>
                <a:gd name="T64" fmla="*/ 373 w 482"/>
                <a:gd name="T65" fmla="*/ 375 h 961"/>
                <a:gd name="T66" fmla="*/ 389 w 482"/>
                <a:gd name="T67" fmla="*/ 314 h 961"/>
                <a:gd name="T68" fmla="*/ 415 w 482"/>
                <a:gd name="T69" fmla="*/ 251 h 961"/>
                <a:gd name="T70" fmla="*/ 480 w 482"/>
                <a:gd name="T71" fmla="*/ 235 h 961"/>
                <a:gd name="T72" fmla="*/ 452 w 482"/>
                <a:gd name="T73" fmla="*/ 170 h 961"/>
                <a:gd name="T74" fmla="*/ 445 w 482"/>
                <a:gd name="T75" fmla="*/ 128 h 961"/>
                <a:gd name="T76" fmla="*/ 425 w 482"/>
                <a:gd name="T77" fmla="*/ 98 h 961"/>
                <a:gd name="T78" fmla="*/ 419 w 482"/>
                <a:gd name="T79" fmla="*/ 56 h 961"/>
                <a:gd name="T80" fmla="*/ 419 w 482"/>
                <a:gd name="T81" fmla="*/ 19 h 961"/>
                <a:gd name="T82" fmla="*/ 371 w 482"/>
                <a:gd name="T83" fmla="*/ 2 h 961"/>
                <a:gd name="T84" fmla="*/ 351 w 482"/>
                <a:gd name="T85" fmla="*/ 52 h 961"/>
                <a:gd name="T86" fmla="*/ 328 w 482"/>
                <a:gd name="T87" fmla="*/ 117 h 961"/>
                <a:gd name="T88" fmla="*/ 275 w 482"/>
                <a:gd name="T89" fmla="*/ 133 h 961"/>
                <a:gd name="T90" fmla="*/ 214 w 482"/>
                <a:gd name="T91" fmla="*/ 166 h 961"/>
                <a:gd name="T92" fmla="*/ 201 w 482"/>
                <a:gd name="T93" fmla="*/ 96 h 961"/>
                <a:gd name="T94" fmla="*/ 142 w 482"/>
                <a:gd name="T95" fmla="*/ 105 h 961"/>
                <a:gd name="T96" fmla="*/ 85 w 482"/>
                <a:gd name="T97" fmla="*/ 135 h 961"/>
                <a:gd name="T98" fmla="*/ 55 w 482"/>
                <a:gd name="T99" fmla="*/ 178 h 961"/>
                <a:gd name="T100" fmla="*/ 18 w 482"/>
                <a:gd name="T101" fmla="*/ 200 h 961"/>
                <a:gd name="T102" fmla="*/ 0 w 482"/>
                <a:gd name="T103" fmla="*/ 229 h 961"/>
                <a:gd name="T104" fmla="*/ 22 w 482"/>
                <a:gd name="T105" fmla="*/ 257 h 961"/>
                <a:gd name="T106" fmla="*/ 27 w 482"/>
                <a:gd name="T107" fmla="*/ 283 h 961"/>
                <a:gd name="T108" fmla="*/ 75 w 482"/>
                <a:gd name="T109" fmla="*/ 312 h 961"/>
                <a:gd name="T110" fmla="*/ 96 w 482"/>
                <a:gd name="T111" fmla="*/ 346 h 961"/>
                <a:gd name="T112" fmla="*/ 147 w 482"/>
                <a:gd name="T113" fmla="*/ 388 h 961"/>
                <a:gd name="T114" fmla="*/ 425 w 482"/>
                <a:gd name="T115" fmla="*/ 490 h 961"/>
                <a:gd name="T116" fmla="*/ 419 w 482"/>
                <a:gd name="T117" fmla="*/ 553 h 961"/>
                <a:gd name="T118" fmla="*/ 402 w 482"/>
                <a:gd name="T119" fmla="*/ 516 h 961"/>
                <a:gd name="T120" fmla="*/ 415 w 482"/>
                <a:gd name="T121" fmla="*/ 484 h 9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82"/>
                <a:gd name="T184" fmla="*/ 0 h 961"/>
                <a:gd name="T185" fmla="*/ 482 w 482"/>
                <a:gd name="T186" fmla="*/ 961 h 9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82" h="961">
                  <a:moveTo>
                    <a:pt x="190" y="423"/>
                  </a:moveTo>
                  <a:lnTo>
                    <a:pt x="190" y="418"/>
                  </a:lnTo>
                  <a:lnTo>
                    <a:pt x="192" y="412"/>
                  </a:lnTo>
                  <a:lnTo>
                    <a:pt x="194" y="410"/>
                  </a:lnTo>
                  <a:lnTo>
                    <a:pt x="197" y="409"/>
                  </a:lnTo>
                  <a:lnTo>
                    <a:pt x="201" y="409"/>
                  </a:lnTo>
                  <a:lnTo>
                    <a:pt x="203" y="409"/>
                  </a:lnTo>
                  <a:lnTo>
                    <a:pt x="207" y="410"/>
                  </a:lnTo>
                  <a:lnTo>
                    <a:pt x="208" y="414"/>
                  </a:lnTo>
                  <a:lnTo>
                    <a:pt x="212" y="410"/>
                  </a:lnTo>
                  <a:lnTo>
                    <a:pt x="212" y="407"/>
                  </a:lnTo>
                  <a:lnTo>
                    <a:pt x="210" y="405"/>
                  </a:lnTo>
                  <a:lnTo>
                    <a:pt x="207" y="403"/>
                  </a:lnTo>
                  <a:lnTo>
                    <a:pt x="195" y="401"/>
                  </a:lnTo>
                  <a:lnTo>
                    <a:pt x="190" y="401"/>
                  </a:lnTo>
                  <a:lnTo>
                    <a:pt x="177" y="388"/>
                  </a:lnTo>
                  <a:lnTo>
                    <a:pt x="171" y="381"/>
                  </a:lnTo>
                  <a:lnTo>
                    <a:pt x="170" y="373"/>
                  </a:lnTo>
                  <a:lnTo>
                    <a:pt x="168" y="370"/>
                  </a:lnTo>
                  <a:lnTo>
                    <a:pt x="160" y="364"/>
                  </a:lnTo>
                  <a:lnTo>
                    <a:pt x="155" y="362"/>
                  </a:lnTo>
                  <a:lnTo>
                    <a:pt x="151" y="359"/>
                  </a:lnTo>
                  <a:lnTo>
                    <a:pt x="146" y="349"/>
                  </a:lnTo>
                  <a:lnTo>
                    <a:pt x="153" y="336"/>
                  </a:lnTo>
                  <a:lnTo>
                    <a:pt x="170" y="303"/>
                  </a:lnTo>
                  <a:lnTo>
                    <a:pt x="175" y="303"/>
                  </a:lnTo>
                  <a:lnTo>
                    <a:pt x="183" y="305"/>
                  </a:lnTo>
                  <a:lnTo>
                    <a:pt x="192" y="301"/>
                  </a:lnTo>
                  <a:lnTo>
                    <a:pt x="195" y="301"/>
                  </a:lnTo>
                  <a:lnTo>
                    <a:pt x="195" y="307"/>
                  </a:lnTo>
                  <a:lnTo>
                    <a:pt x="192" y="312"/>
                  </a:lnTo>
                  <a:lnTo>
                    <a:pt x="190" y="316"/>
                  </a:lnTo>
                  <a:lnTo>
                    <a:pt x="186" y="318"/>
                  </a:lnTo>
                  <a:lnTo>
                    <a:pt x="186" y="327"/>
                  </a:lnTo>
                  <a:lnTo>
                    <a:pt x="188" y="338"/>
                  </a:lnTo>
                  <a:lnTo>
                    <a:pt x="190" y="349"/>
                  </a:lnTo>
                  <a:lnTo>
                    <a:pt x="195" y="357"/>
                  </a:lnTo>
                  <a:lnTo>
                    <a:pt x="201" y="364"/>
                  </a:lnTo>
                  <a:lnTo>
                    <a:pt x="205" y="370"/>
                  </a:lnTo>
                  <a:lnTo>
                    <a:pt x="210" y="372"/>
                  </a:lnTo>
                  <a:lnTo>
                    <a:pt x="218" y="375"/>
                  </a:lnTo>
                  <a:lnTo>
                    <a:pt x="223" y="384"/>
                  </a:lnTo>
                  <a:lnTo>
                    <a:pt x="231" y="392"/>
                  </a:lnTo>
                  <a:lnTo>
                    <a:pt x="240" y="397"/>
                  </a:lnTo>
                  <a:lnTo>
                    <a:pt x="251" y="401"/>
                  </a:lnTo>
                  <a:lnTo>
                    <a:pt x="255" y="407"/>
                  </a:lnTo>
                  <a:lnTo>
                    <a:pt x="255" y="412"/>
                  </a:lnTo>
                  <a:lnTo>
                    <a:pt x="255" y="420"/>
                  </a:lnTo>
                  <a:lnTo>
                    <a:pt x="255" y="423"/>
                  </a:lnTo>
                  <a:lnTo>
                    <a:pt x="256" y="425"/>
                  </a:lnTo>
                  <a:lnTo>
                    <a:pt x="262" y="423"/>
                  </a:lnTo>
                  <a:lnTo>
                    <a:pt x="264" y="421"/>
                  </a:lnTo>
                  <a:lnTo>
                    <a:pt x="266" y="423"/>
                  </a:lnTo>
                  <a:lnTo>
                    <a:pt x="268" y="423"/>
                  </a:lnTo>
                  <a:lnTo>
                    <a:pt x="269" y="427"/>
                  </a:lnTo>
                  <a:lnTo>
                    <a:pt x="271" y="433"/>
                  </a:lnTo>
                  <a:lnTo>
                    <a:pt x="271" y="436"/>
                  </a:lnTo>
                  <a:lnTo>
                    <a:pt x="269" y="440"/>
                  </a:lnTo>
                  <a:lnTo>
                    <a:pt x="269" y="444"/>
                  </a:lnTo>
                  <a:lnTo>
                    <a:pt x="264" y="451"/>
                  </a:lnTo>
                  <a:lnTo>
                    <a:pt x="258" y="458"/>
                  </a:lnTo>
                  <a:lnTo>
                    <a:pt x="256" y="482"/>
                  </a:lnTo>
                  <a:lnTo>
                    <a:pt x="256" y="508"/>
                  </a:lnTo>
                  <a:lnTo>
                    <a:pt x="262" y="518"/>
                  </a:lnTo>
                  <a:lnTo>
                    <a:pt x="268" y="527"/>
                  </a:lnTo>
                  <a:lnTo>
                    <a:pt x="271" y="534"/>
                  </a:lnTo>
                  <a:lnTo>
                    <a:pt x="273" y="543"/>
                  </a:lnTo>
                  <a:lnTo>
                    <a:pt x="279" y="566"/>
                  </a:lnTo>
                  <a:lnTo>
                    <a:pt x="280" y="590"/>
                  </a:lnTo>
                  <a:lnTo>
                    <a:pt x="280" y="614"/>
                  </a:lnTo>
                  <a:lnTo>
                    <a:pt x="282" y="636"/>
                  </a:lnTo>
                  <a:lnTo>
                    <a:pt x="295" y="656"/>
                  </a:lnTo>
                  <a:lnTo>
                    <a:pt x="306" y="676"/>
                  </a:lnTo>
                  <a:lnTo>
                    <a:pt x="310" y="708"/>
                  </a:lnTo>
                  <a:lnTo>
                    <a:pt x="314" y="726"/>
                  </a:lnTo>
                  <a:lnTo>
                    <a:pt x="317" y="737"/>
                  </a:lnTo>
                  <a:lnTo>
                    <a:pt x="319" y="750"/>
                  </a:lnTo>
                  <a:lnTo>
                    <a:pt x="312" y="763"/>
                  </a:lnTo>
                  <a:lnTo>
                    <a:pt x="308" y="776"/>
                  </a:lnTo>
                  <a:lnTo>
                    <a:pt x="308" y="785"/>
                  </a:lnTo>
                  <a:lnTo>
                    <a:pt x="306" y="795"/>
                  </a:lnTo>
                  <a:lnTo>
                    <a:pt x="299" y="798"/>
                  </a:lnTo>
                  <a:lnTo>
                    <a:pt x="290" y="800"/>
                  </a:lnTo>
                  <a:lnTo>
                    <a:pt x="288" y="804"/>
                  </a:lnTo>
                  <a:lnTo>
                    <a:pt x="290" y="808"/>
                  </a:lnTo>
                  <a:lnTo>
                    <a:pt x="292" y="811"/>
                  </a:lnTo>
                  <a:lnTo>
                    <a:pt x="295" y="815"/>
                  </a:lnTo>
                  <a:lnTo>
                    <a:pt x="304" y="819"/>
                  </a:lnTo>
                  <a:lnTo>
                    <a:pt x="317" y="822"/>
                  </a:lnTo>
                  <a:lnTo>
                    <a:pt x="319" y="828"/>
                  </a:lnTo>
                  <a:lnTo>
                    <a:pt x="319" y="835"/>
                  </a:lnTo>
                  <a:lnTo>
                    <a:pt x="321" y="839"/>
                  </a:lnTo>
                  <a:lnTo>
                    <a:pt x="321" y="843"/>
                  </a:lnTo>
                  <a:lnTo>
                    <a:pt x="325" y="846"/>
                  </a:lnTo>
                  <a:lnTo>
                    <a:pt x="328" y="850"/>
                  </a:lnTo>
                  <a:lnTo>
                    <a:pt x="327" y="858"/>
                  </a:lnTo>
                  <a:lnTo>
                    <a:pt x="327" y="863"/>
                  </a:lnTo>
                  <a:lnTo>
                    <a:pt x="328" y="870"/>
                  </a:lnTo>
                  <a:lnTo>
                    <a:pt x="332" y="876"/>
                  </a:lnTo>
                  <a:lnTo>
                    <a:pt x="332" y="882"/>
                  </a:lnTo>
                  <a:lnTo>
                    <a:pt x="332" y="889"/>
                  </a:lnTo>
                  <a:lnTo>
                    <a:pt x="334" y="896"/>
                  </a:lnTo>
                  <a:lnTo>
                    <a:pt x="338" y="904"/>
                  </a:lnTo>
                  <a:lnTo>
                    <a:pt x="354" y="926"/>
                  </a:lnTo>
                  <a:lnTo>
                    <a:pt x="369" y="952"/>
                  </a:lnTo>
                  <a:lnTo>
                    <a:pt x="375" y="957"/>
                  </a:lnTo>
                  <a:lnTo>
                    <a:pt x="378" y="961"/>
                  </a:lnTo>
                  <a:lnTo>
                    <a:pt x="391" y="957"/>
                  </a:lnTo>
                  <a:lnTo>
                    <a:pt x="402" y="950"/>
                  </a:lnTo>
                  <a:lnTo>
                    <a:pt x="408" y="946"/>
                  </a:lnTo>
                  <a:lnTo>
                    <a:pt x="412" y="941"/>
                  </a:lnTo>
                  <a:lnTo>
                    <a:pt x="417" y="933"/>
                  </a:lnTo>
                  <a:lnTo>
                    <a:pt x="421" y="924"/>
                  </a:lnTo>
                  <a:lnTo>
                    <a:pt x="425" y="917"/>
                  </a:lnTo>
                  <a:lnTo>
                    <a:pt x="430" y="909"/>
                  </a:lnTo>
                  <a:lnTo>
                    <a:pt x="436" y="904"/>
                  </a:lnTo>
                  <a:lnTo>
                    <a:pt x="443" y="900"/>
                  </a:lnTo>
                  <a:lnTo>
                    <a:pt x="445" y="878"/>
                  </a:lnTo>
                  <a:lnTo>
                    <a:pt x="447" y="856"/>
                  </a:lnTo>
                  <a:lnTo>
                    <a:pt x="447" y="852"/>
                  </a:lnTo>
                  <a:lnTo>
                    <a:pt x="445" y="850"/>
                  </a:lnTo>
                  <a:lnTo>
                    <a:pt x="443" y="850"/>
                  </a:lnTo>
                  <a:lnTo>
                    <a:pt x="439" y="850"/>
                  </a:lnTo>
                  <a:lnTo>
                    <a:pt x="430" y="850"/>
                  </a:lnTo>
                  <a:lnTo>
                    <a:pt x="421" y="852"/>
                  </a:lnTo>
                  <a:lnTo>
                    <a:pt x="410" y="852"/>
                  </a:lnTo>
                  <a:lnTo>
                    <a:pt x="401" y="852"/>
                  </a:lnTo>
                  <a:lnTo>
                    <a:pt x="397" y="850"/>
                  </a:lnTo>
                  <a:lnTo>
                    <a:pt x="393" y="846"/>
                  </a:lnTo>
                  <a:lnTo>
                    <a:pt x="391" y="843"/>
                  </a:lnTo>
                  <a:lnTo>
                    <a:pt x="389" y="837"/>
                  </a:lnTo>
                  <a:lnTo>
                    <a:pt x="389" y="832"/>
                  </a:lnTo>
                  <a:lnTo>
                    <a:pt x="389" y="826"/>
                  </a:lnTo>
                  <a:lnTo>
                    <a:pt x="391" y="822"/>
                  </a:lnTo>
                  <a:lnTo>
                    <a:pt x="393" y="821"/>
                  </a:lnTo>
                  <a:lnTo>
                    <a:pt x="399" y="815"/>
                  </a:lnTo>
                  <a:lnTo>
                    <a:pt x="408" y="809"/>
                  </a:lnTo>
                  <a:lnTo>
                    <a:pt x="417" y="806"/>
                  </a:lnTo>
                  <a:lnTo>
                    <a:pt x="426" y="802"/>
                  </a:lnTo>
                  <a:lnTo>
                    <a:pt x="434" y="797"/>
                  </a:lnTo>
                  <a:lnTo>
                    <a:pt x="439" y="787"/>
                  </a:lnTo>
                  <a:lnTo>
                    <a:pt x="441" y="778"/>
                  </a:lnTo>
                  <a:lnTo>
                    <a:pt x="441" y="769"/>
                  </a:lnTo>
                  <a:lnTo>
                    <a:pt x="441" y="760"/>
                  </a:lnTo>
                  <a:lnTo>
                    <a:pt x="441" y="752"/>
                  </a:lnTo>
                  <a:lnTo>
                    <a:pt x="436" y="739"/>
                  </a:lnTo>
                  <a:lnTo>
                    <a:pt x="432" y="726"/>
                  </a:lnTo>
                  <a:lnTo>
                    <a:pt x="425" y="715"/>
                  </a:lnTo>
                  <a:lnTo>
                    <a:pt x="421" y="704"/>
                  </a:lnTo>
                  <a:lnTo>
                    <a:pt x="417" y="693"/>
                  </a:lnTo>
                  <a:lnTo>
                    <a:pt x="417" y="682"/>
                  </a:lnTo>
                  <a:lnTo>
                    <a:pt x="419" y="678"/>
                  </a:lnTo>
                  <a:lnTo>
                    <a:pt x="423" y="675"/>
                  </a:lnTo>
                  <a:lnTo>
                    <a:pt x="426" y="673"/>
                  </a:lnTo>
                  <a:lnTo>
                    <a:pt x="432" y="671"/>
                  </a:lnTo>
                  <a:lnTo>
                    <a:pt x="445" y="665"/>
                  </a:lnTo>
                  <a:lnTo>
                    <a:pt x="454" y="660"/>
                  </a:lnTo>
                  <a:lnTo>
                    <a:pt x="461" y="651"/>
                  </a:lnTo>
                  <a:lnTo>
                    <a:pt x="482" y="625"/>
                  </a:lnTo>
                  <a:lnTo>
                    <a:pt x="480" y="619"/>
                  </a:lnTo>
                  <a:lnTo>
                    <a:pt x="480" y="614"/>
                  </a:lnTo>
                  <a:lnTo>
                    <a:pt x="480" y="604"/>
                  </a:lnTo>
                  <a:lnTo>
                    <a:pt x="478" y="597"/>
                  </a:lnTo>
                  <a:lnTo>
                    <a:pt x="474" y="593"/>
                  </a:lnTo>
                  <a:lnTo>
                    <a:pt x="471" y="591"/>
                  </a:lnTo>
                  <a:lnTo>
                    <a:pt x="463" y="591"/>
                  </a:lnTo>
                  <a:lnTo>
                    <a:pt x="458" y="593"/>
                  </a:lnTo>
                  <a:lnTo>
                    <a:pt x="450" y="599"/>
                  </a:lnTo>
                  <a:lnTo>
                    <a:pt x="445" y="604"/>
                  </a:lnTo>
                  <a:lnTo>
                    <a:pt x="441" y="606"/>
                  </a:lnTo>
                  <a:lnTo>
                    <a:pt x="441" y="608"/>
                  </a:lnTo>
                  <a:lnTo>
                    <a:pt x="441" y="610"/>
                  </a:lnTo>
                  <a:lnTo>
                    <a:pt x="443" y="614"/>
                  </a:lnTo>
                  <a:lnTo>
                    <a:pt x="445" y="619"/>
                  </a:lnTo>
                  <a:lnTo>
                    <a:pt x="445" y="623"/>
                  </a:lnTo>
                  <a:lnTo>
                    <a:pt x="437" y="627"/>
                  </a:lnTo>
                  <a:lnTo>
                    <a:pt x="432" y="627"/>
                  </a:lnTo>
                  <a:lnTo>
                    <a:pt x="426" y="627"/>
                  </a:lnTo>
                  <a:lnTo>
                    <a:pt x="421" y="625"/>
                  </a:lnTo>
                  <a:lnTo>
                    <a:pt x="413" y="617"/>
                  </a:lnTo>
                  <a:lnTo>
                    <a:pt x="406" y="608"/>
                  </a:lnTo>
                  <a:lnTo>
                    <a:pt x="395" y="582"/>
                  </a:lnTo>
                  <a:lnTo>
                    <a:pt x="384" y="556"/>
                  </a:lnTo>
                  <a:lnTo>
                    <a:pt x="384" y="551"/>
                  </a:lnTo>
                  <a:lnTo>
                    <a:pt x="384" y="547"/>
                  </a:lnTo>
                  <a:lnTo>
                    <a:pt x="380" y="545"/>
                  </a:lnTo>
                  <a:lnTo>
                    <a:pt x="375" y="538"/>
                  </a:lnTo>
                  <a:lnTo>
                    <a:pt x="373" y="534"/>
                  </a:lnTo>
                  <a:lnTo>
                    <a:pt x="375" y="530"/>
                  </a:lnTo>
                  <a:lnTo>
                    <a:pt x="375" y="529"/>
                  </a:lnTo>
                  <a:lnTo>
                    <a:pt x="373" y="527"/>
                  </a:lnTo>
                  <a:lnTo>
                    <a:pt x="371" y="525"/>
                  </a:lnTo>
                  <a:lnTo>
                    <a:pt x="364" y="523"/>
                  </a:lnTo>
                  <a:lnTo>
                    <a:pt x="362" y="518"/>
                  </a:lnTo>
                  <a:lnTo>
                    <a:pt x="362" y="514"/>
                  </a:lnTo>
                  <a:lnTo>
                    <a:pt x="362" y="512"/>
                  </a:lnTo>
                  <a:lnTo>
                    <a:pt x="360" y="512"/>
                  </a:lnTo>
                  <a:lnTo>
                    <a:pt x="356" y="512"/>
                  </a:lnTo>
                  <a:lnTo>
                    <a:pt x="349" y="514"/>
                  </a:lnTo>
                  <a:lnTo>
                    <a:pt x="341" y="501"/>
                  </a:lnTo>
                  <a:lnTo>
                    <a:pt x="336" y="490"/>
                  </a:lnTo>
                  <a:lnTo>
                    <a:pt x="330" y="477"/>
                  </a:lnTo>
                  <a:lnTo>
                    <a:pt x="328" y="468"/>
                  </a:lnTo>
                  <a:lnTo>
                    <a:pt x="338" y="464"/>
                  </a:lnTo>
                  <a:lnTo>
                    <a:pt x="343" y="460"/>
                  </a:lnTo>
                  <a:lnTo>
                    <a:pt x="345" y="455"/>
                  </a:lnTo>
                  <a:lnTo>
                    <a:pt x="345" y="449"/>
                  </a:lnTo>
                  <a:lnTo>
                    <a:pt x="343" y="440"/>
                  </a:lnTo>
                  <a:lnTo>
                    <a:pt x="343" y="436"/>
                  </a:lnTo>
                  <a:lnTo>
                    <a:pt x="352" y="438"/>
                  </a:lnTo>
                  <a:lnTo>
                    <a:pt x="360" y="442"/>
                  </a:lnTo>
                  <a:lnTo>
                    <a:pt x="362" y="442"/>
                  </a:lnTo>
                  <a:lnTo>
                    <a:pt x="365" y="442"/>
                  </a:lnTo>
                  <a:lnTo>
                    <a:pt x="369" y="440"/>
                  </a:lnTo>
                  <a:lnTo>
                    <a:pt x="371" y="434"/>
                  </a:lnTo>
                  <a:lnTo>
                    <a:pt x="373" y="429"/>
                  </a:lnTo>
                  <a:lnTo>
                    <a:pt x="373" y="425"/>
                  </a:lnTo>
                  <a:lnTo>
                    <a:pt x="371" y="421"/>
                  </a:lnTo>
                  <a:lnTo>
                    <a:pt x="367" y="418"/>
                  </a:lnTo>
                  <a:lnTo>
                    <a:pt x="360" y="414"/>
                  </a:lnTo>
                  <a:lnTo>
                    <a:pt x="358" y="410"/>
                  </a:lnTo>
                  <a:lnTo>
                    <a:pt x="360" y="407"/>
                  </a:lnTo>
                  <a:lnTo>
                    <a:pt x="360" y="405"/>
                  </a:lnTo>
                  <a:lnTo>
                    <a:pt x="360" y="386"/>
                  </a:lnTo>
                  <a:lnTo>
                    <a:pt x="358" y="366"/>
                  </a:lnTo>
                  <a:lnTo>
                    <a:pt x="360" y="364"/>
                  </a:lnTo>
                  <a:lnTo>
                    <a:pt x="362" y="364"/>
                  </a:lnTo>
                  <a:lnTo>
                    <a:pt x="364" y="364"/>
                  </a:lnTo>
                  <a:lnTo>
                    <a:pt x="365" y="366"/>
                  </a:lnTo>
                  <a:lnTo>
                    <a:pt x="369" y="370"/>
                  </a:lnTo>
                  <a:lnTo>
                    <a:pt x="373" y="375"/>
                  </a:lnTo>
                  <a:lnTo>
                    <a:pt x="384" y="383"/>
                  </a:lnTo>
                  <a:lnTo>
                    <a:pt x="401" y="390"/>
                  </a:lnTo>
                  <a:lnTo>
                    <a:pt x="395" y="375"/>
                  </a:lnTo>
                  <a:lnTo>
                    <a:pt x="386" y="349"/>
                  </a:lnTo>
                  <a:lnTo>
                    <a:pt x="388" y="340"/>
                  </a:lnTo>
                  <a:lnTo>
                    <a:pt x="391" y="329"/>
                  </a:lnTo>
                  <a:lnTo>
                    <a:pt x="389" y="314"/>
                  </a:lnTo>
                  <a:lnTo>
                    <a:pt x="388" y="303"/>
                  </a:lnTo>
                  <a:lnTo>
                    <a:pt x="389" y="298"/>
                  </a:lnTo>
                  <a:lnTo>
                    <a:pt x="393" y="290"/>
                  </a:lnTo>
                  <a:lnTo>
                    <a:pt x="399" y="281"/>
                  </a:lnTo>
                  <a:lnTo>
                    <a:pt x="406" y="270"/>
                  </a:lnTo>
                  <a:lnTo>
                    <a:pt x="410" y="259"/>
                  </a:lnTo>
                  <a:lnTo>
                    <a:pt x="415" y="251"/>
                  </a:lnTo>
                  <a:lnTo>
                    <a:pt x="432" y="246"/>
                  </a:lnTo>
                  <a:lnTo>
                    <a:pt x="447" y="244"/>
                  </a:lnTo>
                  <a:lnTo>
                    <a:pt x="463" y="244"/>
                  </a:lnTo>
                  <a:lnTo>
                    <a:pt x="480" y="242"/>
                  </a:lnTo>
                  <a:lnTo>
                    <a:pt x="482" y="240"/>
                  </a:lnTo>
                  <a:lnTo>
                    <a:pt x="482" y="237"/>
                  </a:lnTo>
                  <a:lnTo>
                    <a:pt x="480" y="235"/>
                  </a:lnTo>
                  <a:lnTo>
                    <a:pt x="476" y="231"/>
                  </a:lnTo>
                  <a:lnTo>
                    <a:pt x="469" y="226"/>
                  </a:lnTo>
                  <a:lnTo>
                    <a:pt x="463" y="218"/>
                  </a:lnTo>
                  <a:lnTo>
                    <a:pt x="458" y="207"/>
                  </a:lnTo>
                  <a:lnTo>
                    <a:pt x="456" y="194"/>
                  </a:lnTo>
                  <a:lnTo>
                    <a:pt x="454" y="183"/>
                  </a:lnTo>
                  <a:lnTo>
                    <a:pt x="452" y="170"/>
                  </a:lnTo>
                  <a:lnTo>
                    <a:pt x="449" y="161"/>
                  </a:lnTo>
                  <a:lnTo>
                    <a:pt x="447" y="152"/>
                  </a:lnTo>
                  <a:lnTo>
                    <a:pt x="450" y="144"/>
                  </a:lnTo>
                  <a:lnTo>
                    <a:pt x="452" y="141"/>
                  </a:lnTo>
                  <a:lnTo>
                    <a:pt x="452" y="137"/>
                  </a:lnTo>
                  <a:lnTo>
                    <a:pt x="450" y="133"/>
                  </a:lnTo>
                  <a:lnTo>
                    <a:pt x="445" y="128"/>
                  </a:lnTo>
                  <a:lnTo>
                    <a:pt x="432" y="126"/>
                  </a:lnTo>
                  <a:lnTo>
                    <a:pt x="436" y="113"/>
                  </a:lnTo>
                  <a:lnTo>
                    <a:pt x="437" y="100"/>
                  </a:lnTo>
                  <a:lnTo>
                    <a:pt x="434" y="98"/>
                  </a:lnTo>
                  <a:lnTo>
                    <a:pt x="430" y="98"/>
                  </a:lnTo>
                  <a:lnTo>
                    <a:pt x="426" y="98"/>
                  </a:lnTo>
                  <a:lnTo>
                    <a:pt x="425" y="98"/>
                  </a:lnTo>
                  <a:lnTo>
                    <a:pt x="425" y="96"/>
                  </a:lnTo>
                  <a:lnTo>
                    <a:pt x="425" y="94"/>
                  </a:lnTo>
                  <a:lnTo>
                    <a:pt x="430" y="85"/>
                  </a:lnTo>
                  <a:lnTo>
                    <a:pt x="432" y="78"/>
                  </a:lnTo>
                  <a:lnTo>
                    <a:pt x="426" y="72"/>
                  </a:lnTo>
                  <a:lnTo>
                    <a:pt x="417" y="61"/>
                  </a:lnTo>
                  <a:lnTo>
                    <a:pt x="419" y="56"/>
                  </a:lnTo>
                  <a:lnTo>
                    <a:pt x="421" y="48"/>
                  </a:lnTo>
                  <a:lnTo>
                    <a:pt x="423" y="44"/>
                  </a:lnTo>
                  <a:lnTo>
                    <a:pt x="423" y="39"/>
                  </a:lnTo>
                  <a:lnTo>
                    <a:pt x="421" y="32"/>
                  </a:lnTo>
                  <a:lnTo>
                    <a:pt x="419" y="24"/>
                  </a:lnTo>
                  <a:lnTo>
                    <a:pt x="419" y="20"/>
                  </a:lnTo>
                  <a:lnTo>
                    <a:pt x="419" y="19"/>
                  </a:lnTo>
                  <a:lnTo>
                    <a:pt x="410" y="15"/>
                  </a:lnTo>
                  <a:lnTo>
                    <a:pt x="401" y="11"/>
                  </a:lnTo>
                  <a:lnTo>
                    <a:pt x="386" y="13"/>
                  </a:lnTo>
                  <a:lnTo>
                    <a:pt x="376" y="13"/>
                  </a:lnTo>
                  <a:lnTo>
                    <a:pt x="375" y="9"/>
                  </a:lnTo>
                  <a:lnTo>
                    <a:pt x="373" y="4"/>
                  </a:lnTo>
                  <a:lnTo>
                    <a:pt x="371" y="2"/>
                  </a:lnTo>
                  <a:lnTo>
                    <a:pt x="367" y="0"/>
                  </a:lnTo>
                  <a:lnTo>
                    <a:pt x="358" y="9"/>
                  </a:lnTo>
                  <a:lnTo>
                    <a:pt x="349" y="17"/>
                  </a:lnTo>
                  <a:lnTo>
                    <a:pt x="347" y="24"/>
                  </a:lnTo>
                  <a:lnTo>
                    <a:pt x="347" y="32"/>
                  </a:lnTo>
                  <a:lnTo>
                    <a:pt x="349" y="41"/>
                  </a:lnTo>
                  <a:lnTo>
                    <a:pt x="351" y="52"/>
                  </a:lnTo>
                  <a:lnTo>
                    <a:pt x="341" y="67"/>
                  </a:lnTo>
                  <a:lnTo>
                    <a:pt x="338" y="81"/>
                  </a:lnTo>
                  <a:lnTo>
                    <a:pt x="334" y="87"/>
                  </a:lnTo>
                  <a:lnTo>
                    <a:pt x="330" y="93"/>
                  </a:lnTo>
                  <a:lnTo>
                    <a:pt x="328" y="100"/>
                  </a:lnTo>
                  <a:lnTo>
                    <a:pt x="328" y="109"/>
                  </a:lnTo>
                  <a:lnTo>
                    <a:pt x="328" y="117"/>
                  </a:lnTo>
                  <a:lnTo>
                    <a:pt x="327" y="124"/>
                  </a:lnTo>
                  <a:lnTo>
                    <a:pt x="327" y="129"/>
                  </a:lnTo>
                  <a:lnTo>
                    <a:pt x="325" y="133"/>
                  </a:lnTo>
                  <a:lnTo>
                    <a:pt x="323" y="137"/>
                  </a:lnTo>
                  <a:lnTo>
                    <a:pt x="319" y="142"/>
                  </a:lnTo>
                  <a:lnTo>
                    <a:pt x="297" y="137"/>
                  </a:lnTo>
                  <a:lnTo>
                    <a:pt x="275" y="133"/>
                  </a:lnTo>
                  <a:lnTo>
                    <a:pt x="255" y="141"/>
                  </a:lnTo>
                  <a:lnTo>
                    <a:pt x="234" y="150"/>
                  </a:lnTo>
                  <a:lnTo>
                    <a:pt x="229" y="155"/>
                  </a:lnTo>
                  <a:lnTo>
                    <a:pt x="223" y="163"/>
                  </a:lnTo>
                  <a:lnTo>
                    <a:pt x="219" y="165"/>
                  </a:lnTo>
                  <a:lnTo>
                    <a:pt x="216" y="166"/>
                  </a:lnTo>
                  <a:lnTo>
                    <a:pt x="214" y="166"/>
                  </a:lnTo>
                  <a:lnTo>
                    <a:pt x="210" y="165"/>
                  </a:lnTo>
                  <a:lnTo>
                    <a:pt x="205" y="152"/>
                  </a:lnTo>
                  <a:lnTo>
                    <a:pt x="201" y="141"/>
                  </a:lnTo>
                  <a:lnTo>
                    <a:pt x="199" y="131"/>
                  </a:lnTo>
                  <a:lnTo>
                    <a:pt x="199" y="122"/>
                  </a:lnTo>
                  <a:lnTo>
                    <a:pt x="203" y="107"/>
                  </a:lnTo>
                  <a:lnTo>
                    <a:pt x="201" y="96"/>
                  </a:lnTo>
                  <a:lnTo>
                    <a:pt x="195" y="94"/>
                  </a:lnTo>
                  <a:lnTo>
                    <a:pt x="190" y="96"/>
                  </a:lnTo>
                  <a:lnTo>
                    <a:pt x="184" y="96"/>
                  </a:lnTo>
                  <a:lnTo>
                    <a:pt x="179" y="98"/>
                  </a:lnTo>
                  <a:lnTo>
                    <a:pt x="170" y="104"/>
                  </a:lnTo>
                  <a:lnTo>
                    <a:pt x="159" y="109"/>
                  </a:lnTo>
                  <a:lnTo>
                    <a:pt x="142" y="105"/>
                  </a:lnTo>
                  <a:lnTo>
                    <a:pt x="123" y="104"/>
                  </a:lnTo>
                  <a:lnTo>
                    <a:pt x="114" y="113"/>
                  </a:lnTo>
                  <a:lnTo>
                    <a:pt x="103" y="126"/>
                  </a:lnTo>
                  <a:lnTo>
                    <a:pt x="96" y="128"/>
                  </a:lnTo>
                  <a:lnTo>
                    <a:pt x="90" y="129"/>
                  </a:lnTo>
                  <a:lnTo>
                    <a:pt x="86" y="131"/>
                  </a:lnTo>
                  <a:lnTo>
                    <a:pt x="85" y="135"/>
                  </a:lnTo>
                  <a:lnTo>
                    <a:pt x="81" y="144"/>
                  </a:lnTo>
                  <a:lnTo>
                    <a:pt x="79" y="152"/>
                  </a:lnTo>
                  <a:lnTo>
                    <a:pt x="75" y="157"/>
                  </a:lnTo>
                  <a:lnTo>
                    <a:pt x="66" y="163"/>
                  </a:lnTo>
                  <a:lnTo>
                    <a:pt x="62" y="170"/>
                  </a:lnTo>
                  <a:lnTo>
                    <a:pt x="59" y="176"/>
                  </a:lnTo>
                  <a:lnTo>
                    <a:pt x="55" y="178"/>
                  </a:lnTo>
                  <a:lnTo>
                    <a:pt x="51" y="179"/>
                  </a:lnTo>
                  <a:lnTo>
                    <a:pt x="44" y="179"/>
                  </a:lnTo>
                  <a:lnTo>
                    <a:pt x="38" y="181"/>
                  </a:lnTo>
                  <a:lnTo>
                    <a:pt x="35" y="192"/>
                  </a:lnTo>
                  <a:lnTo>
                    <a:pt x="33" y="203"/>
                  </a:lnTo>
                  <a:lnTo>
                    <a:pt x="26" y="202"/>
                  </a:lnTo>
                  <a:lnTo>
                    <a:pt x="18" y="200"/>
                  </a:lnTo>
                  <a:lnTo>
                    <a:pt x="14" y="202"/>
                  </a:lnTo>
                  <a:lnTo>
                    <a:pt x="11" y="203"/>
                  </a:lnTo>
                  <a:lnTo>
                    <a:pt x="9" y="207"/>
                  </a:lnTo>
                  <a:lnTo>
                    <a:pt x="7" y="211"/>
                  </a:lnTo>
                  <a:lnTo>
                    <a:pt x="3" y="220"/>
                  </a:lnTo>
                  <a:lnTo>
                    <a:pt x="1" y="229"/>
                  </a:lnTo>
                  <a:lnTo>
                    <a:pt x="0" y="229"/>
                  </a:lnTo>
                  <a:lnTo>
                    <a:pt x="0" y="239"/>
                  </a:lnTo>
                  <a:lnTo>
                    <a:pt x="1" y="248"/>
                  </a:lnTo>
                  <a:lnTo>
                    <a:pt x="5" y="250"/>
                  </a:lnTo>
                  <a:lnTo>
                    <a:pt x="9" y="253"/>
                  </a:lnTo>
                  <a:lnTo>
                    <a:pt x="14" y="255"/>
                  </a:lnTo>
                  <a:lnTo>
                    <a:pt x="22" y="257"/>
                  </a:lnTo>
                  <a:lnTo>
                    <a:pt x="27" y="261"/>
                  </a:lnTo>
                  <a:lnTo>
                    <a:pt x="29" y="264"/>
                  </a:lnTo>
                  <a:lnTo>
                    <a:pt x="29" y="268"/>
                  </a:lnTo>
                  <a:lnTo>
                    <a:pt x="29" y="272"/>
                  </a:lnTo>
                  <a:lnTo>
                    <a:pt x="27" y="275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9" y="285"/>
                  </a:lnTo>
                  <a:lnTo>
                    <a:pt x="40" y="294"/>
                  </a:lnTo>
                  <a:lnTo>
                    <a:pt x="51" y="298"/>
                  </a:lnTo>
                  <a:lnTo>
                    <a:pt x="62" y="301"/>
                  </a:lnTo>
                  <a:lnTo>
                    <a:pt x="74" y="305"/>
                  </a:lnTo>
                  <a:lnTo>
                    <a:pt x="75" y="309"/>
                  </a:lnTo>
                  <a:lnTo>
                    <a:pt x="75" y="312"/>
                  </a:lnTo>
                  <a:lnTo>
                    <a:pt x="75" y="316"/>
                  </a:lnTo>
                  <a:lnTo>
                    <a:pt x="81" y="322"/>
                  </a:lnTo>
                  <a:lnTo>
                    <a:pt x="85" y="324"/>
                  </a:lnTo>
                  <a:lnTo>
                    <a:pt x="90" y="327"/>
                  </a:lnTo>
                  <a:lnTo>
                    <a:pt x="96" y="331"/>
                  </a:lnTo>
                  <a:lnTo>
                    <a:pt x="99" y="336"/>
                  </a:lnTo>
                  <a:lnTo>
                    <a:pt x="96" y="346"/>
                  </a:lnTo>
                  <a:lnTo>
                    <a:pt x="92" y="357"/>
                  </a:lnTo>
                  <a:lnTo>
                    <a:pt x="110" y="359"/>
                  </a:lnTo>
                  <a:lnTo>
                    <a:pt x="133" y="359"/>
                  </a:lnTo>
                  <a:lnTo>
                    <a:pt x="138" y="364"/>
                  </a:lnTo>
                  <a:lnTo>
                    <a:pt x="142" y="373"/>
                  </a:lnTo>
                  <a:lnTo>
                    <a:pt x="146" y="381"/>
                  </a:lnTo>
                  <a:lnTo>
                    <a:pt x="147" y="388"/>
                  </a:lnTo>
                  <a:lnTo>
                    <a:pt x="160" y="396"/>
                  </a:lnTo>
                  <a:lnTo>
                    <a:pt x="170" y="401"/>
                  </a:lnTo>
                  <a:lnTo>
                    <a:pt x="170" y="405"/>
                  </a:lnTo>
                  <a:lnTo>
                    <a:pt x="171" y="409"/>
                  </a:lnTo>
                  <a:lnTo>
                    <a:pt x="177" y="414"/>
                  </a:lnTo>
                  <a:lnTo>
                    <a:pt x="190" y="423"/>
                  </a:lnTo>
                  <a:close/>
                  <a:moveTo>
                    <a:pt x="425" y="490"/>
                  </a:moveTo>
                  <a:lnTo>
                    <a:pt x="423" y="505"/>
                  </a:lnTo>
                  <a:lnTo>
                    <a:pt x="421" y="519"/>
                  </a:lnTo>
                  <a:lnTo>
                    <a:pt x="423" y="536"/>
                  </a:lnTo>
                  <a:lnTo>
                    <a:pt x="425" y="553"/>
                  </a:lnTo>
                  <a:lnTo>
                    <a:pt x="423" y="554"/>
                  </a:lnTo>
                  <a:lnTo>
                    <a:pt x="421" y="554"/>
                  </a:lnTo>
                  <a:lnTo>
                    <a:pt x="419" y="553"/>
                  </a:lnTo>
                  <a:lnTo>
                    <a:pt x="417" y="551"/>
                  </a:lnTo>
                  <a:lnTo>
                    <a:pt x="413" y="543"/>
                  </a:lnTo>
                  <a:lnTo>
                    <a:pt x="412" y="530"/>
                  </a:lnTo>
                  <a:lnTo>
                    <a:pt x="408" y="527"/>
                  </a:lnTo>
                  <a:lnTo>
                    <a:pt x="404" y="523"/>
                  </a:lnTo>
                  <a:lnTo>
                    <a:pt x="402" y="519"/>
                  </a:lnTo>
                  <a:lnTo>
                    <a:pt x="402" y="516"/>
                  </a:lnTo>
                  <a:lnTo>
                    <a:pt x="404" y="510"/>
                  </a:lnTo>
                  <a:lnTo>
                    <a:pt x="410" y="505"/>
                  </a:lnTo>
                  <a:lnTo>
                    <a:pt x="406" y="497"/>
                  </a:lnTo>
                  <a:lnTo>
                    <a:pt x="404" y="490"/>
                  </a:lnTo>
                  <a:lnTo>
                    <a:pt x="404" y="484"/>
                  </a:lnTo>
                  <a:lnTo>
                    <a:pt x="406" y="481"/>
                  </a:lnTo>
                  <a:lnTo>
                    <a:pt x="415" y="484"/>
                  </a:lnTo>
                  <a:lnTo>
                    <a:pt x="425" y="49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0" name="Freeform 66"/>
            <p:cNvSpPr>
              <a:spLocks/>
            </p:cNvSpPr>
            <p:nvPr/>
          </p:nvSpPr>
          <p:spPr bwMode="auto">
            <a:xfrm>
              <a:off x="4203177" y="2026870"/>
              <a:ext cx="488397" cy="263103"/>
            </a:xfrm>
            <a:custGeom>
              <a:avLst/>
              <a:gdLst>
                <a:gd name="T0" fmla="*/ 48 w 936"/>
                <a:gd name="T1" fmla="*/ 338 h 517"/>
                <a:gd name="T2" fmla="*/ 7 w 936"/>
                <a:gd name="T3" fmla="*/ 366 h 517"/>
                <a:gd name="T4" fmla="*/ 11 w 936"/>
                <a:gd name="T5" fmla="*/ 412 h 517"/>
                <a:gd name="T6" fmla="*/ 24 w 936"/>
                <a:gd name="T7" fmla="*/ 436 h 517"/>
                <a:gd name="T8" fmla="*/ 38 w 936"/>
                <a:gd name="T9" fmla="*/ 414 h 517"/>
                <a:gd name="T10" fmla="*/ 94 w 936"/>
                <a:gd name="T11" fmla="*/ 423 h 517"/>
                <a:gd name="T12" fmla="*/ 110 w 936"/>
                <a:gd name="T13" fmla="*/ 442 h 517"/>
                <a:gd name="T14" fmla="*/ 155 w 936"/>
                <a:gd name="T15" fmla="*/ 434 h 517"/>
                <a:gd name="T16" fmla="*/ 168 w 936"/>
                <a:gd name="T17" fmla="*/ 427 h 517"/>
                <a:gd name="T18" fmla="*/ 175 w 936"/>
                <a:gd name="T19" fmla="*/ 397 h 517"/>
                <a:gd name="T20" fmla="*/ 195 w 936"/>
                <a:gd name="T21" fmla="*/ 401 h 517"/>
                <a:gd name="T22" fmla="*/ 225 w 936"/>
                <a:gd name="T23" fmla="*/ 414 h 517"/>
                <a:gd name="T24" fmla="*/ 251 w 936"/>
                <a:gd name="T25" fmla="*/ 442 h 517"/>
                <a:gd name="T26" fmla="*/ 301 w 936"/>
                <a:gd name="T27" fmla="*/ 475 h 517"/>
                <a:gd name="T28" fmla="*/ 338 w 936"/>
                <a:gd name="T29" fmla="*/ 488 h 517"/>
                <a:gd name="T30" fmla="*/ 412 w 936"/>
                <a:gd name="T31" fmla="*/ 506 h 517"/>
                <a:gd name="T32" fmla="*/ 467 w 936"/>
                <a:gd name="T33" fmla="*/ 508 h 517"/>
                <a:gd name="T34" fmla="*/ 495 w 936"/>
                <a:gd name="T35" fmla="*/ 488 h 517"/>
                <a:gd name="T36" fmla="*/ 502 w 936"/>
                <a:gd name="T37" fmla="*/ 460 h 517"/>
                <a:gd name="T38" fmla="*/ 552 w 936"/>
                <a:gd name="T39" fmla="*/ 401 h 517"/>
                <a:gd name="T40" fmla="*/ 581 w 936"/>
                <a:gd name="T41" fmla="*/ 346 h 517"/>
                <a:gd name="T42" fmla="*/ 605 w 936"/>
                <a:gd name="T43" fmla="*/ 325 h 517"/>
                <a:gd name="T44" fmla="*/ 624 w 936"/>
                <a:gd name="T45" fmla="*/ 303 h 517"/>
                <a:gd name="T46" fmla="*/ 659 w 936"/>
                <a:gd name="T47" fmla="*/ 329 h 517"/>
                <a:gd name="T48" fmla="*/ 698 w 936"/>
                <a:gd name="T49" fmla="*/ 303 h 517"/>
                <a:gd name="T50" fmla="*/ 750 w 936"/>
                <a:gd name="T51" fmla="*/ 298 h 517"/>
                <a:gd name="T52" fmla="*/ 785 w 936"/>
                <a:gd name="T53" fmla="*/ 266 h 517"/>
                <a:gd name="T54" fmla="*/ 873 w 936"/>
                <a:gd name="T55" fmla="*/ 251 h 517"/>
                <a:gd name="T56" fmla="*/ 921 w 936"/>
                <a:gd name="T57" fmla="*/ 233 h 517"/>
                <a:gd name="T58" fmla="*/ 936 w 936"/>
                <a:gd name="T59" fmla="*/ 159 h 517"/>
                <a:gd name="T60" fmla="*/ 875 w 936"/>
                <a:gd name="T61" fmla="*/ 166 h 517"/>
                <a:gd name="T62" fmla="*/ 814 w 936"/>
                <a:gd name="T63" fmla="*/ 187 h 517"/>
                <a:gd name="T64" fmla="*/ 772 w 936"/>
                <a:gd name="T65" fmla="*/ 198 h 517"/>
                <a:gd name="T66" fmla="*/ 569 w 936"/>
                <a:gd name="T67" fmla="*/ 61 h 517"/>
                <a:gd name="T68" fmla="*/ 521 w 936"/>
                <a:gd name="T69" fmla="*/ 15 h 517"/>
                <a:gd name="T70" fmla="*/ 432 w 936"/>
                <a:gd name="T71" fmla="*/ 4 h 517"/>
                <a:gd name="T72" fmla="*/ 369 w 936"/>
                <a:gd name="T73" fmla="*/ 26 h 517"/>
                <a:gd name="T74" fmla="*/ 343 w 936"/>
                <a:gd name="T75" fmla="*/ 102 h 517"/>
                <a:gd name="T76" fmla="*/ 336 w 936"/>
                <a:gd name="T77" fmla="*/ 128 h 517"/>
                <a:gd name="T78" fmla="*/ 314 w 936"/>
                <a:gd name="T79" fmla="*/ 113 h 517"/>
                <a:gd name="T80" fmla="*/ 262 w 936"/>
                <a:gd name="T81" fmla="*/ 96 h 517"/>
                <a:gd name="T82" fmla="*/ 253 w 936"/>
                <a:gd name="T83" fmla="*/ 70 h 517"/>
                <a:gd name="T84" fmla="*/ 203 w 936"/>
                <a:gd name="T85" fmla="*/ 26 h 517"/>
                <a:gd name="T86" fmla="*/ 181 w 936"/>
                <a:gd name="T87" fmla="*/ 17 h 517"/>
                <a:gd name="T88" fmla="*/ 190 w 936"/>
                <a:gd name="T89" fmla="*/ 50 h 517"/>
                <a:gd name="T90" fmla="*/ 203 w 936"/>
                <a:gd name="T91" fmla="*/ 85 h 517"/>
                <a:gd name="T92" fmla="*/ 162 w 936"/>
                <a:gd name="T93" fmla="*/ 148 h 517"/>
                <a:gd name="T94" fmla="*/ 144 w 936"/>
                <a:gd name="T95" fmla="*/ 164 h 517"/>
                <a:gd name="T96" fmla="*/ 127 w 936"/>
                <a:gd name="T97" fmla="*/ 179 h 517"/>
                <a:gd name="T98" fmla="*/ 138 w 936"/>
                <a:gd name="T99" fmla="*/ 194 h 517"/>
                <a:gd name="T100" fmla="*/ 181 w 936"/>
                <a:gd name="T101" fmla="*/ 196 h 517"/>
                <a:gd name="T102" fmla="*/ 212 w 936"/>
                <a:gd name="T103" fmla="*/ 227 h 517"/>
                <a:gd name="T104" fmla="*/ 144 w 936"/>
                <a:gd name="T105" fmla="*/ 262 h 517"/>
                <a:gd name="T106" fmla="*/ 146 w 936"/>
                <a:gd name="T107" fmla="*/ 279 h 517"/>
                <a:gd name="T108" fmla="*/ 109 w 936"/>
                <a:gd name="T109" fmla="*/ 301 h 517"/>
                <a:gd name="T110" fmla="*/ 66 w 936"/>
                <a:gd name="T111" fmla="*/ 294 h 51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36"/>
                <a:gd name="T169" fmla="*/ 0 h 517"/>
                <a:gd name="T170" fmla="*/ 936 w 936"/>
                <a:gd name="T171" fmla="*/ 517 h 51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36" h="517">
                  <a:moveTo>
                    <a:pt x="66" y="294"/>
                  </a:moveTo>
                  <a:lnTo>
                    <a:pt x="61" y="305"/>
                  </a:lnTo>
                  <a:lnTo>
                    <a:pt x="55" y="312"/>
                  </a:lnTo>
                  <a:lnTo>
                    <a:pt x="51" y="325"/>
                  </a:lnTo>
                  <a:lnTo>
                    <a:pt x="48" y="338"/>
                  </a:lnTo>
                  <a:lnTo>
                    <a:pt x="35" y="344"/>
                  </a:lnTo>
                  <a:lnTo>
                    <a:pt x="20" y="349"/>
                  </a:lnTo>
                  <a:lnTo>
                    <a:pt x="18" y="355"/>
                  </a:lnTo>
                  <a:lnTo>
                    <a:pt x="16" y="360"/>
                  </a:lnTo>
                  <a:lnTo>
                    <a:pt x="7" y="366"/>
                  </a:lnTo>
                  <a:lnTo>
                    <a:pt x="0" y="373"/>
                  </a:lnTo>
                  <a:lnTo>
                    <a:pt x="9" y="386"/>
                  </a:lnTo>
                  <a:lnTo>
                    <a:pt x="18" y="399"/>
                  </a:lnTo>
                  <a:lnTo>
                    <a:pt x="16" y="405"/>
                  </a:lnTo>
                  <a:lnTo>
                    <a:pt x="11" y="412"/>
                  </a:lnTo>
                  <a:lnTo>
                    <a:pt x="9" y="416"/>
                  </a:lnTo>
                  <a:lnTo>
                    <a:pt x="9" y="421"/>
                  </a:lnTo>
                  <a:lnTo>
                    <a:pt x="13" y="427"/>
                  </a:lnTo>
                  <a:lnTo>
                    <a:pt x="18" y="434"/>
                  </a:lnTo>
                  <a:lnTo>
                    <a:pt x="24" y="436"/>
                  </a:lnTo>
                  <a:lnTo>
                    <a:pt x="29" y="436"/>
                  </a:lnTo>
                  <a:lnTo>
                    <a:pt x="31" y="434"/>
                  </a:lnTo>
                  <a:lnTo>
                    <a:pt x="33" y="431"/>
                  </a:lnTo>
                  <a:lnTo>
                    <a:pt x="37" y="421"/>
                  </a:lnTo>
                  <a:lnTo>
                    <a:pt x="38" y="414"/>
                  </a:lnTo>
                  <a:lnTo>
                    <a:pt x="46" y="414"/>
                  </a:lnTo>
                  <a:lnTo>
                    <a:pt x="55" y="416"/>
                  </a:lnTo>
                  <a:lnTo>
                    <a:pt x="68" y="418"/>
                  </a:lnTo>
                  <a:lnTo>
                    <a:pt x="79" y="421"/>
                  </a:lnTo>
                  <a:lnTo>
                    <a:pt x="94" y="423"/>
                  </a:lnTo>
                  <a:lnTo>
                    <a:pt x="107" y="427"/>
                  </a:lnTo>
                  <a:lnTo>
                    <a:pt x="110" y="432"/>
                  </a:lnTo>
                  <a:lnTo>
                    <a:pt x="109" y="438"/>
                  </a:lnTo>
                  <a:lnTo>
                    <a:pt x="109" y="440"/>
                  </a:lnTo>
                  <a:lnTo>
                    <a:pt x="110" y="442"/>
                  </a:lnTo>
                  <a:lnTo>
                    <a:pt x="112" y="445"/>
                  </a:lnTo>
                  <a:lnTo>
                    <a:pt x="116" y="445"/>
                  </a:lnTo>
                  <a:lnTo>
                    <a:pt x="129" y="438"/>
                  </a:lnTo>
                  <a:lnTo>
                    <a:pt x="142" y="429"/>
                  </a:lnTo>
                  <a:lnTo>
                    <a:pt x="155" y="434"/>
                  </a:lnTo>
                  <a:lnTo>
                    <a:pt x="162" y="440"/>
                  </a:lnTo>
                  <a:lnTo>
                    <a:pt x="166" y="438"/>
                  </a:lnTo>
                  <a:lnTo>
                    <a:pt x="168" y="434"/>
                  </a:lnTo>
                  <a:lnTo>
                    <a:pt x="168" y="431"/>
                  </a:lnTo>
                  <a:lnTo>
                    <a:pt x="168" y="427"/>
                  </a:lnTo>
                  <a:lnTo>
                    <a:pt x="164" y="419"/>
                  </a:lnTo>
                  <a:lnTo>
                    <a:pt x="162" y="412"/>
                  </a:lnTo>
                  <a:lnTo>
                    <a:pt x="164" y="407"/>
                  </a:lnTo>
                  <a:lnTo>
                    <a:pt x="170" y="401"/>
                  </a:lnTo>
                  <a:lnTo>
                    <a:pt x="175" y="397"/>
                  </a:lnTo>
                  <a:lnTo>
                    <a:pt x="181" y="395"/>
                  </a:lnTo>
                  <a:lnTo>
                    <a:pt x="184" y="399"/>
                  </a:lnTo>
                  <a:lnTo>
                    <a:pt x="190" y="405"/>
                  </a:lnTo>
                  <a:lnTo>
                    <a:pt x="192" y="403"/>
                  </a:lnTo>
                  <a:lnTo>
                    <a:pt x="195" y="401"/>
                  </a:lnTo>
                  <a:lnTo>
                    <a:pt x="197" y="403"/>
                  </a:lnTo>
                  <a:lnTo>
                    <a:pt x="199" y="405"/>
                  </a:lnTo>
                  <a:lnTo>
                    <a:pt x="205" y="407"/>
                  </a:lnTo>
                  <a:lnTo>
                    <a:pt x="214" y="405"/>
                  </a:lnTo>
                  <a:lnTo>
                    <a:pt x="225" y="414"/>
                  </a:lnTo>
                  <a:lnTo>
                    <a:pt x="234" y="429"/>
                  </a:lnTo>
                  <a:lnTo>
                    <a:pt x="232" y="434"/>
                  </a:lnTo>
                  <a:lnTo>
                    <a:pt x="232" y="442"/>
                  </a:lnTo>
                  <a:lnTo>
                    <a:pt x="242" y="442"/>
                  </a:lnTo>
                  <a:lnTo>
                    <a:pt x="251" y="442"/>
                  </a:lnTo>
                  <a:lnTo>
                    <a:pt x="262" y="456"/>
                  </a:lnTo>
                  <a:lnTo>
                    <a:pt x="271" y="473"/>
                  </a:lnTo>
                  <a:lnTo>
                    <a:pt x="280" y="471"/>
                  </a:lnTo>
                  <a:lnTo>
                    <a:pt x="291" y="469"/>
                  </a:lnTo>
                  <a:lnTo>
                    <a:pt x="301" y="475"/>
                  </a:lnTo>
                  <a:lnTo>
                    <a:pt x="310" y="480"/>
                  </a:lnTo>
                  <a:lnTo>
                    <a:pt x="315" y="480"/>
                  </a:lnTo>
                  <a:lnTo>
                    <a:pt x="321" y="480"/>
                  </a:lnTo>
                  <a:lnTo>
                    <a:pt x="328" y="484"/>
                  </a:lnTo>
                  <a:lnTo>
                    <a:pt x="338" y="488"/>
                  </a:lnTo>
                  <a:lnTo>
                    <a:pt x="352" y="484"/>
                  </a:lnTo>
                  <a:lnTo>
                    <a:pt x="367" y="480"/>
                  </a:lnTo>
                  <a:lnTo>
                    <a:pt x="386" y="490"/>
                  </a:lnTo>
                  <a:lnTo>
                    <a:pt x="402" y="501"/>
                  </a:lnTo>
                  <a:lnTo>
                    <a:pt x="412" y="506"/>
                  </a:lnTo>
                  <a:lnTo>
                    <a:pt x="421" y="510"/>
                  </a:lnTo>
                  <a:lnTo>
                    <a:pt x="430" y="516"/>
                  </a:lnTo>
                  <a:lnTo>
                    <a:pt x="439" y="517"/>
                  </a:lnTo>
                  <a:lnTo>
                    <a:pt x="452" y="514"/>
                  </a:lnTo>
                  <a:lnTo>
                    <a:pt x="467" y="508"/>
                  </a:lnTo>
                  <a:lnTo>
                    <a:pt x="478" y="503"/>
                  </a:lnTo>
                  <a:lnTo>
                    <a:pt x="487" y="497"/>
                  </a:lnTo>
                  <a:lnTo>
                    <a:pt x="493" y="492"/>
                  </a:lnTo>
                  <a:lnTo>
                    <a:pt x="495" y="488"/>
                  </a:lnTo>
                  <a:lnTo>
                    <a:pt x="498" y="482"/>
                  </a:lnTo>
                  <a:lnTo>
                    <a:pt x="498" y="477"/>
                  </a:lnTo>
                  <a:lnTo>
                    <a:pt x="498" y="471"/>
                  </a:lnTo>
                  <a:lnTo>
                    <a:pt x="498" y="466"/>
                  </a:lnTo>
                  <a:lnTo>
                    <a:pt x="502" y="460"/>
                  </a:lnTo>
                  <a:lnTo>
                    <a:pt x="506" y="455"/>
                  </a:lnTo>
                  <a:lnTo>
                    <a:pt x="515" y="442"/>
                  </a:lnTo>
                  <a:lnTo>
                    <a:pt x="526" y="421"/>
                  </a:lnTo>
                  <a:lnTo>
                    <a:pt x="539" y="410"/>
                  </a:lnTo>
                  <a:lnTo>
                    <a:pt x="552" y="401"/>
                  </a:lnTo>
                  <a:lnTo>
                    <a:pt x="563" y="390"/>
                  </a:lnTo>
                  <a:lnTo>
                    <a:pt x="572" y="379"/>
                  </a:lnTo>
                  <a:lnTo>
                    <a:pt x="578" y="368"/>
                  </a:lnTo>
                  <a:lnTo>
                    <a:pt x="580" y="359"/>
                  </a:lnTo>
                  <a:lnTo>
                    <a:pt x="581" y="346"/>
                  </a:lnTo>
                  <a:lnTo>
                    <a:pt x="581" y="336"/>
                  </a:lnTo>
                  <a:lnTo>
                    <a:pt x="593" y="333"/>
                  </a:lnTo>
                  <a:lnTo>
                    <a:pt x="600" y="331"/>
                  </a:lnTo>
                  <a:lnTo>
                    <a:pt x="604" y="329"/>
                  </a:lnTo>
                  <a:lnTo>
                    <a:pt x="605" y="325"/>
                  </a:lnTo>
                  <a:lnTo>
                    <a:pt x="607" y="322"/>
                  </a:lnTo>
                  <a:lnTo>
                    <a:pt x="607" y="318"/>
                  </a:lnTo>
                  <a:lnTo>
                    <a:pt x="613" y="312"/>
                  </a:lnTo>
                  <a:lnTo>
                    <a:pt x="618" y="307"/>
                  </a:lnTo>
                  <a:lnTo>
                    <a:pt x="624" y="303"/>
                  </a:lnTo>
                  <a:lnTo>
                    <a:pt x="630" y="303"/>
                  </a:lnTo>
                  <a:lnTo>
                    <a:pt x="635" y="316"/>
                  </a:lnTo>
                  <a:lnTo>
                    <a:pt x="639" y="336"/>
                  </a:lnTo>
                  <a:lnTo>
                    <a:pt x="650" y="333"/>
                  </a:lnTo>
                  <a:lnTo>
                    <a:pt x="659" y="329"/>
                  </a:lnTo>
                  <a:lnTo>
                    <a:pt x="666" y="323"/>
                  </a:lnTo>
                  <a:lnTo>
                    <a:pt x="674" y="318"/>
                  </a:lnTo>
                  <a:lnTo>
                    <a:pt x="681" y="312"/>
                  </a:lnTo>
                  <a:lnTo>
                    <a:pt x="689" y="307"/>
                  </a:lnTo>
                  <a:lnTo>
                    <a:pt x="698" y="303"/>
                  </a:lnTo>
                  <a:lnTo>
                    <a:pt x="707" y="298"/>
                  </a:lnTo>
                  <a:lnTo>
                    <a:pt x="714" y="298"/>
                  </a:lnTo>
                  <a:lnTo>
                    <a:pt x="722" y="298"/>
                  </a:lnTo>
                  <a:lnTo>
                    <a:pt x="737" y="298"/>
                  </a:lnTo>
                  <a:lnTo>
                    <a:pt x="750" y="298"/>
                  </a:lnTo>
                  <a:lnTo>
                    <a:pt x="759" y="288"/>
                  </a:lnTo>
                  <a:lnTo>
                    <a:pt x="768" y="279"/>
                  </a:lnTo>
                  <a:lnTo>
                    <a:pt x="772" y="274"/>
                  </a:lnTo>
                  <a:lnTo>
                    <a:pt x="777" y="270"/>
                  </a:lnTo>
                  <a:lnTo>
                    <a:pt x="785" y="266"/>
                  </a:lnTo>
                  <a:lnTo>
                    <a:pt x="794" y="262"/>
                  </a:lnTo>
                  <a:lnTo>
                    <a:pt x="822" y="266"/>
                  </a:lnTo>
                  <a:lnTo>
                    <a:pt x="844" y="272"/>
                  </a:lnTo>
                  <a:lnTo>
                    <a:pt x="860" y="262"/>
                  </a:lnTo>
                  <a:lnTo>
                    <a:pt x="873" y="251"/>
                  </a:lnTo>
                  <a:lnTo>
                    <a:pt x="897" y="249"/>
                  </a:lnTo>
                  <a:lnTo>
                    <a:pt x="912" y="246"/>
                  </a:lnTo>
                  <a:lnTo>
                    <a:pt x="914" y="238"/>
                  </a:lnTo>
                  <a:lnTo>
                    <a:pt x="916" y="233"/>
                  </a:lnTo>
                  <a:lnTo>
                    <a:pt x="921" y="233"/>
                  </a:lnTo>
                  <a:lnTo>
                    <a:pt x="931" y="231"/>
                  </a:lnTo>
                  <a:lnTo>
                    <a:pt x="923" y="205"/>
                  </a:lnTo>
                  <a:lnTo>
                    <a:pt x="914" y="183"/>
                  </a:lnTo>
                  <a:lnTo>
                    <a:pt x="923" y="170"/>
                  </a:lnTo>
                  <a:lnTo>
                    <a:pt x="936" y="159"/>
                  </a:lnTo>
                  <a:lnTo>
                    <a:pt x="923" y="155"/>
                  </a:lnTo>
                  <a:lnTo>
                    <a:pt x="910" y="153"/>
                  </a:lnTo>
                  <a:lnTo>
                    <a:pt x="894" y="157"/>
                  </a:lnTo>
                  <a:lnTo>
                    <a:pt x="883" y="161"/>
                  </a:lnTo>
                  <a:lnTo>
                    <a:pt x="875" y="166"/>
                  </a:lnTo>
                  <a:lnTo>
                    <a:pt x="870" y="168"/>
                  </a:lnTo>
                  <a:lnTo>
                    <a:pt x="853" y="164"/>
                  </a:lnTo>
                  <a:lnTo>
                    <a:pt x="838" y="163"/>
                  </a:lnTo>
                  <a:lnTo>
                    <a:pt x="827" y="172"/>
                  </a:lnTo>
                  <a:lnTo>
                    <a:pt x="814" y="187"/>
                  </a:lnTo>
                  <a:lnTo>
                    <a:pt x="807" y="194"/>
                  </a:lnTo>
                  <a:lnTo>
                    <a:pt x="796" y="198"/>
                  </a:lnTo>
                  <a:lnTo>
                    <a:pt x="788" y="200"/>
                  </a:lnTo>
                  <a:lnTo>
                    <a:pt x="781" y="200"/>
                  </a:lnTo>
                  <a:lnTo>
                    <a:pt x="772" y="198"/>
                  </a:lnTo>
                  <a:lnTo>
                    <a:pt x="761" y="196"/>
                  </a:lnTo>
                  <a:lnTo>
                    <a:pt x="711" y="163"/>
                  </a:lnTo>
                  <a:lnTo>
                    <a:pt x="637" y="115"/>
                  </a:lnTo>
                  <a:lnTo>
                    <a:pt x="602" y="89"/>
                  </a:lnTo>
                  <a:lnTo>
                    <a:pt x="569" y="61"/>
                  </a:lnTo>
                  <a:lnTo>
                    <a:pt x="556" y="48"/>
                  </a:lnTo>
                  <a:lnTo>
                    <a:pt x="545" y="35"/>
                  </a:lnTo>
                  <a:lnTo>
                    <a:pt x="537" y="24"/>
                  </a:lnTo>
                  <a:lnTo>
                    <a:pt x="533" y="13"/>
                  </a:lnTo>
                  <a:lnTo>
                    <a:pt x="521" y="15"/>
                  </a:lnTo>
                  <a:lnTo>
                    <a:pt x="506" y="17"/>
                  </a:lnTo>
                  <a:lnTo>
                    <a:pt x="489" y="15"/>
                  </a:lnTo>
                  <a:lnTo>
                    <a:pt x="471" y="11"/>
                  </a:lnTo>
                  <a:lnTo>
                    <a:pt x="450" y="7"/>
                  </a:lnTo>
                  <a:lnTo>
                    <a:pt x="432" y="4"/>
                  </a:lnTo>
                  <a:lnTo>
                    <a:pt x="413" y="0"/>
                  </a:lnTo>
                  <a:lnTo>
                    <a:pt x="397" y="0"/>
                  </a:lnTo>
                  <a:lnTo>
                    <a:pt x="369" y="26"/>
                  </a:lnTo>
                  <a:lnTo>
                    <a:pt x="343" y="52"/>
                  </a:lnTo>
                  <a:lnTo>
                    <a:pt x="345" y="63"/>
                  </a:lnTo>
                  <a:lnTo>
                    <a:pt x="352" y="74"/>
                  </a:lnTo>
                  <a:lnTo>
                    <a:pt x="347" y="85"/>
                  </a:lnTo>
                  <a:lnTo>
                    <a:pt x="343" y="102"/>
                  </a:lnTo>
                  <a:lnTo>
                    <a:pt x="349" y="111"/>
                  </a:lnTo>
                  <a:lnTo>
                    <a:pt x="354" y="120"/>
                  </a:lnTo>
                  <a:lnTo>
                    <a:pt x="349" y="124"/>
                  </a:lnTo>
                  <a:lnTo>
                    <a:pt x="343" y="126"/>
                  </a:lnTo>
                  <a:lnTo>
                    <a:pt x="336" y="128"/>
                  </a:lnTo>
                  <a:lnTo>
                    <a:pt x="328" y="128"/>
                  </a:lnTo>
                  <a:lnTo>
                    <a:pt x="327" y="120"/>
                  </a:lnTo>
                  <a:lnTo>
                    <a:pt x="323" y="113"/>
                  </a:lnTo>
                  <a:lnTo>
                    <a:pt x="317" y="113"/>
                  </a:lnTo>
                  <a:lnTo>
                    <a:pt x="314" y="113"/>
                  </a:lnTo>
                  <a:lnTo>
                    <a:pt x="301" y="107"/>
                  </a:lnTo>
                  <a:lnTo>
                    <a:pt x="290" y="102"/>
                  </a:lnTo>
                  <a:lnTo>
                    <a:pt x="275" y="100"/>
                  </a:lnTo>
                  <a:lnTo>
                    <a:pt x="264" y="100"/>
                  </a:lnTo>
                  <a:lnTo>
                    <a:pt x="262" y="96"/>
                  </a:lnTo>
                  <a:lnTo>
                    <a:pt x="264" y="89"/>
                  </a:lnTo>
                  <a:lnTo>
                    <a:pt x="262" y="85"/>
                  </a:lnTo>
                  <a:lnTo>
                    <a:pt x="262" y="79"/>
                  </a:lnTo>
                  <a:lnTo>
                    <a:pt x="258" y="76"/>
                  </a:lnTo>
                  <a:lnTo>
                    <a:pt x="253" y="70"/>
                  </a:lnTo>
                  <a:lnTo>
                    <a:pt x="234" y="61"/>
                  </a:lnTo>
                  <a:lnTo>
                    <a:pt x="219" y="50"/>
                  </a:lnTo>
                  <a:lnTo>
                    <a:pt x="212" y="39"/>
                  </a:lnTo>
                  <a:lnTo>
                    <a:pt x="206" y="30"/>
                  </a:lnTo>
                  <a:lnTo>
                    <a:pt x="203" y="26"/>
                  </a:lnTo>
                  <a:lnTo>
                    <a:pt x="199" y="22"/>
                  </a:lnTo>
                  <a:lnTo>
                    <a:pt x="192" y="19"/>
                  </a:lnTo>
                  <a:lnTo>
                    <a:pt x="184" y="15"/>
                  </a:lnTo>
                  <a:lnTo>
                    <a:pt x="182" y="15"/>
                  </a:lnTo>
                  <a:lnTo>
                    <a:pt x="181" y="17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79" y="31"/>
                  </a:lnTo>
                  <a:lnTo>
                    <a:pt x="181" y="37"/>
                  </a:lnTo>
                  <a:lnTo>
                    <a:pt x="190" y="50"/>
                  </a:lnTo>
                  <a:lnTo>
                    <a:pt x="197" y="61"/>
                  </a:lnTo>
                  <a:lnTo>
                    <a:pt x="201" y="67"/>
                  </a:lnTo>
                  <a:lnTo>
                    <a:pt x="203" y="74"/>
                  </a:lnTo>
                  <a:lnTo>
                    <a:pt x="203" y="79"/>
                  </a:lnTo>
                  <a:lnTo>
                    <a:pt x="203" y="85"/>
                  </a:lnTo>
                  <a:lnTo>
                    <a:pt x="186" y="98"/>
                  </a:lnTo>
                  <a:lnTo>
                    <a:pt x="171" y="109"/>
                  </a:lnTo>
                  <a:lnTo>
                    <a:pt x="175" y="129"/>
                  </a:lnTo>
                  <a:lnTo>
                    <a:pt x="177" y="146"/>
                  </a:lnTo>
                  <a:lnTo>
                    <a:pt x="162" y="148"/>
                  </a:lnTo>
                  <a:lnTo>
                    <a:pt x="151" y="148"/>
                  </a:lnTo>
                  <a:lnTo>
                    <a:pt x="147" y="150"/>
                  </a:lnTo>
                  <a:lnTo>
                    <a:pt x="146" y="153"/>
                  </a:lnTo>
                  <a:lnTo>
                    <a:pt x="144" y="159"/>
                  </a:lnTo>
                  <a:lnTo>
                    <a:pt x="144" y="164"/>
                  </a:lnTo>
                  <a:lnTo>
                    <a:pt x="142" y="168"/>
                  </a:lnTo>
                  <a:lnTo>
                    <a:pt x="138" y="170"/>
                  </a:lnTo>
                  <a:lnTo>
                    <a:pt x="134" y="172"/>
                  </a:lnTo>
                  <a:lnTo>
                    <a:pt x="127" y="172"/>
                  </a:lnTo>
                  <a:lnTo>
                    <a:pt x="127" y="179"/>
                  </a:lnTo>
                  <a:lnTo>
                    <a:pt x="125" y="187"/>
                  </a:lnTo>
                  <a:lnTo>
                    <a:pt x="123" y="192"/>
                  </a:lnTo>
                  <a:lnTo>
                    <a:pt x="120" y="196"/>
                  </a:lnTo>
                  <a:lnTo>
                    <a:pt x="127" y="198"/>
                  </a:lnTo>
                  <a:lnTo>
                    <a:pt x="138" y="194"/>
                  </a:lnTo>
                  <a:lnTo>
                    <a:pt x="144" y="201"/>
                  </a:lnTo>
                  <a:lnTo>
                    <a:pt x="151" y="205"/>
                  </a:lnTo>
                  <a:lnTo>
                    <a:pt x="170" y="196"/>
                  </a:lnTo>
                  <a:lnTo>
                    <a:pt x="181" y="192"/>
                  </a:lnTo>
                  <a:lnTo>
                    <a:pt x="181" y="196"/>
                  </a:lnTo>
                  <a:lnTo>
                    <a:pt x="184" y="198"/>
                  </a:lnTo>
                  <a:lnTo>
                    <a:pt x="192" y="194"/>
                  </a:lnTo>
                  <a:lnTo>
                    <a:pt x="201" y="190"/>
                  </a:lnTo>
                  <a:lnTo>
                    <a:pt x="206" y="209"/>
                  </a:lnTo>
                  <a:lnTo>
                    <a:pt x="212" y="227"/>
                  </a:lnTo>
                  <a:lnTo>
                    <a:pt x="195" y="233"/>
                  </a:lnTo>
                  <a:lnTo>
                    <a:pt x="179" y="242"/>
                  </a:lnTo>
                  <a:lnTo>
                    <a:pt x="162" y="251"/>
                  </a:lnTo>
                  <a:lnTo>
                    <a:pt x="147" y="257"/>
                  </a:lnTo>
                  <a:lnTo>
                    <a:pt x="144" y="262"/>
                  </a:lnTo>
                  <a:lnTo>
                    <a:pt x="140" y="266"/>
                  </a:lnTo>
                  <a:lnTo>
                    <a:pt x="140" y="268"/>
                  </a:lnTo>
                  <a:lnTo>
                    <a:pt x="142" y="272"/>
                  </a:lnTo>
                  <a:lnTo>
                    <a:pt x="146" y="275"/>
                  </a:lnTo>
                  <a:lnTo>
                    <a:pt x="146" y="279"/>
                  </a:lnTo>
                  <a:lnTo>
                    <a:pt x="142" y="286"/>
                  </a:lnTo>
                  <a:lnTo>
                    <a:pt x="136" y="294"/>
                  </a:lnTo>
                  <a:lnTo>
                    <a:pt x="129" y="299"/>
                  </a:lnTo>
                  <a:lnTo>
                    <a:pt x="120" y="301"/>
                  </a:lnTo>
                  <a:lnTo>
                    <a:pt x="109" y="301"/>
                  </a:lnTo>
                  <a:lnTo>
                    <a:pt x="103" y="298"/>
                  </a:lnTo>
                  <a:lnTo>
                    <a:pt x="97" y="292"/>
                  </a:lnTo>
                  <a:lnTo>
                    <a:pt x="94" y="290"/>
                  </a:lnTo>
                  <a:lnTo>
                    <a:pt x="81" y="292"/>
                  </a:lnTo>
                  <a:lnTo>
                    <a:pt x="66" y="29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1" name="Freeform 67"/>
            <p:cNvSpPr>
              <a:spLocks/>
            </p:cNvSpPr>
            <p:nvPr/>
          </p:nvSpPr>
          <p:spPr bwMode="auto">
            <a:xfrm>
              <a:off x="3541545" y="2443661"/>
              <a:ext cx="49570" cy="74300"/>
            </a:xfrm>
            <a:custGeom>
              <a:avLst/>
              <a:gdLst>
                <a:gd name="T0" fmla="*/ 48 w 95"/>
                <a:gd name="T1" fmla="*/ 94 h 146"/>
                <a:gd name="T2" fmla="*/ 30 w 95"/>
                <a:gd name="T3" fmla="*/ 103 h 146"/>
                <a:gd name="T4" fmla="*/ 10 w 95"/>
                <a:gd name="T5" fmla="*/ 103 h 146"/>
                <a:gd name="T6" fmla="*/ 0 w 95"/>
                <a:gd name="T7" fmla="*/ 112 h 146"/>
                <a:gd name="T8" fmla="*/ 2 w 95"/>
                <a:gd name="T9" fmla="*/ 127 h 146"/>
                <a:gd name="T10" fmla="*/ 0 w 95"/>
                <a:gd name="T11" fmla="*/ 138 h 146"/>
                <a:gd name="T12" fmla="*/ 10 w 95"/>
                <a:gd name="T13" fmla="*/ 146 h 146"/>
                <a:gd name="T14" fmla="*/ 21 w 95"/>
                <a:gd name="T15" fmla="*/ 140 h 146"/>
                <a:gd name="T16" fmla="*/ 37 w 95"/>
                <a:gd name="T17" fmla="*/ 131 h 146"/>
                <a:gd name="T18" fmla="*/ 54 w 95"/>
                <a:gd name="T19" fmla="*/ 120 h 146"/>
                <a:gd name="T20" fmla="*/ 58 w 95"/>
                <a:gd name="T21" fmla="*/ 122 h 146"/>
                <a:gd name="T22" fmla="*/ 54 w 95"/>
                <a:gd name="T23" fmla="*/ 129 h 146"/>
                <a:gd name="T24" fmla="*/ 56 w 95"/>
                <a:gd name="T25" fmla="*/ 136 h 146"/>
                <a:gd name="T26" fmla="*/ 61 w 95"/>
                <a:gd name="T27" fmla="*/ 140 h 146"/>
                <a:gd name="T28" fmla="*/ 67 w 95"/>
                <a:gd name="T29" fmla="*/ 140 h 146"/>
                <a:gd name="T30" fmla="*/ 74 w 95"/>
                <a:gd name="T31" fmla="*/ 135 h 146"/>
                <a:gd name="T32" fmla="*/ 87 w 95"/>
                <a:gd name="T33" fmla="*/ 120 h 146"/>
                <a:gd name="T34" fmla="*/ 95 w 95"/>
                <a:gd name="T35" fmla="*/ 96 h 146"/>
                <a:gd name="T36" fmla="*/ 87 w 95"/>
                <a:gd name="T37" fmla="*/ 66 h 146"/>
                <a:gd name="T38" fmla="*/ 74 w 95"/>
                <a:gd name="T39" fmla="*/ 48 h 146"/>
                <a:gd name="T40" fmla="*/ 54 w 95"/>
                <a:gd name="T41" fmla="*/ 38 h 146"/>
                <a:gd name="T42" fmla="*/ 39 w 95"/>
                <a:gd name="T43" fmla="*/ 20 h 146"/>
                <a:gd name="T44" fmla="*/ 32 w 95"/>
                <a:gd name="T45" fmla="*/ 5 h 146"/>
                <a:gd name="T46" fmla="*/ 26 w 95"/>
                <a:gd name="T47" fmla="*/ 0 h 146"/>
                <a:gd name="T48" fmla="*/ 21 w 95"/>
                <a:gd name="T49" fmla="*/ 3 h 146"/>
                <a:gd name="T50" fmla="*/ 19 w 95"/>
                <a:gd name="T51" fmla="*/ 13 h 146"/>
                <a:gd name="T52" fmla="*/ 26 w 95"/>
                <a:gd name="T53" fmla="*/ 27 h 146"/>
                <a:gd name="T54" fmla="*/ 34 w 95"/>
                <a:gd name="T55" fmla="*/ 40 h 146"/>
                <a:gd name="T56" fmla="*/ 37 w 95"/>
                <a:gd name="T57" fmla="*/ 55 h 146"/>
                <a:gd name="T58" fmla="*/ 52 w 95"/>
                <a:gd name="T59" fmla="*/ 57 h 146"/>
                <a:gd name="T60" fmla="*/ 63 w 95"/>
                <a:gd name="T61" fmla="*/ 62 h 146"/>
                <a:gd name="T62" fmla="*/ 59 w 95"/>
                <a:gd name="T63" fmla="*/ 79 h 1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5"/>
                <a:gd name="T97" fmla="*/ 0 h 146"/>
                <a:gd name="T98" fmla="*/ 95 w 95"/>
                <a:gd name="T99" fmla="*/ 146 h 1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5" h="146">
                  <a:moveTo>
                    <a:pt x="56" y="86"/>
                  </a:moveTo>
                  <a:lnTo>
                    <a:pt x="48" y="94"/>
                  </a:lnTo>
                  <a:lnTo>
                    <a:pt x="39" y="99"/>
                  </a:lnTo>
                  <a:lnTo>
                    <a:pt x="30" y="103"/>
                  </a:lnTo>
                  <a:lnTo>
                    <a:pt x="21" y="105"/>
                  </a:lnTo>
                  <a:lnTo>
                    <a:pt x="10" y="103"/>
                  </a:lnTo>
                  <a:lnTo>
                    <a:pt x="0" y="105"/>
                  </a:lnTo>
                  <a:lnTo>
                    <a:pt x="0" y="112"/>
                  </a:lnTo>
                  <a:lnTo>
                    <a:pt x="4" y="120"/>
                  </a:lnTo>
                  <a:lnTo>
                    <a:pt x="2" y="127"/>
                  </a:lnTo>
                  <a:lnTo>
                    <a:pt x="2" y="133"/>
                  </a:lnTo>
                  <a:lnTo>
                    <a:pt x="0" y="138"/>
                  </a:lnTo>
                  <a:lnTo>
                    <a:pt x="4" y="144"/>
                  </a:lnTo>
                  <a:lnTo>
                    <a:pt x="10" y="146"/>
                  </a:lnTo>
                  <a:lnTo>
                    <a:pt x="15" y="144"/>
                  </a:lnTo>
                  <a:lnTo>
                    <a:pt x="21" y="140"/>
                  </a:lnTo>
                  <a:lnTo>
                    <a:pt x="26" y="136"/>
                  </a:lnTo>
                  <a:lnTo>
                    <a:pt x="37" y="131"/>
                  </a:lnTo>
                  <a:lnTo>
                    <a:pt x="48" y="122"/>
                  </a:lnTo>
                  <a:lnTo>
                    <a:pt x="54" y="120"/>
                  </a:lnTo>
                  <a:lnTo>
                    <a:pt x="58" y="120"/>
                  </a:lnTo>
                  <a:lnTo>
                    <a:pt x="58" y="122"/>
                  </a:lnTo>
                  <a:lnTo>
                    <a:pt x="56" y="125"/>
                  </a:lnTo>
                  <a:lnTo>
                    <a:pt x="54" y="129"/>
                  </a:lnTo>
                  <a:lnTo>
                    <a:pt x="54" y="133"/>
                  </a:lnTo>
                  <a:lnTo>
                    <a:pt x="56" y="136"/>
                  </a:lnTo>
                  <a:lnTo>
                    <a:pt x="59" y="138"/>
                  </a:lnTo>
                  <a:lnTo>
                    <a:pt x="61" y="140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71" y="138"/>
                  </a:lnTo>
                  <a:lnTo>
                    <a:pt x="74" y="135"/>
                  </a:lnTo>
                  <a:lnTo>
                    <a:pt x="80" y="129"/>
                  </a:lnTo>
                  <a:lnTo>
                    <a:pt x="87" y="120"/>
                  </a:lnTo>
                  <a:lnTo>
                    <a:pt x="91" y="107"/>
                  </a:lnTo>
                  <a:lnTo>
                    <a:pt x="95" y="96"/>
                  </a:lnTo>
                  <a:lnTo>
                    <a:pt x="95" y="83"/>
                  </a:lnTo>
                  <a:lnTo>
                    <a:pt x="87" y="66"/>
                  </a:lnTo>
                  <a:lnTo>
                    <a:pt x="82" y="51"/>
                  </a:lnTo>
                  <a:lnTo>
                    <a:pt x="74" y="48"/>
                  </a:lnTo>
                  <a:lnTo>
                    <a:pt x="65" y="46"/>
                  </a:lnTo>
                  <a:lnTo>
                    <a:pt x="54" y="38"/>
                  </a:lnTo>
                  <a:lnTo>
                    <a:pt x="45" y="27"/>
                  </a:lnTo>
                  <a:lnTo>
                    <a:pt x="39" y="20"/>
                  </a:lnTo>
                  <a:lnTo>
                    <a:pt x="34" y="9"/>
                  </a:lnTo>
                  <a:lnTo>
                    <a:pt x="32" y="5"/>
                  </a:lnTo>
                  <a:lnTo>
                    <a:pt x="30" y="1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1" y="3"/>
                  </a:lnTo>
                  <a:lnTo>
                    <a:pt x="19" y="7"/>
                  </a:lnTo>
                  <a:lnTo>
                    <a:pt x="19" y="13"/>
                  </a:lnTo>
                  <a:lnTo>
                    <a:pt x="21" y="18"/>
                  </a:lnTo>
                  <a:lnTo>
                    <a:pt x="26" y="27"/>
                  </a:lnTo>
                  <a:lnTo>
                    <a:pt x="32" y="35"/>
                  </a:lnTo>
                  <a:lnTo>
                    <a:pt x="34" y="40"/>
                  </a:lnTo>
                  <a:lnTo>
                    <a:pt x="34" y="48"/>
                  </a:lnTo>
                  <a:lnTo>
                    <a:pt x="37" y="55"/>
                  </a:lnTo>
                  <a:lnTo>
                    <a:pt x="41" y="61"/>
                  </a:lnTo>
                  <a:lnTo>
                    <a:pt x="52" y="57"/>
                  </a:lnTo>
                  <a:lnTo>
                    <a:pt x="59" y="55"/>
                  </a:lnTo>
                  <a:lnTo>
                    <a:pt x="63" y="62"/>
                  </a:lnTo>
                  <a:lnTo>
                    <a:pt x="61" y="70"/>
                  </a:lnTo>
                  <a:lnTo>
                    <a:pt x="59" y="79"/>
                  </a:lnTo>
                  <a:lnTo>
                    <a:pt x="56" y="8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2" name="Freeform 68"/>
            <p:cNvSpPr>
              <a:spLocks/>
            </p:cNvSpPr>
            <p:nvPr/>
          </p:nvSpPr>
          <p:spPr bwMode="auto">
            <a:xfrm>
              <a:off x="4123865" y="2409565"/>
              <a:ext cx="171670" cy="214248"/>
            </a:xfrm>
            <a:custGeom>
              <a:avLst/>
              <a:gdLst>
                <a:gd name="T0" fmla="*/ 296 w 329"/>
                <a:gd name="T1" fmla="*/ 117 h 421"/>
                <a:gd name="T2" fmla="*/ 277 w 329"/>
                <a:gd name="T3" fmla="*/ 105 h 421"/>
                <a:gd name="T4" fmla="*/ 270 w 329"/>
                <a:gd name="T5" fmla="*/ 81 h 421"/>
                <a:gd name="T6" fmla="*/ 255 w 329"/>
                <a:gd name="T7" fmla="*/ 83 h 421"/>
                <a:gd name="T8" fmla="*/ 244 w 329"/>
                <a:gd name="T9" fmla="*/ 61 h 421"/>
                <a:gd name="T10" fmla="*/ 227 w 329"/>
                <a:gd name="T11" fmla="*/ 46 h 421"/>
                <a:gd name="T12" fmla="*/ 196 w 329"/>
                <a:gd name="T13" fmla="*/ 33 h 421"/>
                <a:gd name="T14" fmla="*/ 168 w 329"/>
                <a:gd name="T15" fmla="*/ 4 h 421"/>
                <a:gd name="T16" fmla="*/ 144 w 329"/>
                <a:gd name="T17" fmla="*/ 19 h 421"/>
                <a:gd name="T18" fmla="*/ 133 w 329"/>
                <a:gd name="T19" fmla="*/ 32 h 421"/>
                <a:gd name="T20" fmla="*/ 133 w 329"/>
                <a:gd name="T21" fmla="*/ 48 h 421"/>
                <a:gd name="T22" fmla="*/ 111 w 329"/>
                <a:gd name="T23" fmla="*/ 50 h 421"/>
                <a:gd name="T24" fmla="*/ 74 w 329"/>
                <a:gd name="T25" fmla="*/ 50 h 421"/>
                <a:gd name="T26" fmla="*/ 63 w 329"/>
                <a:gd name="T27" fmla="*/ 46 h 421"/>
                <a:gd name="T28" fmla="*/ 65 w 329"/>
                <a:gd name="T29" fmla="*/ 78 h 421"/>
                <a:gd name="T30" fmla="*/ 17 w 329"/>
                <a:gd name="T31" fmla="*/ 129 h 421"/>
                <a:gd name="T32" fmla="*/ 0 w 329"/>
                <a:gd name="T33" fmla="*/ 177 h 421"/>
                <a:gd name="T34" fmla="*/ 15 w 329"/>
                <a:gd name="T35" fmla="*/ 227 h 421"/>
                <a:gd name="T36" fmla="*/ 13 w 329"/>
                <a:gd name="T37" fmla="*/ 259 h 421"/>
                <a:gd name="T38" fmla="*/ 2 w 329"/>
                <a:gd name="T39" fmla="*/ 270 h 421"/>
                <a:gd name="T40" fmla="*/ 4 w 329"/>
                <a:gd name="T41" fmla="*/ 288 h 421"/>
                <a:gd name="T42" fmla="*/ 13 w 329"/>
                <a:gd name="T43" fmla="*/ 303 h 421"/>
                <a:gd name="T44" fmla="*/ 46 w 329"/>
                <a:gd name="T45" fmla="*/ 298 h 421"/>
                <a:gd name="T46" fmla="*/ 46 w 329"/>
                <a:gd name="T47" fmla="*/ 316 h 421"/>
                <a:gd name="T48" fmla="*/ 28 w 329"/>
                <a:gd name="T49" fmla="*/ 338 h 421"/>
                <a:gd name="T50" fmla="*/ 22 w 329"/>
                <a:gd name="T51" fmla="*/ 372 h 421"/>
                <a:gd name="T52" fmla="*/ 19 w 329"/>
                <a:gd name="T53" fmla="*/ 392 h 421"/>
                <a:gd name="T54" fmla="*/ 33 w 329"/>
                <a:gd name="T55" fmla="*/ 384 h 421"/>
                <a:gd name="T56" fmla="*/ 44 w 329"/>
                <a:gd name="T57" fmla="*/ 399 h 421"/>
                <a:gd name="T58" fmla="*/ 76 w 329"/>
                <a:gd name="T59" fmla="*/ 403 h 421"/>
                <a:gd name="T60" fmla="*/ 89 w 329"/>
                <a:gd name="T61" fmla="*/ 407 h 421"/>
                <a:gd name="T62" fmla="*/ 96 w 329"/>
                <a:gd name="T63" fmla="*/ 421 h 421"/>
                <a:gd name="T64" fmla="*/ 111 w 329"/>
                <a:gd name="T65" fmla="*/ 412 h 421"/>
                <a:gd name="T66" fmla="*/ 118 w 329"/>
                <a:gd name="T67" fmla="*/ 401 h 421"/>
                <a:gd name="T68" fmla="*/ 144 w 329"/>
                <a:gd name="T69" fmla="*/ 397 h 421"/>
                <a:gd name="T70" fmla="*/ 150 w 329"/>
                <a:gd name="T71" fmla="*/ 375 h 421"/>
                <a:gd name="T72" fmla="*/ 165 w 329"/>
                <a:gd name="T73" fmla="*/ 359 h 421"/>
                <a:gd name="T74" fmla="*/ 209 w 329"/>
                <a:gd name="T75" fmla="*/ 301 h 421"/>
                <a:gd name="T76" fmla="*/ 231 w 329"/>
                <a:gd name="T77" fmla="*/ 275 h 421"/>
                <a:gd name="T78" fmla="*/ 268 w 329"/>
                <a:gd name="T79" fmla="*/ 288 h 421"/>
                <a:gd name="T80" fmla="*/ 281 w 329"/>
                <a:gd name="T81" fmla="*/ 264 h 421"/>
                <a:gd name="T82" fmla="*/ 296 w 329"/>
                <a:gd name="T83" fmla="*/ 257 h 421"/>
                <a:gd name="T84" fmla="*/ 288 w 329"/>
                <a:gd name="T85" fmla="*/ 244 h 421"/>
                <a:gd name="T86" fmla="*/ 277 w 329"/>
                <a:gd name="T87" fmla="*/ 246 h 421"/>
                <a:gd name="T88" fmla="*/ 253 w 329"/>
                <a:gd name="T89" fmla="*/ 246 h 421"/>
                <a:gd name="T90" fmla="*/ 229 w 329"/>
                <a:gd name="T91" fmla="*/ 242 h 421"/>
                <a:gd name="T92" fmla="*/ 209 w 329"/>
                <a:gd name="T93" fmla="*/ 226 h 421"/>
                <a:gd name="T94" fmla="*/ 187 w 329"/>
                <a:gd name="T95" fmla="*/ 209 h 421"/>
                <a:gd name="T96" fmla="*/ 192 w 329"/>
                <a:gd name="T97" fmla="*/ 176 h 421"/>
                <a:gd name="T98" fmla="*/ 211 w 329"/>
                <a:gd name="T99" fmla="*/ 148 h 421"/>
                <a:gd name="T100" fmla="*/ 225 w 329"/>
                <a:gd name="T101" fmla="*/ 150 h 421"/>
                <a:gd name="T102" fmla="*/ 242 w 329"/>
                <a:gd name="T103" fmla="*/ 166 h 421"/>
                <a:gd name="T104" fmla="*/ 237 w 329"/>
                <a:gd name="T105" fmla="*/ 192 h 421"/>
                <a:gd name="T106" fmla="*/ 268 w 329"/>
                <a:gd name="T107" fmla="*/ 192 h 421"/>
                <a:gd name="T108" fmla="*/ 277 w 329"/>
                <a:gd name="T109" fmla="*/ 203 h 421"/>
                <a:gd name="T110" fmla="*/ 292 w 329"/>
                <a:gd name="T111" fmla="*/ 198 h 421"/>
                <a:gd name="T112" fmla="*/ 303 w 329"/>
                <a:gd name="T113" fmla="*/ 198 h 421"/>
                <a:gd name="T114" fmla="*/ 314 w 329"/>
                <a:gd name="T115" fmla="*/ 202 h 421"/>
                <a:gd name="T116" fmla="*/ 318 w 329"/>
                <a:gd name="T117" fmla="*/ 183 h 421"/>
                <a:gd name="T118" fmla="*/ 329 w 329"/>
                <a:gd name="T119" fmla="*/ 163 h 42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29"/>
                <a:gd name="T181" fmla="*/ 0 h 421"/>
                <a:gd name="T182" fmla="*/ 329 w 329"/>
                <a:gd name="T183" fmla="*/ 421 h 42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29" h="421">
                  <a:moveTo>
                    <a:pt x="329" y="148"/>
                  </a:moveTo>
                  <a:lnTo>
                    <a:pt x="310" y="131"/>
                  </a:lnTo>
                  <a:lnTo>
                    <a:pt x="296" y="117"/>
                  </a:lnTo>
                  <a:lnTo>
                    <a:pt x="288" y="113"/>
                  </a:lnTo>
                  <a:lnTo>
                    <a:pt x="281" y="109"/>
                  </a:lnTo>
                  <a:lnTo>
                    <a:pt x="277" y="105"/>
                  </a:lnTo>
                  <a:lnTo>
                    <a:pt x="275" y="100"/>
                  </a:lnTo>
                  <a:lnTo>
                    <a:pt x="272" y="92"/>
                  </a:lnTo>
                  <a:lnTo>
                    <a:pt x="270" y="81"/>
                  </a:lnTo>
                  <a:lnTo>
                    <a:pt x="264" y="83"/>
                  </a:lnTo>
                  <a:lnTo>
                    <a:pt x="261" y="83"/>
                  </a:lnTo>
                  <a:lnTo>
                    <a:pt x="255" y="83"/>
                  </a:lnTo>
                  <a:lnTo>
                    <a:pt x="251" y="81"/>
                  </a:lnTo>
                  <a:lnTo>
                    <a:pt x="248" y="72"/>
                  </a:lnTo>
                  <a:lnTo>
                    <a:pt x="244" y="61"/>
                  </a:lnTo>
                  <a:lnTo>
                    <a:pt x="237" y="57"/>
                  </a:lnTo>
                  <a:lnTo>
                    <a:pt x="229" y="54"/>
                  </a:lnTo>
                  <a:lnTo>
                    <a:pt x="227" y="46"/>
                  </a:lnTo>
                  <a:lnTo>
                    <a:pt x="224" y="41"/>
                  </a:lnTo>
                  <a:lnTo>
                    <a:pt x="211" y="37"/>
                  </a:lnTo>
                  <a:lnTo>
                    <a:pt x="196" y="33"/>
                  </a:lnTo>
                  <a:lnTo>
                    <a:pt x="185" y="15"/>
                  </a:lnTo>
                  <a:lnTo>
                    <a:pt x="174" y="0"/>
                  </a:lnTo>
                  <a:lnTo>
                    <a:pt x="168" y="4"/>
                  </a:lnTo>
                  <a:lnTo>
                    <a:pt x="155" y="9"/>
                  </a:lnTo>
                  <a:lnTo>
                    <a:pt x="150" y="17"/>
                  </a:lnTo>
                  <a:lnTo>
                    <a:pt x="144" y="19"/>
                  </a:lnTo>
                  <a:lnTo>
                    <a:pt x="139" y="19"/>
                  </a:lnTo>
                  <a:lnTo>
                    <a:pt x="129" y="19"/>
                  </a:lnTo>
                  <a:lnTo>
                    <a:pt x="133" y="3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33" y="48"/>
                  </a:lnTo>
                  <a:lnTo>
                    <a:pt x="131" y="46"/>
                  </a:lnTo>
                  <a:lnTo>
                    <a:pt x="128" y="44"/>
                  </a:lnTo>
                  <a:lnTo>
                    <a:pt x="111" y="50"/>
                  </a:lnTo>
                  <a:lnTo>
                    <a:pt x="92" y="56"/>
                  </a:lnTo>
                  <a:lnTo>
                    <a:pt x="83" y="54"/>
                  </a:lnTo>
                  <a:lnTo>
                    <a:pt x="74" y="50"/>
                  </a:lnTo>
                  <a:lnTo>
                    <a:pt x="70" y="48"/>
                  </a:lnTo>
                  <a:lnTo>
                    <a:pt x="67" y="46"/>
                  </a:lnTo>
                  <a:lnTo>
                    <a:pt x="63" y="46"/>
                  </a:lnTo>
                  <a:lnTo>
                    <a:pt x="59" y="48"/>
                  </a:lnTo>
                  <a:lnTo>
                    <a:pt x="63" y="61"/>
                  </a:lnTo>
                  <a:lnTo>
                    <a:pt x="65" y="78"/>
                  </a:lnTo>
                  <a:lnTo>
                    <a:pt x="46" y="96"/>
                  </a:lnTo>
                  <a:lnTo>
                    <a:pt x="24" y="115"/>
                  </a:lnTo>
                  <a:lnTo>
                    <a:pt x="17" y="129"/>
                  </a:lnTo>
                  <a:lnTo>
                    <a:pt x="9" y="142"/>
                  </a:lnTo>
                  <a:lnTo>
                    <a:pt x="4" y="159"/>
                  </a:lnTo>
                  <a:lnTo>
                    <a:pt x="0" y="177"/>
                  </a:lnTo>
                  <a:lnTo>
                    <a:pt x="11" y="192"/>
                  </a:lnTo>
                  <a:lnTo>
                    <a:pt x="19" y="207"/>
                  </a:lnTo>
                  <a:lnTo>
                    <a:pt x="15" y="227"/>
                  </a:lnTo>
                  <a:lnTo>
                    <a:pt x="9" y="244"/>
                  </a:lnTo>
                  <a:lnTo>
                    <a:pt x="11" y="255"/>
                  </a:lnTo>
                  <a:lnTo>
                    <a:pt x="13" y="259"/>
                  </a:lnTo>
                  <a:lnTo>
                    <a:pt x="11" y="262"/>
                  </a:lnTo>
                  <a:lnTo>
                    <a:pt x="4" y="266"/>
                  </a:lnTo>
                  <a:lnTo>
                    <a:pt x="2" y="270"/>
                  </a:lnTo>
                  <a:lnTo>
                    <a:pt x="2" y="277"/>
                  </a:lnTo>
                  <a:lnTo>
                    <a:pt x="2" y="283"/>
                  </a:lnTo>
                  <a:lnTo>
                    <a:pt x="4" y="288"/>
                  </a:lnTo>
                  <a:lnTo>
                    <a:pt x="6" y="296"/>
                  </a:lnTo>
                  <a:lnTo>
                    <a:pt x="9" y="299"/>
                  </a:lnTo>
                  <a:lnTo>
                    <a:pt x="13" y="303"/>
                  </a:lnTo>
                  <a:lnTo>
                    <a:pt x="17" y="303"/>
                  </a:lnTo>
                  <a:lnTo>
                    <a:pt x="33" y="299"/>
                  </a:lnTo>
                  <a:lnTo>
                    <a:pt x="46" y="298"/>
                  </a:lnTo>
                  <a:lnTo>
                    <a:pt x="48" y="305"/>
                  </a:lnTo>
                  <a:lnTo>
                    <a:pt x="48" y="311"/>
                  </a:lnTo>
                  <a:lnTo>
                    <a:pt x="46" y="316"/>
                  </a:lnTo>
                  <a:lnTo>
                    <a:pt x="43" y="320"/>
                  </a:lnTo>
                  <a:lnTo>
                    <a:pt x="35" y="327"/>
                  </a:lnTo>
                  <a:lnTo>
                    <a:pt x="28" y="338"/>
                  </a:lnTo>
                  <a:lnTo>
                    <a:pt x="32" y="346"/>
                  </a:lnTo>
                  <a:lnTo>
                    <a:pt x="37" y="357"/>
                  </a:lnTo>
                  <a:lnTo>
                    <a:pt x="22" y="372"/>
                  </a:lnTo>
                  <a:lnTo>
                    <a:pt x="11" y="388"/>
                  </a:lnTo>
                  <a:lnTo>
                    <a:pt x="15" y="390"/>
                  </a:lnTo>
                  <a:lnTo>
                    <a:pt x="19" y="392"/>
                  </a:lnTo>
                  <a:lnTo>
                    <a:pt x="22" y="390"/>
                  </a:lnTo>
                  <a:lnTo>
                    <a:pt x="26" y="388"/>
                  </a:lnTo>
                  <a:lnTo>
                    <a:pt x="33" y="384"/>
                  </a:lnTo>
                  <a:lnTo>
                    <a:pt x="39" y="383"/>
                  </a:lnTo>
                  <a:lnTo>
                    <a:pt x="41" y="388"/>
                  </a:lnTo>
                  <a:lnTo>
                    <a:pt x="44" y="399"/>
                  </a:lnTo>
                  <a:lnTo>
                    <a:pt x="57" y="401"/>
                  </a:lnTo>
                  <a:lnTo>
                    <a:pt x="70" y="401"/>
                  </a:lnTo>
                  <a:lnTo>
                    <a:pt x="76" y="403"/>
                  </a:lnTo>
                  <a:lnTo>
                    <a:pt x="81" y="403"/>
                  </a:lnTo>
                  <a:lnTo>
                    <a:pt x="85" y="405"/>
                  </a:lnTo>
                  <a:lnTo>
                    <a:pt x="89" y="407"/>
                  </a:lnTo>
                  <a:lnTo>
                    <a:pt x="87" y="414"/>
                  </a:lnTo>
                  <a:lnTo>
                    <a:pt x="87" y="421"/>
                  </a:lnTo>
                  <a:lnTo>
                    <a:pt x="96" y="421"/>
                  </a:lnTo>
                  <a:lnTo>
                    <a:pt x="104" y="420"/>
                  </a:lnTo>
                  <a:lnTo>
                    <a:pt x="107" y="416"/>
                  </a:lnTo>
                  <a:lnTo>
                    <a:pt x="111" y="412"/>
                  </a:lnTo>
                  <a:lnTo>
                    <a:pt x="113" y="408"/>
                  </a:lnTo>
                  <a:lnTo>
                    <a:pt x="116" y="405"/>
                  </a:lnTo>
                  <a:lnTo>
                    <a:pt x="118" y="401"/>
                  </a:lnTo>
                  <a:lnTo>
                    <a:pt x="124" y="397"/>
                  </a:lnTo>
                  <a:lnTo>
                    <a:pt x="135" y="396"/>
                  </a:lnTo>
                  <a:lnTo>
                    <a:pt x="144" y="397"/>
                  </a:lnTo>
                  <a:lnTo>
                    <a:pt x="146" y="384"/>
                  </a:lnTo>
                  <a:lnTo>
                    <a:pt x="150" y="375"/>
                  </a:lnTo>
                  <a:lnTo>
                    <a:pt x="153" y="370"/>
                  </a:lnTo>
                  <a:lnTo>
                    <a:pt x="157" y="364"/>
                  </a:lnTo>
                  <a:lnTo>
                    <a:pt x="165" y="359"/>
                  </a:lnTo>
                  <a:lnTo>
                    <a:pt x="172" y="351"/>
                  </a:lnTo>
                  <a:lnTo>
                    <a:pt x="192" y="323"/>
                  </a:lnTo>
                  <a:lnTo>
                    <a:pt x="209" y="301"/>
                  </a:lnTo>
                  <a:lnTo>
                    <a:pt x="214" y="285"/>
                  </a:lnTo>
                  <a:lnTo>
                    <a:pt x="218" y="275"/>
                  </a:lnTo>
                  <a:lnTo>
                    <a:pt x="231" y="275"/>
                  </a:lnTo>
                  <a:lnTo>
                    <a:pt x="248" y="279"/>
                  </a:lnTo>
                  <a:lnTo>
                    <a:pt x="259" y="285"/>
                  </a:lnTo>
                  <a:lnTo>
                    <a:pt x="268" y="288"/>
                  </a:lnTo>
                  <a:lnTo>
                    <a:pt x="272" y="279"/>
                  </a:lnTo>
                  <a:lnTo>
                    <a:pt x="275" y="268"/>
                  </a:lnTo>
                  <a:lnTo>
                    <a:pt x="281" y="264"/>
                  </a:lnTo>
                  <a:lnTo>
                    <a:pt x="290" y="262"/>
                  </a:lnTo>
                  <a:lnTo>
                    <a:pt x="294" y="261"/>
                  </a:lnTo>
                  <a:lnTo>
                    <a:pt x="296" y="257"/>
                  </a:lnTo>
                  <a:lnTo>
                    <a:pt x="296" y="253"/>
                  </a:lnTo>
                  <a:lnTo>
                    <a:pt x="292" y="246"/>
                  </a:lnTo>
                  <a:lnTo>
                    <a:pt x="288" y="244"/>
                  </a:lnTo>
                  <a:lnTo>
                    <a:pt x="285" y="244"/>
                  </a:lnTo>
                  <a:lnTo>
                    <a:pt x="281" y="244"/>
                  </a:lnTo>
                  <a:lnTo>
                    <a:pt x="277" y="246"/>
                  </a:lnTo>
                  <a:lnTo>
                    <a:pt x="272" y="248"/>
                  </a:lnTo>
                  <a:lnTo>
                    <a:pt x="264" y="250"/>
                  </a:lnTo>
                  <a:lnTo>
                    <a:pt x="253" y="246"/>
                  </a:lnTo>
                  <a:lnTo>
                    <a:pt x="244" y="240"/>
                  </a:lnTo>
                  <a:lnTo>
                    <a:pt x="237" y="242"/>
                  </a:lnTo>
                  <a:lnTo>
                    <a:pt x="229" y="242"/>
                  </a:lnTo>
                  <a:lnTo>
                    <a:pt x="224" y="233"/>
                  </a:lnTo>
                  <a:lnTo>
                    <a:pt x="218" y="224"/>
                  </a:lnTo>
                  <a:lnTo>
                    <a:pt x="209" y="226"/>
                  </a:lnTo>
                  <a:lnTo>
                    <a:pt x="198" y="226"/>
                  </a:lnTo>
                  <a:lnTo>
                    <a:pt x="190" y="218"/>
                  </a:lnTo>
                  <a:lnTo>
                    <a:pt x="187" y="209"/>
                  </a:lnTo>
                  <a:lnTo>
                    <a:pt x="187" y="198"/>
                  </a:lnTo>
                  <a:lnTo>
                    <a:pt x="189" y="187"/>
                  </a:lnTo>
                  <a:lnTo>
                    <a:pt x="192" y="176"/>
                  </a:lnTo>
                  <a:lnTo>
                    <a:pt x="198" y="165"/>
                  </a:lnTo>
                  <a:lnTo>
                    <a:pt x="205" y="153"/>
                  </a:lnTo>
                  <a:lnTo>
                    <a:pt x="211" y="148"/>
                  </a:lnTo>
                  <a:lnTo>
                    <a:pt x="216" y="148"/>
                  </a:lnTo>
                  <a:lnTo>
                    <a:pt x="222" y="148"/>
                  </a:lnTo>
                  <a:lnTo>
                    <a:pt x="225" y="150"/>
                  </a:lnTo>
                  <a:lnTo>
                    <a:pt x="229" y="152"/>
                  </a:lnTo>
                  <a:lnTo>
                    <a:pt x="237" y="157"/>
                  </a:lnTo>
                  <a:lnTo>
                    <a:pt x="242" y="166"/>
                  </a:lnTo>
                  <a:lnTo>
                    <a:pt x="237" y="181"/>
                  </a:lnTo>
                  <a:lnTo>
                    <a:pt x="229" y="190"/>
                  </a:lnTo>
                  <a:lnTo>
                    <a:pt x="237" y="192"/>
                  </a:lnTo>
                  <a:lnTo>
                    <a:pt x="249" y="190"/>
                  </a:lnTo>
                  <a:lnTo>
                    <a:pt x="261" y="190"/>
                  </a:lnTo>
                  <a:lnTo>
                    <a:pt x="268" y="192"/>
                  </a:lnTo>
                  <a:lnTo>
                    <a:pt x="273" y="194"/>
                  </a:lnTo>
                  <a:lnTo>
                    <a:pt x="275" y="198"/>
                  </a:lnTo>
                  <a:lnTo>
                    <a:pt x="277" y="203"/>
                  </a:lnTo>
                  <a:lnTo>
                    <a:pt x="283" y="205"/>
                  </a:lnTo>
                  <a:lnTo>
                    <a:pt x="288" y="203"/>
                  </a:lnTo>
                  <a:lnTo>
                    <a:pt x="292" y="198"/>
                  </a:lnTo>
                  <a:lnTo>
                    <a:pt x="296" y="196"/>
                  </a:lnTo>
                  <a:lnTo>
                    <a:pt x="299" y="196"/>
                  </a:lnTo>
                  <a:lnTo>
                    <a:pt x="303" y="198"/>
                  </a:lnTo>
                  <a:lnTo>
                    <a:pt x="307" y="200"/>
                  </a:lnTo>
                  <a:lnTo>
                    <a:pt x="310" y="202"/>
                  </a:lnTo>
                  <a:lnTo>
                    <a:pt x="314" y="202"/>
                  </a:lnTo>
                  <a:lnTo>
                    <a:pt x="318" y="200"/>
                  </a:lnTo>
                  <a:lnTo>
                    <a:pt x="322" y="196"/>
                  </a:lnTo>
                  <a:lnTo>
                    <a:pt x="318" y="183"/>
                  </a:lnTo>
                  <a:lnTo>
                    <a:pt x="312" y="174"/>
                  </a:lnTo>
                  <a:lnTo>
                    <a:pt x="320" y="166"/>
                  </a:lnTo>
                  <a:lnTo>
                    <a:pt x="329" y="163"/>
                  </a:lnTo>
                  <a:lnTo>
                    <a:pt x="329" y="155"/>
                  </a:lnTo>
                  <a:lnTo>
                    <a:pt x="329" y="14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3" name="Freeform 69"/>
            <p:cNvSpPr>
              <a:spLocks/>
            </p:cNvSpPr>
            <p:nvPr/>
          </p:nvSpPr>
          <p:spPr bwMode="auto">
            <a:xfrm>
              <a:off x="4096210" y="2155622"/>
              <a:ext cx="206108" cy="214248"/>
            </a:xfrm>
            <a:custGeom>
              <a:avLst/>
              <a:gdLst>
                <a:gd name="T0" fmla="*/ 223 w 395"/>
                <a:gd name="T1" fmla="*/ 21 h 421"/>
                <a:gd name="T2" fmla="*/ 177 w 395"/>
                <a:gd name="T3" fmla="*/ 28 h 421"/>
                <a:gd name="T4" fmla="*/ 166 w 395"/>
                <a:gd name="T5" fmla="*/ 41 h 421"/>
                <a:gd name="T6" fmla="*/ 173 w 395"/>
                <a:gd name="T7" fmla="*/ 61 h 421"/>
                <a:gd name="T8" fmla="*/ 171 w 395"/>
                <a:gd name="T9" fmla="*/ 83 h 421"/>
                <a:gd name="T10" fmla="*/ 149 w 395"/>
                <a:gd name="T11" fmla="*/ 117 h 421"/>
                <a:gd name="T12" fmla="*/ 138 w 395"/>
                <a:gd name="T13" fmla="*/ 131 h 421"/>
                <a:gd name="T14" fmla="*/ 86 w 395"/>
                <a:gd name="T15" fmla="*/ 131 h 421"/>
                <a:gd name="T16" fmla="*/ 59 w 395"/>
                <a:gd name="T17" fmla="*/ 148 h 421"/>
                <a:gd name="T18" fmla="*/ 51 w 395"/>
                <a:gd name="T19" fmla="*/ 207 h 421"/>
                <a:gd name="T20" fmla="*/ 0 w 395"/>
                <a:gd name="T21" fmla="*/ 227 h 421"/>
                <a:gd name="T22" fmla="*/ 38 w 395"/>
                <a:gd name="T23" fmla="*/ 264 h 421"/>
                <a:gd name="T24" fmla="*/ 73 w 395"/>
                <a:gd name="T25" fmla="*/ 272 h 421"/>
                <a:gd name="T26" fmla="*/ 92 w 395"/>
                <a:gd name="T27" fmla="*/ 285 h 421"/>
                <a:gd name="T28" fmla="*/ 90 w 395"/>
                <a:gd name="T29" fmla="*/ 342 h 421"/>
                <a:gd name="T30" fmla="*/ 90 w 395"/>
                <a:gd name="T31" fmla="*/ 377 h 421"/>
                <a:gd name="T32" fmla="*/ 92 w 395"/>
                <a:gd name="T33" fmla="*/ 414 h 421"/>
                <a:gd name="T34" fmla="*/ 114 w 395"/>
                <a:gd name="T35" fmla="*/ 420 h 421"/>
                <a:gd name="T36" fmla="*/ 116 w 395"/>
                <a:gd name="T37" fmla="*/ 388 h 421"/>
                <a:gd name="T38" fmla="*/ 149 w 395"/>
                <a:gd name="T39" fmla="*/ 386 h 421"/>
                <a:gd name="T40" fmla="*/ 151 w 395"/>
                <a:gd name="T41" fmla="*/ 362 h 421"/>
                <a:gd name="T42" fmla="*/ 166 w 395"/>
                <a:gd name="T43" fmla="*/ 336 h 421"/>
                <a:gd name="T44" fmla="*/ 179 w 395"/>
                <a:gd name="T45" fmla="*/ 351 h 421"/>
                <a:gd name="T46" fmla="*/ 212 w 395"/>
                <a:gd name="T47" fmla="*/ 336 h 421"/>
                <a:gd name="T48" fmla="*/ 227 w 395"/>
                <a:gd name="T49" fmla="*/ 301 h 421"/>
                <a:gd name="T50" fmla="*/ 266 w 395"/>
                <a:gd name="T51" fmla="*/ 296 h 421"/>
                <a:gd name="T52" fmla="*/ 295 w 395"/>
                <a:gd name="T53" fmla="*/ 311 h 421"/>
                <a:gd name="T54" fmla="*/ 304 w 395"/>
                <a:gd name="T55" fmla="*/ 340 h 421"/>
                <a:gd name="T56" fmla="*/ 330 w 395"/>
                <a:gd name="T57" fmla="*/ 335 h 421"/>
                <a:gd name="T58" fmla="*/ 330 w 395"/>
                <a:gd name="T59" fmla="*/ 335 h 421"/>
                <a:gd name="T60" fmla="*/ 328 w 395"/>
                <a:gd name="T61" fmla="*/ 331 h 421"/>
                <a:gd name="T62" fmla="*/ 328 w 395"/>
                <a:gd name="T63" fmla="*/ 324 h 421"/>
                <a:gd name="T64" fmla="*/ 328 w 395"/>
                <a:gd name="T65" fmla="*/ 320 h 421"/>
                <a:gd name="T66" fmla="*/ 328 w 395"/>
                <a:gd name="T67" fmla="*/ 320 h 421"/>
                <a:gd name="T68" fmla="*/ 328 w 395"/>
                <a:gd name="T69" fmla="*/ 318 h 421"/>
                <a:gd name="T70" fmla="*/ 328 w 395"/>
                <a:gd name="T71" fmla="*/ 316 h 421"/>
                <a:gd name="T72" fmla="*/ 328 w 395"/>
                <a:gd name="T73" fmla="*/ 314 h 421"/>
                <a:gd name="T74" fmla="*/ 336 w 395"/>
                <a:gd name="T75" fmla="*/ 307 h 421"/>
                <a:gd name="T76" fmla="*/ 345 w 395"/>
                <a:gd name="T77" fmla="*/ 303 h 421"/>
                <a:gd name="T78" fmla="*/ 345 w 395"/>
                <a:gd name="T79" fmla="*/ 303 h 421"/>
                <a:gd name="T80" fmla="*/ 345 w 395"/>
                <a:gd name="T81" fmla="*/ 303 h 421"/>
                <a:gd name="T82" fmla="*/ 347 w 395"/>
                <a:gd name="T83" fmla="*/ 298 h 421"/>
                <a:gd name="T84" fmla="*/ 338 w 395"/>
                <a:gd name="T85" fmla="*/ 279 h 421"/>
                <a:gd name="T86" fmla="*/ 369 w 395"/>
                <a:gd name="T87" fmla="*/ 255 h 421"/>
                <a:gd name="T88" fmla="*/ 395 w 395"/>
                <a:gd name="T89" fmla="*/ 235 h 421"/>
                <a:gd name="T90" fmla="*/ 376 w 395"/>
                <a:gd name="T91" fmla="*/ 209 h 421"/>
                <a:gd name="T92" fmla="*/ 356 w 395"/>
                <a:gd name="T93" fmla="*/ 178 h 421"/>
                <a:gd name="T94" fmla="*/ 317 w 395"/>
                <a:gd name="T95" fmla="*/ 192 h 421"/>
                <a:gd name="T96" fmla="*/ 312 w 395"/>
                <a:gd name="T97" fmla="*/ 174 h 421"/>
                <a:gd name="T98" fmla="*/ 251 w 395"/>
                <a:gd name="T99" fmla="*/ 161 h 421"/>
                <a:gd name="T100" fmla="*/ 234 w 395"/>
                <a:gd name="T101" fmla="*/ 183 h 421"/>
                <a:gd name="T102" fmla="*/ 214 w 395"/>
                <a:gd name="T103" fmla="*/ 163 h 421"/>
                <a:gd name="T104" fmla="*/ 205 w 395"/>
                <a:gd name="T105" fmla="*/ 120 h 421"/>
                <a:gd name="T106" fmla="*/ 240 w 395"/>
                <a:gd name="T107" fmla="*/ 91 h 421"/>
                <a:gd name="T108" fmla="*/ 271 w 395"/>
                <a:gd name="T109" fmla="*/ 41 h 421"/>
                <a:gd name="T110" fmla="*/ 266 w 395"/>
                <a:gd name="T111" fmla="*/ 26 h 421"/>
                <a:gd name="T112" fmla="*/ 253 w 395"/>
                <a:gd name="T113" fmla="*/ 0 h 421"/>
                <a:gd name="T114" fmla="*/ 240 w 395"/>
                <a:gd name="T115" fmla="*/ 4 h 4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95"/>
                <a:gd name="T175" fmla="*/ 0 h 421"/>
                <a:gd name="T176" fmla="*/ 395 w 395"/>
                <a:gd name="T177" fmla="*/ 421 h 4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95" h="421">
                  <a:moveTo>
                    <a:pt x="240" y="4"/>
                  </a:moveTo>
                  <a:lnTo>
                    <a:pt x="238" y="9"/>
                  </a:lnTo>
                  <a:lnTo>
                    <a:pt x="234" y="13"/>
                  </a:lnTo>
                  <a:lnTo>
                    <a:pt x="229" y="17"/>
                  </a:lnTo>
                  <a:lnTo>
                    <a:pt x="223" y="21"/>
                  </a:lnTo>
                  <a:lnTo>
                    <a:pt x="208" y="26"/>
                  </a:lnTo>
                  <a:lnTo>
                    <a:pt x="197" y="28"/>
                  </a:lnTo>
                  <a:lnTo>
                    <a:pt x="188" y="30"/>
                  </a:lnTo>
                  <a:lnTo>
                    <a:pt x="182" y="28"/>
                  </a:lnTo>
                  <a:lnTo>
                    <a:pt x="177" y="28"/>
                  </a:lnTo>
                  <a:lnTo>
                    <a:pt x="171" y="26"/>
                  </a:lnTo>
                  <a:lnTo>
                    <a:pt x="169" y="26"/>
                  </a:lnTo>
                  <a:lnTo>
                    <a:pt x="166" y="30"/>
                  </a:lnTo>
                  <a:lnTo>
                    <a:pt x="164" y="35"/>
                  </a:lnTo>
                  <a:lnTo>
                    <a:pt x="166" y="41"/>
                  </a:lnTo>
                  <a:lnTo>
                    <a:pt x="168" y="45"/>
                  </a:lnTo>
                  <a:lnTo>
                    <a:pt x="169" y="46"/>
                  </a:lnTo>
                  <a:lnTo>
                    <a:pt x="173" y="52"/>
                  </a:lnTo>
                  <a:lnTo>
                    <a:pt x="177" y="57"/>
                  </a:lnTo>
                  <a:lnTo>
                    <a:pt x="173" y="61"/>
                  </a:lnTo>
                  <a:lnTo>
                    <a:pt x="169" y="65"/>
                  </a:lnTo>
                  <a:lnTo>
                    <a:pt x="171" y="69"/>
                  </a:lnTo>
                  <a:lnTo>
                    <a:pt x="173" y="72"/>
                  </a:lnTo>
                  <a:lnTo>
                    <a:pt x="173" y="78"/>
                  </a:lnTo>
                  <a:lnTo>
                    <a:pt x="171" y="83"/>
                  </a:lnTo>
                  <a:lnTo>
                    <a:pt x="162" y="89"/>
                  </a:lnTo>
                  <a:lnTo>
                    <a:pt x="155" y="94"/>
                  </a:lnTo>
                  <a:lnTo>
                    <a:pt x="149" y="100"/>
                  </a:lnTo>
                  <a:lnTo>
                    <a:pt x="149" y="107"/>
                  </a:lnTo>
                  <a:lnTo>
                    <a:pt x="149" y="117"/>
                  </a:lnTo>
                  <a:lnTo>
                    <a:pt x="149" y="126"/>
                  </a:lnTo>
                  <a:lnTo>
                    <a:pt x="147" y="131"/>
                  </a:lnTo>
                  <a:lnTo>
                    <a:pt x="145" y="133"/>
                  </a:lnTo>
                  <a:lnTo>
                    <a:pt x="144" y="133"/>
                  </a:lnTo>
                  <a:lnTo>
                    <a:pt x="138" y="131"/>
                  </a:lnTo>
                  <a:lnTo>
                    <a:pt x="133" y="131"/>
                  </a:lnTo>
                  <a:lnTo>
                    <a:pt x="123" y="130"/>
                  </a:lnTo>
                  <a:lnTo>
                    <a:pt x="112" y="131"/>
                  </a:lnTo>
                  <a:lnTo>
                    <a:pt x="97" y="135"/>
                  </a:lnTo>
                  <a:lnTo>
                    <a:pt x="86" y="131"/>
                  </a:lnTo>
                  <a:lnTo>
                    <a:pt x="79" y="131"/>
                  </a:lnTo>
                  <a:lnTo>
                    <a:pt x="75" y="135"/>
                  </a:lnTo>
                  <a:lnTo>
                    <a:pt x="70" y="139"/>
                  </a:lnTo>
                  <a:lnTo>
                    <a:pt x="62" y="144"/>
                  </a:lnTo>
                  <a:lnTo>
                    <a:pt x="59" y="148"/>
                  </a:lnTo>
                  <a:lnTo>
                    <a:pt x="68" y="168"/>
                  </a:lnTo>
                  <a:lnTo>
                    <a:pt x="75" y="198"/>
                  </a:lnTo>
                  <a:lnTo>
                    <a:pt x="66" y="200"/>
                  </a:lnTo>
                  <a:lnTo>
                    <a:pt x="57" y="202"/>
                  </a:lnTo>
                  <a:lnTo>
                    <a:pt x="51" y="207"/>
                  </a:lnTo>
                  <a:lnTo>
                    <a:pt x="46" y="209"/>
                  </a:lnTo>
                  <a:lnTo>
                    <a:pt x="35" y="200"/>
                  </a:lnTo>
                  <a:lnTo>
                    <a:pt x="25" y="194"/>
                  </a:lnTo>
                  <a:lnTo>
                    <a:pt x="16" y="207"/>
                  </a:lnTo>
                  <a:lnTo>
                    <a:pt x="0" y="227"/>
                  </a:lnTo>
                  <a:lnTo>
                    <a:pt x="7" y="239"/>
                  </a:lnTo>
                  <a:lnTo>
                    <a:pt x="16" y="248"/>
                  </a:lnTo>
                  <a:lnTo>
                    <a:pt x="24" y="255"/>
                  </a:lnTo>
                  <a:lnTo>
                    <a:pt x="31" y="261"/>
                  </a:lnTo>
                  <a:lnTo>
                    <a:pt x="38" y="264"/>
                  </a:lnTo>
                  <a:lnTo>
                    <a:pt x="46" y="266"/>
                  </a:lnTo>
                  <a:lnTo>
                    <a:pt x="53" y="266"/>
                  </a:lnTo>
                  <a:lnTo>
                    <a:pt x="60" y="266"/>
                  </a:lnTo>
                  <a:lnTo>
                    <a:pt x="68" y="268"/>
                  </a:lnTo>
                  <a:lnTo>
                    <a:pt x="73" y="272"/>
                  </a:lnTo>
                  <a:lnTo>
                    <a:pt x="77" y="277"/>
                  </a:lnTo>
                  <a:lnTo>
                    <a:pt x="81" y="285"/>
                  </a:lnTo>
                  <a:lnTo>
                    <a:pt x="86" y="279"/>
                  </a:lnTo>
                  <a:lnTo>
                    <a:pt x="92" y="276"/>
                  </a:lnTo>
                  <a:lnTo>
                    <a:pt x="92" y="285"/>
                  </a:lnTo>
                  <a:lnTo>
                    <a:pt x="88" y="296"/>
                  </a:lnTo>
                  <a:lnTo>
                    <a:pt x="92" y="300"/>
                  </a:lnTo>
                  <a:lnTo>
                    <a:pt x="96" y="307"/>
                  </a:lnTo>
                  <a:lnTo>
                    <a:pt x="94" y="324"/>
                  </a:lnTo>
                  <a:lnTo>
                    <a:pt x="90" y="342"/>
                  </a:lnTo>
                  <a:lnTo>
                    <a:pt x="92" y="351"/>
                  </a:lnTo>
                  <a:lnTo>
                    <a:pt x="96" y="361"/>
                  </a:lnTo>
                  <a:lnTo>
                    <a:pt x="94" y="368"/>
                  </a:lnTo>
                  <a:lnTo>
                    <a:pt x="92" y="373"/>
                  </a:lnTo>
                  <a:lnTo>
                    <a:pt x="90" y="377"/>
                  </a:lnTo>
                  <a:lnTo>
                    <a:pt x="90" y="381"/>
                  </a:lnTo>
                  <a:lnTo>
                    <a:pt x="92" y="388"/>
                  </a:lnTo>
                  <a:lnTo>
                    <a:pt x="94" y="396"/>
                  </a:lnTo>
                  <a:lnTo>
                    <a:pt x="92" y="407"/>
                  </a:lnTo>
                  <a:lnTo>
                    <a:pt x="92" y="414"/>
                  </a:lnTo>
                  <a:lnTo>
                    <a:pt x="96" y="418"/>
                  </a:lnTo>
                  <a:lnTo>
                    <a:pt x="103" y="421"/>
                  </a:lnTo>
                  <a:lnTo>
                    <a:pt x="107" y="421"/>
                  </a:lnTo>
                  <a:lnTo>
                    <a:pt x="110" y="421"/>
                  </a:lnTo>
                  <a:lnTo>
                    <a:pt x="114" y="420"/>
                  </a:lnTo>
                  <a:lnTo>
                    <a:pt x="116" y="416"/>
                  </a:lnTo>
                  <a:lnTo>
                    <a:pt x="118" y="412"/>
                  </a:lnTo>
                  <a:lnTo>
                    <a:pt x="120" y="407"/>
                  </a:lnTo>
                  <a:lnTo>
                    <a:pt x="118" y="399"/>
                  </a:lnTo>
                  <a:lnTo>
                    <a:pt x="116" y="388"/>
                  </a:lnTo>
                  <a:lnTo>
                    <a:pt x="121" y="388"/>
                  </a:lnTo>
                  <a:lnTo>
                    <a:pt x="129" y="390"/>
                  </a:lnTo>
                  <a:lnTo>
                    <a:pt x="136" y="390"/>
                  </a:lnTo>
                  <a:lnTo>
                    <a:pt x="144" y="388"/>
                  </a:lnTo>
                  <a:lnTo>
                    <a:pt x="149" y="386"/>
                  </a:lnTo>
                  <a:lnTo>
                    <a:pt x="153" y="385"/>
                  </a:lnTo>
                  <a:lnTo>
                    <a:pt x="155" y="379"/>
                  </a:lnTo>
                  <a:lnTo>
                    <a:pt x="155" y="373"/>
                  </a:lnTo>
                  <a:lnTo>
                    <a:pt x="153" y="368"/>
                  </a:lnTo>
                  <a:lnTo>
                    <a:pt x="151" y="362"/>
                  </a:lnTo>
                  <a:lnTo>
                    <a:pt x="151" y="357"/>
                  </a:lnTo>
                  <a:lnTo>
                    <a:pt x="151" y="351"/>
                  </a:lnTo>
                  <a:lnTo>
                    <a:pt x="155" y="346"/>
                  </a:lnTo>
                  <a:lnTo>
                    <a:pt x="160" y="340"/>
                  </a:lnTo>
                  <a:lnTo>
                    <a:pt x="166" y="336"/>
                  </a:lnTo>
                  <a:lnTo>
                    <a:pt x="169" y="338"/>
                  </a:lnTo>
                  <a:lnTo>
                    <a:pt x="171" y="340"/>
                  </a:lnTo>
                  <a:lnTo>
                    <a:pt x="173" y="344"/>
                  </a:lnTo>
                  <a:lnTo>
                    <a:pt x="177" y="348"/>
                  </a:lnTo>
                  <a:lnTo>
                    <a:pt x="179" y="351"/>
                  </a:lnTo>
                  <a:lnTo>
                    <a:pt x="184" y="353"/>
                  </a:lnTo>
                  <a:lnTo>
                    <a:pt x="190" y="353"/>
                  </a:lnTo>
                  <a:lnTo>
                    <a:pt x="201" y="349"/>
                  </a:lnTo>
                  <a:lnTo>
                    <a:pt x="206" y="344"/>
                  </a:lnTo>
                  <a:lnTo>
                    <a:pt x="212" y="336"/>
                  </a:lnTo>
                  <a:lnTo>
                    <a:pt x="214" y="329"/>
                  </a:lnTo>
                  <a:lnTo>
                    <a:pt x="216" y="324"/>
                  </a:lnTo>
                  <a:lnTo>
                    <a:pt x="218" y="316"/>
                  </a:lnTo>
                  <a:lnTo>
                    <a:pt x="221" y="307"/>
                  </a:lnTo>
                  <a:lnTo>
                    <a:pt x="227" y="301"/>
                  </a:lnTo>
                  <a:lnTo>
                    <a:pt x="238" y="294"/>
                  </a:lnTo>
                  <a:lnTo>
                    <a:pt x="253" y="288"/>
                  </a:lnTo>
                  <a:lnTo>
                    <a:pt x="258" y="288"/>
                  </a:lnTo>
                  <a:lnTo>
                    <a:pt x="262" y="292"/>
                  </a:lnTo>
                  <a:lnTo>
                    <a:pt x="266" y="296"/>
                  </a:lnTo>
                  <a:lnTo>
                    <a:pt x="267" y="300"/>
                  </a:lnTo>
                  <a:lnTo>
                    <a:pt x="269" y="311"/>
                  </a:lnTo>
                  <a:lnTo>
                    <a:pt x="273" y="316"/>
                  </a:lnTo>
                  <a:lnTo>
                    <a:pt x="286" y="314"/>
                  </a:lnTo>
                  <a:lnTo>
                    <a:pt x="295" y="311"/>
                  </a:lnTo>
                  <a:lnTo>
                    <a:pt x="295" y="320"/>
                  </a:lnTo>
                  <a:lnTo>
                    <a:pt x="297" y="327"/>
                  </a:lnTo>
                  <a:lnTo>
                    <a:pt x="299" y="333"/>
                  </a:lnTo>
                  <a:lnTo>
                    <a:pt x="301" y="336"/>
                  </a:lnTo>
                  <a:lnTo>
                    <a:pt x="304" y="340"/>
                  </a:lnTo>
                  <a:lnTo>
                    <a:pt x="308" y="340"/>
                  </a:lnTo>
                  <a:lnTo>
                    <a:pt x="312" y="342"/>
                  </a:lnTo>
                  <a:lnTo>
                    <a:pt x="317" y="340"/>
                  </a:lnTo>
                  <a:lnTo>
                    <a:pt x="323" y="336"/>
                  </a:lnTo>
                  <a:lnTo>
                    <a:pt x="330" y="335"/>
                  </a:lnTo>
                  <a:lnTo>
                    <a:pt x="328" y="333"/>
                  </a:lnTo>
                  <a:lnTo>
                    <a:pt x="328" y="331"/>
                  </a:lnTo>
                  <a:lnTo>
                    <a:pt x="328" y="327"/>
                  </a:lnTo>
                  <a:lnTo>
                    <a:pt x="328" y="324"/>
                  </a:lnTo>
                  <a:lnTo>
                    <a:pt x="328" y="322"/>
                  </a:lnTo>
                  <a:lnTo>
                    <a:pt x="328" y="320"/>
                  </a:lnTo>
                  <a:lnTo>
                    <a:pt x="328" y="318"/>
                  </a:lnTo>
                  <a:lnTo>
                    <a:pt x="328" y="316"/>
                  </a:lnTo>
                  <a:lnTo>
                    <a:pt x="328" y="314"/>
                  </a:lnTo>
                  <a:lnTo>
                    <a:pt x="330" y="314"/>
                  </a:lnTo>
                  <a:lnTo>
                    <a:pt x="330" y="312"/>
                  </a:lnTo>
                  <a:lnTo>
                    <a:pt x="336" y="307"/>
                  </a:lnTo>
                  <a:lnTo>
                    <a:pt x="345" y="303"/>
                  </a:lnTo>
                  <a:lnTo>
                    <a:pt x="345" y="301"/>
                  </a:lnTo>
                  <a:lnTo>
                    <a:pt x="347" y="298"/>
                  </a:lnTo>
                  <a:lnTo>
                    <a:pt x="345" y="294"/>
                  </a:lnTo>
                  <a:lnTo>
                    <a:pt x="343" y="290"/>
                  </a:lnTo>
                  <a:lnTo>
                    <a:pt x="341" y="287"/>
                  </a:lnTo>
                  <a:lnTo>
                    <a:pt x="338" y="283"/>
                  </a:lnTo>
                  <a:lnTo>
                    <a:pt x="338" y="279"/>
                  </a:lnTo>
                  <a:lnTo>
                    <a:pt x="339" y="274"/>
                  </a:lnTo>
                  <a:lnTo>
                    <a:pt x="345" y="266"/>
                  </a:lnTo>
                  <a:lnTo>
                    <a:pt x="352" y="259"/>
                  </a:lnTo>
                  <a:lnTo>
                    <a:pt x="362" y="255"/>
                  </a:lnTo>
                  <a:lnTo>
                    <a:pt x="369" y="255"/>
                  </a:lnTo>
                  <a:lnTo>
                    <a:pt x="375" y="255"/>
                  </a:lnTo>
                  <a:lnTo>
                    <a:pt x="380" y="255"/>
                  </a:lnTo>
                  <a:lnTo>
                    <a:pt x="386" y="253"/>
                  </a:lnTo>
                  <a:lnTo>
                    <a:pt x="391" y="248"/>
                  </a:lnTo>
                  <a:lnTo>
                    <a:pt x="395" y="235"/>
                  </a:lnTo>
                  <a:lnTo>
                    <a:pt x="395" y="227"/>
                  </a:lnTo>
                  <a:lnTo>
                    <a:pt x="393" y="222"/>
                  </a:lnTo>
                  <a:lnTo>
                    <a:pt x="389" y="218"/>
                  </a:lnTo>
                  <a:lnTo>
                    <a:pt x="382" y="215"/>
                  </a:lnTo>
                  <a:lnTo>
                    <a:pt x="376" y="209"/>
                  </a:lnTo>
                  <a:lnTo>
                    <a:pt x="371" y="203"/>
                  </a:lnTo>
                  <a:lnTo>
                    <a:pt x="365" y="196"/>
                  </a:lnTo>
                  <a:lnTo>
                    <a:pt x="363" y="187"/>
                  </a:lnTo>
                  <a:lnTo>
                    <a:pt x="360" y="183"/>
                  </a:lnTo>
                  <a:lnTo>
                    <a:pt x="356" y="178"/>
                  </a:lnTo>
                  <a:lnTo>
                    <a:pt x="352" y="176"/>
                  </a:lnTo>
                  <a:lnTo>
                    <a:pt x="347" y="176"/>
                  </a:lnTo>
                  <a:lnTo>
                    <a:pt x="334" y="185"/>
                  </a:lnTo>
                  <a:lnTo>
                    <a:pt x="321" y="192"/>
                  </a:lnTo>
                  <a:lnTo>
                    <a:pt x="317" y="192"/>
                  </a:lnTo>
                  <a:lnTo>
                    <a:pt x="315" y="189"/>
                  </a:lnTo>
                  <a:lnTo>
                    <a:pt x="314" y="187"/>
                  </a:lnTo>
                  <a:lnTo>
                    <a:pt x="314" y="185"/>
                  </a:lnTo>
                  <a:lnTo>
                    <a:pt x="315" y="179"/>
                  </a:lnTo>
                  <a:lnTo>
                    <a:pt x="312" y="174"/>
                  </a:lnTo>
                  <a:lnTo>
                    <a:pt x="299" y="170"/>
                  </a:lnTo>
                  <a:lnTo>
                    <a:pt x="284" y="168"/>
                  </a:lnTo>
                  <a:lnTo>
                    <a:pt x="273" y="165"/>
                  </a:lnTo>
                  <a:lnTo>
                    <a:pt x="260" y="163"/>
                  </a:lnTo>
                  <a:lnTo>
                    <a:pt x="251" y="161"/>
                  </a:lnTo>
                  <a:lnTo>
                    <a:pt x="243" y="161"/>
                  </a:lnTo>
                  <a:lnTo>
                    <a:pt x="242" y="168"/>
                  </a:lnTo>
                  <a:lnTo>
                    <a:pt x="238" y="178"/>
                  </a:lnTo>
                  <a:lnTo>
                    <a:pt x="236" y="181"/>
                  </a:lnTo>
                  <a:lnTo>
                    <a:pt x="234" y="183"/>
                  </a:lnTo>
                  <a:lnTo>
                    <a:pt x="229" y="183"/>
                  </a:lnTo>
                  <a:lnTo>
                    <a:pt x="223" y="181"/>
                  </a:lnTo>
                  <a:lnTo>
                    <a:pt x="218" y="174"/>
                  </a:lnTo>
                  <a:lnTo>
                    <a:pt x="214" y="168"/>
                  </a:lnTo>
                  <a:lnTo>
                    <a:pt x="214" y="163"/>
                  </a:lnTo>
                  <a:lnTo>
                    <a:pt x="216" y="159"/>
                  </a:lnTo>
                  <a:lnTo>
                    <a:pt x="221" y="152"/>
                  </a:lnTo>
                  <a:lnTo>
                    <a:pt x="223" y="146"/>
                  </a:lnTo>
                  <a:lnTo>
                    <a:pt x="214" y="133"/>
                  </a:lnTo>
                  <a:lnTo>
                    <a:pt x="205" y="120"/>
                  </a:lnTo>
                  <a:lnTo>
                    <a:pt x="212" y="113"/>
                  </a:lnTo>
                  <a:lnTo>
                    <a:pt x="221" y="107"/>
                  </a:lnTo>
                  <a:lnTo>
                    <a:pt x="223" y="102"/>
                  </a:lnTo>
                  <a:lnTo>
                    <a:pt x="225" y="96"/>
                  </a:lnTo>
                  <a:lnTo>
                    <a:pt x="240" y="91"/>
                  </a:lnTo>
                  <a:lnTo>
                    <a:pt x="253" y="85"/>
                  </a:lnTo>
                  <a:lnTo>
                    <a:pt x="256" y="72"/>
                  </a:lnTo>
                  <a:lnTo>
                    <a:pt x="260" y="59"/>
                  </a:lnTo>
                  <a:lnTo>
                    <a:pt x="266" y="52"/>
                  </a:lnTo>
                  <a:lnTo>
                    <a:pt x="271" y="41"/>
                  </a:lnTo>
                  <a:lnTo>
                    <a:pt x="267" y="39"/>
                  </a:lnTo>
                  <a:lnTo>
                    <a:pt x="266" y="37"/>
                  </a:lnTo>
                  <a:lnTo>
                    <a:pt x="266" y="32"/>
                  </a:lnTo>
                  <a:lnTo>
                    <a:pt x="266" y="26"/>
                  </a:lnTo>
                  <a:lnTo>
                    <a:pt x="267" y="17"/>
                  </a:lnTo>
                  <a:lnTo>
                    <a:pt x="266" y="9"/>
                  </a:lnTo>
                  <a:lnTo>
                    <a:pt x="262" y="6"/>
                  </a:lnTo>
                  <a:lnTo>
                    <a:pt x="258" y="2"/>
                  </a:lnTo>
                  <a:lnTo>
                    <a:pt x="253" y="0"/>
                  </a:lnTo>
                  <a:lnTo>
                    <a:pt x="247" y="0"/>
                  </a:lnTo>
                  <a:lnTo>
                    <a:pt x="243" y="2"/>
                  </a:lnTo>
                  <a:lnTo>
                    <a:pt x="240" y="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4" name="Freeform 70"/>
            <p:cNvSpPr>
              <a:spLocks/>
            </p:cNvSpPr>
            <p:nvPr/>
          </p:nvSpPr>
          <p:spPr bwMode="auto">
            <a:xfrm>
              <a:off x="4267357" y="2227886"/>
              <a:ext cx="86096" cy="117556"/>
            </a:xfrm>
            <a:custGeom>
              <a:avLst/>
              <a:gdLst>
                <a:gd name="T0" fmla="*/ 37 w 165"/>
                <a:gd name="T1" fmla="*/ 54 h 231"/>
                <a:gd name="T2" fmla="*/ 48 w 165"/>
                <a:gd name="T3" fmla="*/ 67 h 231"/>
                <a:gd name="T4" fmla="*/ 61 w 165"/>
                <a:gd name="T5" fmla="*/ 76 h 231"/>
                <a:gd name="T6" fmla="*/ 67 w 165"/>
                <a:gd name="T7" fmla="*/ 85 h 231"/>
                <a:gd name="T8" fmla="*/ 63 w 165"/>
                <a:gd name="T9" fmla="*/ 106 h 231"/>
                <a:gd name="T10" fmla="*/ 52 w 165"/>
                <a:gd name="T11" fmla="*/ 113 h 231"/>
                <a:gd name="T12" fmla="*/ 41 w 165"/>
                <a:gd name="T13" fmla="*/ 113 h 231"/>
                <a:gd name="T14" fmla="*/ 24 w 165"/>
                <a:gd name="T15" fmla="*/ 117 h 231"/>
                <a:gd name="T16" fmla="*/ 11 w 165"/>
                <a:gd name="T17" fmla="*/ 132 h 231"/>
                <a:gd name="T18" fmla="*/ 10 w 165"/>
                <a:gd name="T19" fmla="*/ 141 h 231"/>
                <a:gd name="T20" fmla="*/ 15 w 165"/>
                <a:gd name="T21" fmla="*/ 148 h 231"/>
                <a:gd name="T22" fmla="*/ 19 w 165"/>
                <a:gd name="T23" fmla="*/ 156 h 231"/>
                <a:gd name="T24" fmla="*/ 11 w 165"/>
                <a:gd name="T25" fmla="*/ 163 h 231"/>
                <a:gd name="T26" fmla="*/ 2 w 165"/>
                <a:gd name="T27" fmla="*/ 170 h 231"/>
                <a:gd name="T28" fmla="*/ 0 w 165"/>
                <a:gd name="T29" fmla="*/ 183 h 231"/>
                <a:gd name="T30" fmla="*/ 2 w 165"/>
                <a:gd name="T31" fmla="*/ 193 h 231"/>
                <a:gd name="T32" fmla="*/ 2 w 165"/>
                <a:gd name="T33" fmla="*/ 193 h 231"/>
                <a:gd name="T34" fmla="*/ 2 w 165"/>
                <a:gd name="T35" fmla="*/ 193 h 231"/>
                <a:gd name="T36" fmla="*/ 2 w 165"/>
                <a:gd name="T37" fmla="*/ 202 h 231"/>
                <a:gd name="T38" fmla="*/ 8 w 165"/>
                <a:gd name="T39" fmla="*/ 215 h 231"/>
                <a:gd name="T40" fmla="*/ 15 w 165"/>
                <a:gd name="T41" fmla="*/ 222 h 231"/>
                <a:gd name="T42" fmla="*/ 21 w 165"/>
                <a:gd name="T43" fmla="*/ 220 h 231"/>
                <a:gd name="T44" fmla="*/ 30 w 165"/>
                <a:gd name="T45" fmla="*/ 213 h 231"/>
                <a:gd name="T46" fmla="*/ 45 w 165"/>
                <a:gd name="T47" fmla="*/ 219 h 231"/>
                <a:gd name="T48" fmla="*/ 72 w 165"/>
                <a:gd name="T49" fmla="*/ 228 h 231"/>
                <a:gd name="T50" fmla="*/ 96 w 165"/>
                <a:gd name="T51" fmla="*/ 230 h 231"/>
                <a:gd name="T52" fmla="*/ 104 w 165"/>
                <a:gd name="T53" fmla="*/ 224 h 231"/>
                <a:gd name="T54" fmla="*/ 98 w 165"/>
                <a:gd name="T55" fmla="*/ 209 h 231"/>
                <a:gd name="T56" fmla="*/ 89 w 165"/>
                <a:gd name="T57" fmla="*/ 189 h 231"/>
                <a:gd name="T58" fmla="*/ 96 w 165"/>
                <a:gd name="T59" fmla="*/ 174 h 231"/>
                <a:gd name="T60" fmla="*/ 113 w 165"/>
                <a:gd name="T61" fmla="*/ 150 h 231"/>
                <a:gd name="T62" fmla="*/ 122 w 165"/>
                <a:gd name="T63" fmla="*/ 121 h 231"/>
                <a:gd name="T64" fmla="*/ 137 w 165"/>
                <a:gd name="T65" fmla="*/ 95 h 231"/>
                <a:gd name="T66" fmla="*/ 165 w 165"/>
                <a:gd name="T67" fmla="*/ 74 h 231"/>
                <a:gd name="T68" fmla="*/ 161 w 165"/>
                <a:gd name="T69" fmla="*/ 76 h 231"/>
                <a:gd name="T70" fmla="*/ 156 w 165"/>
                <a:gd name="T71" fmla="*/ 78 h 231"/>
                <a:gd name="T72" fmla="*/ 156 w 165"/>
                <a:gd name="T73" fmla="*/ 78 h 231"/>
                <a:gd name="T74" fmla="*/ 156 w 165"/>
                <a:gd name="T75" fmla="*/ 78 h 231"/>
                <a:gd name="T76" fmla="*/ 152 w 165"/>
                <a:gd name="T77" fmla="*/ 78 h 231"/>
                <a:gd name="T78" fmla="*/ 139 w 165"/>
                <a:gd name="T79" fmla="*/ 61 h 231"/>
                <a:gd name="T80" fmla="*/ 119 w 165"/>
                <a:gd name="T81" fmla="*/ 47 h 231"/>
                <a:gd name="T82" fmla="*/ 109 w 165"/>
                <a:gd name="T83" fmla="*/ 39 h 231"/>
                <a:gd name="T84" fmla="*/ 102 w 165"/>
                <a:gd name="T85" fmla="*/ 19 h 231"/>
                <a:gd name="T86" fmla="*/ 82 w 165"/>
                <a:gd name="T87" fmla="*/ 12 h 231"/>
                <a:gd name="T88" fmla="*/ 74 w 165"/>
                <a:gd name="T89" fmla="*/ 8 h 231"/>
                <a:gd name="T90" fmla="*/ 69 w 165"/>
                <a:gd name="T91" fmla="*/ 8 h 231"/>
                <a:gd name="T92" fmla="*/ 61 w 165"/>
                <a:gd name="T93" fmla="*/ 4 h 231"/>
                <a:gd name="T94" fmla="*/ 52 w 165"/>
                <a:gd name="T95" fmla="*/ 2 h 231"/>
                <a:gd name="T96" fmla="*/ 41 w 165"/>
                <a:gd name="T97" fmla="*/ 12 h 231"/>
                <a:gd name="T98" fmla="*/ 41 w 165"/>
                <a:gd name="T99" fmla="*/ 24 h 231"/>
                <a:gd name="T100" fmla="*/ 45 w 165"/>
                <a:gd name="T101" fmla="*/ 36 h 231"/>
                <a:gd name="T102" fmla="*/ 43 w 165"/>
                <a:gd name="T103" fmla="*/ 43 h 231"/>
                <a:gd name="T104" fmla="*/ 37 w 165"/>
                <a:gd name="T105" fmla="*/ 45 h 23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5"/>
                <a:gd name="T160" fmla="*/ 0 h 231"/>
                <a:gd name="T161" fmla="*/ 165 w 165"/>
                <a:gd name="T162" fmla="*/ 231 h 23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5" h="231">
                  <a:moveTo>
                    <a:pt x="35" y="45"/>
                  </a:moveTo>
                  <a:lnTo>
                    <a:pt x="37" y="54"/>
                  </a:lnTo>
                  <a:lnTo>
                    <a:pt x="43" y="61"/>
                  </a:lnTo>
                  <a:lnTo>
                    <a:pt x="48" y="67"/>
                  </a:lnTo>
                  <a:lnTo>
                    <a:pt x="54" y="73"/>
                  </a:lnTo>
                  <a:lnTo>
                    <a:pt x="61" y="76"/>
                  </a:lnTo>
                  <a:lnTo>
                    <a:pt x="65" y="80"/>
                  </a:lnTo>
                  <a:lnTo>
                    <a:pt x="67" y="85"/>
                  </a:lnTo>
                  <a:lnTo>
                    <a:pt x="67" y="93"/>
                  </a:lnTo>
                  <a:lnTo>
                    <a:pt x="63" y="106"/>
                  </a:lnTo>
                  <a:lnTo>
                    <a:pt x="58" y="111"/>
                  </a:lnTo>
                  <a:lnTo>
                    <a:pt x="52" y="113"/>
                  </a:lnTo>
                  <a:lnTo>
                    <a:pt x="47" y="113"/>
                  </a:lnTo>
                  <a:lnTo>
                    <a:pt x="41" y="113"/>
                  </a:lnTo>
                  <a:lnTo>
                    <a:pt x="34" y="113"/>
                  </a:lnTo>
                  <a:lnTo>
                    <a:pt x="24" y="117"/>
                  </a:lnTo>
                  <a:lnTo>
                    <a:pt x="17" y="124"/>
                  </a:lnTo>
                  <a:lnTo>
                    <a:pt x="11" y="132"/>
                  </a:lnTo>
                  <a:lnTo>
                    <a:pt x="10" y="137"/>
                  </a:lnTo>
                  <a:lnTo>
                    <a:pt x="10" y="141"/>
                  </a:lnTo>
                  <a:lnTo>
                    <a:pt x="13" y="145"/>
                  </a:lnTo>
                  <a:lnTo>
                    <a:pt x="15" y="148"/>
                  </a:lnTo>
                  <a:lnTo>
                    <a:pt x="17" y="152"/>
                  </a:lnTo>
                  <a:lnTo>
                    <a:pt x="19" y="156"/>
                  </a:lnTo>
                  <a:lnTo>
                    <a:pt x="17" y="159"/>
                  </a:lnTo>
                  <a:lnTo>
                    <a:pt x="11" y="163"/>
                  </a:lnTo>
                  <a:lnTo>
                    <a:pt x="4" y="167"/>
                  </a:lnTo>
                  <a:lnTo>
                    <a:pt x="2" y="170"/>
                  </a:lnTo>
                  <a:lnTo>
                    <a:pt x="0" y="176"/>
                  </a:lnTo>
                  <a:lnTo>
                    <a:pt x="0" y="183"/>
                  </a:lnTo>
                  <a:lnTo>
                    <a:pt x="2" y="193"/>
                  </a:lnTo>
                  <a:lnTo>
                    <a:pt x="2" y="202"/>
                  </a:lnTo>
                  <a:lnTo>
                    <a:pt x="4" y="209"/>
                  </a:lnTo>
                  <a:lnTo>
                    <a:pt x="8" y="215"/>
                  </a:lnTo>
                  <a:lnTo>
                    <a:pt x="11" y="220"/>
                  </a:lnTo>
                  <a:lnTo>
                    <a:pt x="15" y="222"/>
                  </a:lnTo>
                  <a:lnTo>
                    <a:pt x="19" y="222"/>
                  </a:lnTo>
                  <a:lnTo>
                    <a:pt x="21" y="220"/>
                  </a:lnTo>
                  <a:lnTo>
                    <a:pt x="24" y="219"/>
                  </a:lnTo>
                  <a:lnTo>
                    <a:pt x="30" y="213"/>
                  </a:lnTo>
                  <a:lnTo>
                    <a:pt x="35" y="211"/>
                  </a:lnTo>
                  <a:lnTo>
                    <a:pt x="45" y="219"/>
                  </a:lnTo>
                  <a:lnTo>
                    <a:pt x="58" y="226"/>
                  </a:lnTo>
                  <a:lnTo>
                    <a:pt x="72" y="228"/>
                  </a:lnTo>
                  <a:lnTo>
                    <a:pt x="89" y="231"/>
                  </a:lnTo>
                  <a:lnTo>
                    <a:pt x="96" y="230"/>
                  </a:lnTo>
                  <a:lnTo>
                    <a:pt x="100" y="228"/>
                  </a:lnTo>
                  <a:lnTo>
                    <a:pt x="104" y="224"/>
                  </a:lnTo>
                  <a:lnTo>
                    <a:pt x="106" y="220"/>
                  </a:lnTo>
                  <a:lnTo>
                    <a:pt x="98" y="209"/>
                  </a:lnTo>
                  <a:lnTo>
                    <a:pt x="89" y="196"/>
                  </a:lnTo>
                  <a:lnTo>
                    <a:pt x="89" y="189"/>
                  </a:lnTo>
                  <a:lnTo>
                    <a:pt x="93" y="182"/>
                  </a:lnTo>
                  <a:lnTo>
                    <a:pt x="96" y="174"/>
                  </a:lnTo>
                  <a:lnTo>
                    <a:pt x="102" y="167"/>
                  </a:lnTo>
                  <a:lnTo>
                    <a:pt x="113" y="150"/>
                  </a:lnTo>
                  <a:lnTo>
                    <a:pt x="122" y="137"/>
                  </a:lnTo>
                  <a:lnTo>
                    <a:pt x="122" y="121"/>
                  </a:lnTo>
                  <a:lnTo>
                    <a:pt x="122" y="106"/>
                  </a:lnTo>
                  <a:lnTo>
                    <a:pt x="137" y="95"/>
                  </a:lnTo>
                  <a:lnTo>
                    <a:pt x="165" y="74"/>
                  </a:lnTo>
                  <a:lnTo>
                    <a:pt x="161" y="76"/>
                  </a:lnTo>
                  <a:lnTo>
                    <a:pt x="156" y="78"/>
                  </a:lnTo>
                  <a:lnTo>
                    <a:pt x="152" y="78"/>
                  </a:lnTo>
                  <a:lnTo>
                    <a:pt x="148" y="78"/>
                  </a:lnTo>
                  <a:lnTo>
                    <a:pt x="139" y="61"/>
                  </a:lnTo>
                  <a:lnTo>
                    <a:pt x="128" y="47"/>
                  </a:lnTo>
                  <a:lnTo>
                    <a:pt x="119" y="47"/>
                  </a:lnTo>
                  <a:lnTo>
                    <a:pt x="109" y="47"/>
                  </a:lnTo>
                  <a:lnTo>
                    <a:pt x="109" y="39"/>
                  </a:lnTo>
                  <a:lnTo>
                    <a:pt x="111" y="34"/>
                  </a:lnTo>
                  <a:lnTo>
                    <a:pt x="102" y="19"/>
                  </a:lnTo>
                  <a:lnTo>
                    <a:pt x="91" y="10"/>
                  </a:lnTo>
                  <a:lnTo>
                    <a:pt x="82" y="12"/>
                  </a:lnTo>
                  <a:lnTo>
                    <a:pt x="76" y="10"/>
                  </a:lnTo>
                  <a:lnTo>
                    <a:pt x="74" y="8"/>
                  </a:lnTo>
                  <a:lnTo>
                    <a:pt x="72" y="6"/>
                  </a:lnTo>
                  <a:lnTo>
                    <a:pt x="69" y="8"/>
                  </a:lnTo>
                  <a:lnTo>
                    <a:pt x="67" y="10"/>
                  </a:lnTo>
                  <a:lnTo>
                    <a:pt x="61" y="4"/>
                  </a:lnTo>
                  <a:lnTo>
                    <a:pt x="58" y="0"/>
                  </a:lnTo>
                  <a:lnTo>
                    <a:pt x="52" y="2"/>
                  </a:lnTo>
                  <a:lnTo>
                    <a:pt x="47" y="6"/>
                  </a:lnTo>
                  <a:lnTo>
                    <a:pt x="41" y="12"/>
                  </a:lnTo>
                  <a:lnTo>
                    <a:pt x="39" y="17"/>
                  </a:lnTo>
                  <a:lnTo>
                    <a:pt x="41" y="24"/>
                  </a:lnTo>
                  <a:lnTo>
                    <a:pt x="45" y="32"/>
                  </a:lnTo>
                  <a:lnTo>
                    <a:pt x="45" y="36"/>
                  </a:lnTo>
                  <a:lnTo>
                    <a:pt x="45" y="39"/>
                  </a:lnTo>
                  <a:lnTo>
                    <a:pt x="43" y="43"/>
                  </a:lnTo>
                  <a:lnTo>
                    <a:pt x="39" y="45"/>
                  </a:lnTo>
                  <a:lnTo>
                    <a:pt x="37" y="45"/>
                  </a:lnTo>
                  <a:lnTo>
                    <a:pt x="35" y="4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5" name="Freeform 71"/>
            <p:cNvSpPr>
              <a:spLocks/>
            </p:cNvSpPr>
            <p:nvPr/>
          </p:nvSpPr>
          <p:spPr bwMode="auto">
            <a:xfrm>
              <a:off x="4030464" y="2324069"/>
              <a:ext cx="171670" cy="144019"/>
            </a:xfrm>
            <a:custGeom>
              <a:avLst/>
              <a:gdLst>
                <a:gd name="T0" fmla="*/ 290 w 329"/>
                <a:gd name="T1" fmla="*/ 166 h 283"/>
                <a:gd name="T2" fmla="*/ 303 w 329"/>
                <a:gd name="T3" fmla="*/ 161 h 283"/>
                <a:gd name="T4" fmla="*/ 316 w 329"/>
                <a:gd name="T5" fmla="*/ 153 h 283"/>
                <a:gd name="T6" fmla="*/ 310 w 329"/>
                <a:gd name="T7" fmla="*/ 127 h 283"/>
                <a:gd name="T8" fmla="*/ 327 w 329"/>
                <a:gd name="T9" fmla="*/ 116 h 283"/>
                <a:gd name="T10" fmla="*/ 319 w 329"/>
                <a:gd name="T11" fmla="*/ 103 h 283"/>
                <a:gd name="T12" fmla="*/ 310 w 329"/>
                <a:gd name="T13" fmla="*/ 105 h 283"/>
                <a:gd name="T14" fmla="*/ 290 w 329"/>
                <a:gd name="T15" fmla="*/ 116 h 283"/>
                <a:gd name="T16" fmla="*/ 283 w 329"/>
                <a:gd name="T17" fmla="*/ 137 h 283"/>
                <a:gd name="T18" fmla="*/ 273 w 329"/>
                <a:gd name="T19" fmla="*/ 144 h 283"/>
                <a:gd name="T20" fmla="*/ 266 w 329"/>
                <a:gd name="T21" fmla="*/ 124 h 283"/>
                <a:gd name="T22" fmla="*/ 238 w 329"/>
                <a:gd name="T23" fmla="*/ 122 h 283"/>
                <a:gd name="T24" fmla="*/ 235 w 329"/>
                <a:gd name="T25" fmla="*/ 109 h 283"/>
                <a:gd name="T26" fmla="*/ 227 w 329"/>
                <a:gd name="T27" fmla="*/ 96 h 283"/>
                <a:gd name="T28" fmla="*/ 218 w 329"/>
                <a:gd name="T29" fmla="*/ 83 h 283"/>
                <a:gd name="T30" fmla="*/ 218 w 329"/>
                <a:gd name="T31" fmla="*/ 57 h 283"/>
                <a:gd name="T32" fmla="*/ 218 w 329"/>
                <a:gd name="T33" fmla="*/ 42 h 283"/>
                <a:gd name="T34" fmla="*/ 218 w 329"/>
                <a:gd name="T35" fmla="*/ 20 h 283"/>
                <a:gd name="T36" fmla="*/ 216 w 329"/>
                <a:gd name="T37" fmla="*/ 7 h 283"/>
                <a:gd name="T38" fmla="*/ 201 w 329"/>
                <a:gd name="T39" fmla="*/ 20 h 283"/>
                <a:gd name="T40" fmla="*/ 190 w 329"/>
                <a:gd name="T41" fmla="*/ 7 h 283"/>
                <a:gd name="T42" fmla="*/ 174 w 329"/>
                <a:gd name="T43" fmla="*/ 4 h 283"/>
                <a:gd name="T44" fmla="*/ 155 w 329"/>
                <a:gd name="T45" fmla="*/ 4 h 283"/>
                <a:gd name="T46" fmla="*/ 122 w 329"/>
                <a:gd name="T47" fmla="*/ 9 h 283"/>
                <a:gd name="T48" fmla="*/ 72 w 329"/>
                <a:gd name="T49" fmla="*/ 7 h 283"/>
                <a:gd name="T50" fmla="*/ 61 w 329"/>
                <a:gd name="T51" fmla="*/ 15 h 283"/>
                <a:gd name="T52" fmla="*/ 63 w 329"/>
                <a:gd name="T53" fmla="*/ 24 h 283"/>
                <a:gd name="T54" fmla="*/ 66 w 329"/>
                <a:gd name="T55" fmla="*/ 30 h 283"/>
                <a:gd name="T56" fmla="*/ 52 w 329"/>
                <a:gd name="T57" fmla="*/ 50 h 283"/>
                <a:gd name="T58" fmla="*/ 28 w 329"/>
                <a:gd name="T59" fmla="*/ 59 h 283"/>
                <a:gd name="T60" fmla="*/ 22 w 329"/>
                <a:gd name="T61" fmla="*/ 54 h 283"/>
                <a:gd name="T62" fmla="*/ 15 w 329"/>
                <a:gd name="T63" fmla="*/ 46 h 283"/>
                <a:gd name="T64" fmla="*/ 0 w 329"/>
                <a:gd name="T65" fmla="*/ 54 h 283"/>
                <a:gd name="T66" fmla="*/ 0 w 329"/>
                <a:gd name="T67" fmla="*/ 65 h 283"/>
                <a:gd name="T68" fmla="*/ 20 w 329"/>
                <a:gd name="T69" fmla="*/ 72 h 283"/>
                <a:gd name="T70" fmla="*/ 29 w 329"/>
                <a:gd name="T71" fmla="*/ 90 h 283"/>
                <a:gd name="T72" fmla="*/ 44 w 329"/>
                <a:gd name="T73" fmla="*/ 92 h 283"/>
                <a:gd name="T74" fmla="*/ 57 w 329"/>
                <a:gd name="T75" fmla="*/ 103 h 283"/>
                <a:gd name="T76" fmla="*/ 94 w 329"/>
                <a:gd name="T77" fmla="*/ 113 h 283"/>
                <a:gd name="T78" fmla="*/ 96 w 329"/>
                <a:gd name="T79" fmla="*/ 148 h 283"/>
                <a:gd name="T80" fmla="*/ 111 w 329"/>
                <a:gd name="T81" fmla="*/ 172 h 283"/>
                <a:gd name="T82" fmla="*/ 129 w 329"/>
                <a:gd name="T83" fmla="*/ 175 h 283"/>
                <a:gd name="T84" fmla="*/ 144 w 329"/>
                <a:gd name="T85" fmla="*/ 181 h 283"/>
                <a:gd name="T86" fmla="*/ 146 w 329"/>
                <a:gd name="T87" fmla="*/ 196 h 283"/>
                <a:gd name="T88" fmla="*/ 155 w 329"/>
                <a:gd name="T89" fmla="*/ 203 h 283"/>
                <a:gd name="T90" fmla="*/ 161 w 329"/>
                <a:gd name="T91" fmla="*/ 231 h 283"/>
                <a:gd name="T92" fmla="*/ 168 w 329"/>
                <a:gd name="T93" fmla="*/ 242 h 283"/>
                <a:gd name="T94" fmla="*/ 188 w 329"/>
                <a:gd name="T95" fmla="*/ 260 h 283"/>
                <a:gd name="T96" fmla="*/ 186 w 329"/>
                <a:gd name="T97" fmla="*/ 275 h 283"/>
                <a:gd name="T98" fmla="*/ 203 w 329"/>
                <a:gd name="T99" fmla="*/ 283 h 283"/>
                <a:gd name="T100" fmla="*/ 242 w 329"/>
                <a:gd name="T101" fmla="*/ 229 h 283"/>
                <a:gd name="T102" fmla="*/ 246 w 329"/>
                <a:gd name="T103" fmla="*/ 214 h 283"/>
                <a:gd name="T104" fmla="*/ 262 w 329"/>
                <a:gd name="T105" fmla="*/ 222 h 283"/>
                <a:gd name="T106" fmla="*/ 307 w 329"/>
                <a:gd name="T107" fmla="*/ 212 h 283"/>
                <a:gd name="T108" fmla="*/ 314 w 329"/>
                <a:gd name="T109" fmla="*/ 218 h 283"/>
                <a:gd name="T110" fmla="*/ 308 w 329"/>
                <a:gd name="T111" fmla="*/ 187 h 283"/>
                <a:gd name="T112" fmla="*/ 299 w 329"/>
                <a:gd name="T113" fmla="*/ 175 h 2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9"/>
                <a:gd name="T172" fmla="*/ 0 h 283"/>
                <a:gd name="T173" fmla="*/ 329 w 329"/>
                <a:gd name="T174" fmla="*/ 283 h 28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9" h="283">
                  <a:moveTo>
                    <a:pt x="292" y="174"/>
                  </a:moveTo>
                  <a:lnTo>
                    <a:pt x="290" y="170"/>
                  </a:lnTo>
                  <a:lnTo>
                    <a:pt x="290" y="166"/>
                  </a:lnTo>
                  <a:lnTo>
                    <a:pt x="292" y="164"/>
                  </a:lnTo>
                  <a:lnTo>
                    <a:pt x="297" y="163"/>
                  </a:lnTo>
                  <a:lnTo>
                    <a:pt x="303" y="161"/>
                  </a:lnTo>
                  <a:lnTo>
                    <a:pt x="308" y="159"/>
                  </a:lnTo>
                  <a:lnTo>
                    <a:pt x="314" y="157"/>
                  </a:lnTo>
                  <a:lnTo>
                    <a:pt x="316" y="153"/>
                  </a:lnTo>
                  <a:lnTo>
                    <a:pt x="310" y="142"/>
                  </a:lnTo>
                  <a:lnTo>
                    <a:pt x="301" y="133"/>
                  </a:lnTo>
                  <a:lnTo>
                    <a:pt x="310" y="127"/>
                  </a:lnTo>
                  <a:lnTo>
                    <a:pt x="319" y="122"/>
                  </a:lnTo>
                  <a:lnTo>
                    <a:pt x="325" y="120"/>
                  </a:lnTo>
                  <a:lnTo>
                    <a:pt x="327" y="116"/>
                  </a:lnTo>
                  <a:lnTo>
                    <a:pt x="329" y="113"/>
                  </a:lnTo>
                  <a:lnTo>
                    <a:pt x="325" y="107"/>
                  </a:lnTo>
                  <a:lnTo>
                    <a:pt x="319" y="103"/>
                  </a:lnTo>
                  <a:lnTo>
                    <a:pt x="316" y="103"/>
                  </a:lnTo>
                  <a:lnTo>
                    <a:pt x="312" y="103"/>
                  </a:lnTo>
                  <a:lnTo>
                    <a:pt x="310" y="105"/>
                  </a:lnTo>
                  <a:lnTo>
                    <a:pt x="305" y="109"/>
                  </a:lnTo>
                  <a:lnTo>
                    <a:pt x="299" y="113"/>
                  </a:lnTo>
                  <a:lnTo>
                    <a:pt x="290" y="116"/>
                  </a:lnTo>
                  <a:lnTo>
                    <a:pt x="283" y="118"/>
                  </a:lnTo>
                  <a:lnTo>
                    <a:pt x="283" y="126"/>
                  </a:lnTo>
                  <a:lnTo>
                    <a:pt x="283" y="137"/>
                  </a:lnTo>
                  <a:lnTo>
                    <a:pt x="279" y="140"/>
                  </a:lnTo>
                  <a:lnTo>
                    <a:pt x="277" y="144"/>
                  </a:lnTo>
                  <a:lnTo>
                    <a:pt x="273" y="144"/>
                  </a:lnTo>
                  <a:lnTo>
                    <a:pt x="270" y="142"/>
                  </a:lnTo>
                  <a:lnTo>
                    <a:pt x="268" y="133"/>
                  </a:lnTo>
                  <a:lnTo>
                    <a:pt x="266" y="124"/>
                  </a:lnTo>
                  <a:lnTo>
                    <a:pt x="255" y="126"/>
                  </a:lnTo>
                  <a:lnTo>
                    <a:pt x="240" y="127"/>
                  </a:lnTo>
                  <a:lnTo>
                    <a:pt x="238" y="122"/>
                  </a:lnTo>
                  <a:lnTo>
                    <a:pt x="236" y="116"/>
                  </a:lnTo>
                  <a:lnTo>
                    <a:pt x="236" y="113"/>
                  </a:lnTo>
                  <a:lnTo>
                    <a:pt x="235" y="109"/>
                  </a:lnTo>
                  <a:lnTo>
                    <a:pt x="231" y="105"/>
                  </a:lnTo>
                  <a:lnTo>
                    <a:pt x="225" y="103"/>
                  </a:lnTo>
                  <a:lnTo>
                    <a:pt x="227" y="96"/>
                  </a:lnTo>
                  <a:lnTo>
                    <a:pt x="227" y="90"/>
                  </a:lnTo>
                  <a:lnTo>
                    <a:pt x="222" y="87"/>
                  </a:lnTo>
                  <a:lnTo>
                    <a:pt x="218" y="83"/>
                  </a:lnTo>
                  <a:lnTo>
                    <a:pt x="218" y="76"/>
                  </a:lnTo>
                  <a:lnTo>
                    <a:pt x="220" y="65"/>
                  </a:lnTo>
                  <a:lnTo>
                    <a:pt x="218" y="57"/>
                  </a:lnTo>
                  <a:lnTo>
                    <a:pt x="216" y="50"/>
                  </a:lnTo>
                  <a:lnTo>
                    <a:pt x="216" y="46"/>
                  </a:lnTo>
                  <a:lnTo>
                    <a:pt x="218" y="42"/>
                  </a:lnTo>
                  <a:lnTo>
                    <a:pt x="220" y="37"/>
                  </a:lnTo>
                  <a:lnTo>
                    <a:pt x="222" y="30"/>
                  </a:lnTo>
                  <a:lnTo>
                    <a:pt x="218" y="20"/>
                  </a:lnTo>
                  <a:lnTo>
                    <a:pt x="216" y="11"/>
                  </a:lnTo>
                  <a:lnTo>
                    <a:pt x="216" y="9"/>
                  </a:lnTo>
                  <a:lnTo>
                    <a:pt x="216" y="7"/>
                  </a:lnTo>
                  <a:lnTo>
                    <a:pt x="212" y="13"/>
                  </a:lnTo>
                  <a:lnTo>
                    <a:pt x="207" y="17"/>
                  </a:lnTo>
                  <a:lnTo>
                    <a:pt x="201" y="20"/>
                  </a:lnTo>
                  <a:lnTo>
                    <a:pt x="194" y="20"/>
                  </a:lnTo>
                  <a:lnTo>
                    <a:pt x="194" y="13"/>
                  </a:lnTo>
                  <a:lnTo>
                    <a:pt x="190" y="7"/>
                  </a:lnTo>
                  <a:lnTo>
                    <a:pt x="183" y="9"/>
                  </a:lnTo>
                  <a:lnTo>
                    <a:pt x="175" y="9"/>
                  </a:lnTo>
                  <a:lnTo>
                    <a:pt x="174" y="4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55" y="4"/>
                  </a:lnTo>
                  <a:lnTo>
                    <a:pt x="151" y="7"/>
                  </a:lnTo>
                  <a:lnTo>
                    <a:pt x="146" y="11"/>
                  </a:lnTo>
                  <a:lnTo>
                    <a:pt x="122" y="9"/>
                  </a:lnTo>
                  <a:lnTo>
                    <a:pt x="98" y="5"/>
                  </a:lnTo>
                  <a:lnTo>
                    <a:pt x="85" y="5"/>
                  </a:lnTo>
                  <a:lnTo>
                    <a:pt x="72" y="7"/>
                  </a:lnTo>
                  <a:lnTo>
                    <a:pt x="68" y="9"/>
                  </a:lnTo>
                  <a:lnTo>
                    <a:pt x="65" y="11"/>
                  </a:lnTo>
                  <a:lnTo>
                    <a:pt x="61" y="15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63" y="24"/>
                  </a:lnTo>
                  <a:lnTo>
                    <a:pt x="65" y="24"/>
                  </a:lnTo>
                  <a:lnTo>
                    <a:pt x="66" y="26"/>
                  </a:lnTo>
                  <a:lnTo>
                    <a:pt x="66" y="30"/>
                  </a:lnTo>
                  <a:lnTo>
                    <a:pt x="66" y="33"/>
                  </a:lnTo>
                  <a:lnTo>
                    <a:pt x="59" y="42"/>
                  </a:lnTo>
                  <a:lnTo>
                    <a:pt x="52" y="50"/>
                  </a:lnTo>
                  <a:lnTo>
                    <a:pt x="41" y="54"/>
                  </a:lnTo>
                  <a:lnTo>
                    <a:pt x="29" y="59"/>
                  </a:lnTo>
                  <a:lnTo>
                    <a:pt x="28" y="59"/>
                  </a:lnTo>
                  <a:lnTo>
                    <a:pt x="26" y="57"/>
                  </a:lnTo>
                  <a:lnTo>
                    <a:pt x="24" y="57"/>
                  </a:lnTo>
                  <a:lnTo>
                    <a:pt x="22" y="54"/>
                  </a:lnTo>
                  <a:lnTo>
                    <a:pt x="20" y="50"/>
                  </a:lnTo>
                  <a:lnTo>
                    <a:pt x="18" y="46"/>
                  </a:lnTo>
                  <a:lnTo>
                    <a:pt x="15" y="46"/>
                  </a:lnTo>
                  <a:lnTo>
                    <a:pt x="9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0" y="65"/>
                  </a:lnTo>
                  <a:lnTo>
                    <a:pt x="2" y="68"/>
                  </a:lnTo>
                  <a:lnTo>
                    <a:pt x="9" y="72"/>
                  </a:lnTo>
                  <a:lnTo>
                    <a:pt x="20" y="72"/>
                  </a:lnTo>
                  <a:lnTo>
                    <a:pt x="24" y="81"/>
                  </a:lnTo>
                  <a:lnTo>
                    <a:pt x="28" y="87"/>
                  </a:lnTo>
                  <a:lnTo>
                    <a:pt x="29" y="90"/>
                  </a:lnTo>
                  <a:lnTo>
                    <a:pt x="35" y="92"/>
                  </a:lnTo>
                  <a:lnTo>
                    <a:pt x="41" y="90"/>
                  </a:lnTo>
                  <a:lnTo>
                    <a:pt x="44" y="92"/>
                  </a:lnTo>
                  <a:lnTo>
                    <a:pt x="48" y="94"/>
                  </a:lnTo>
                  <a:lnTo>
                    <a:pt x="52" y="98"/>
                  </a:lnTo>
                  <a:lnTo>
                    <a:pt x="57" y="103"/>
                  </a:lnTo>
                  <a:lnTo>
                    <a:pt x="65" y="109"/>
                  </a:lnTo>
                  <a:lnTo>
                    <a:pt x="79" y="109"/>
                  </a:lnTo>
                  <a:lnTo>
                    <a:pt x="94" y="113"/>
                  </a:lnTo>
                  <a:lnTo>
                    <a:pt x="94" y="124"/>
                  </a:lnTo>
                  <a:lnTo>
                    <a:pt x="92" y="137"/>
                  </a:lnTo>
                  <a:lnTo>
                    <a:pt x="96" y="148"/>
                  </a:lnTo>
                  <a:lnTo>
                    <a:pt x="100" y="157"/>
                  </a:lnTo>
                  <a:lnTo>
                    <a:pt x="105" y="166"/>
                  </a:lnTo>
                  <a:lnTo>
                    <a:pt x="111" y="172"/>
                  </a:lnTo>
                  <a:lnTo>
                    <a:pt x="118" y="174"/>
                  </a:lnTo>
                  <a:lnTo>
                    <a:pt x="124" y="175"/>
                  </a:lnTo>
                  <a:lnTo>
                    <a:pt x="129" y="175"/>
                  </a:lnTo>
                  <a:lnTo>
                    <a:pt x="135" y="177"/>
                  </a:lnTo>
                  <a:lnTo>
                    <a:pt x="140" y="179"/>
                  </a:lnTo>
                  <a:lnTo>
                    <a:pt x="144" y="181"/>
                  </a:lnTo>
                  <a:lnTo>
                    <a:pt x="146" y="187"/>
                  </a:lnTo>
                  <a:lnTo>
                    <a:pt x="146" y="192"/>
                  </a:lnTo>
                  <a:lnTo>
                    <a:pt x="146" y="196"/>
                  </a:lnTo>
                  <a:lnTo>
                    <a:pt x="148" y="198"/>
                  </a:lnTo>
                  <a:lnTo>
                    <a:pt x="151" y="200"/>
                  </a:lnTo>
                  <a:lnTo>
                    <a:pt x="155" y="203"/>
                  </a:lnTo>
                  <a:lnTo>
                    <a:pt x="155" y="211"/>
                  </a:lnTo>
                  <a:lnTo>
                    <a:pt x="155" y="220"/>
                  </a:lnTo>
                  <a:lnTo>
                    <a:pt x="161" y="231"/>
                  </a:lnTo>
                  <a:lnTo>
                    <a:pt x="168" y="242"/>
                  </a:lnTo>
                  <a:lnTo>
                    <a:pt x="174" y="249"/>
                  </a:lnTo>
                  <a:lnTo>
                    <a:pt x="181" y="257"/>
                  </a:lnTo>
                  <a:lnTo>
                    <a:pt x="188" y="260"/>
                  </a:lnTo>
                  <a:lnTo>
                    <a:pt x="194" y="264"/>
                  </a:lnTo>
                  <a:lnTo>
                    <a:pt x="188" y="270"/>
                  </a:lnTo>
                  <a:lnTo>
                    <a:pt x="186" y="275"/>
                  </a:lnTo>
                  <a:lnTo>
                    <a:pt x="194" y="281"/>
                  </a:lnTo>
                  <a:lnTo>
                    <a:pt x="203" y="283"/>
                  </a:lnTo>
                  <a:lnTo>
                    <a:pt x="225" y="264"/>
                  </a:lnTo>
                  <a:lnTo>
                    <a:pt x="244" y="246"/>
                  </a:lnTo>
                  <a:lnTo>
                    <a:pt x="242" y="229"/>
                  </a:lnTo>
                  <a:lnTo>
                    <a:pt x="238" y="216"/>
                  </a:lnTo>
                  <a:lnTo>
                    <a:pt x="242" y="214"/>
                  </a:lnTo>
                  <a:lnTo>
                    <a:pt x="246" y="214"/>
                  </a:lnTo>
                  <a:lnTo>
                    <a:pt x="249" y="216"/>
                  </a:lnTo>
                  <a:lnTo>
                    <a:pt x="253" y="218"/>
                  </a:lnTo>
                  <a:lnTo>
                    <a:pt x="262" y="222"/>
                  </a:lnTo>
                  <a:lnTo>
                    <a:pt x="271" y="224"/>
                  </a:lnTo>
                  <a:lnTo>
                    <a:pt x="290" y="218"/>
                  </a:lnTo>
                  <a:lnTo>
                    <a:pt x="307" y="212"/>
                  </a:lnTo>
                  <a:lnTo>
                    <a:pt x="310" y="214"/>
                  </a:lnTo>
                  <a:lnTo>
                    <a:pt x="312" y="216"/>
                  </a:lnTo>
                  <a:lnTo>
                    <a:pt x="314" y="218"/>
                  </a:lnTo>
                  <a:lnTo>
                    <a:pt x="318" y="216"/>
                  </a:lnTo>
                  <a:lnTo>
                    <a:pt x="312" y="200"/>
                  </a:lnTo>
                  <a:lnTo>
                    <a:pt x="308" y="187"/>
                  </a:lnTo>
                  <a:lnTo>
                    <a:pt x="308" y="183"/>
                  </a:lnTo>
                  <a:lnTo>
                    <a:pt x="305" y="179"/>
                  </a:lnTo>
                  <a:lnTo>
                    <a:pt x="299" y="175"/>
                  </a:lnTo>
                  <a:lnTo>
                    <a:pt x="292" y="17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6" name="Freeform 72"/>
            <p:cNvSpPr>
              <a:spLocks/>
            </p:cNvSpPr>
            <p:nvPr/>
          </p:nvSpPr>
          <p:spPr bwMode="auto">
            <a:xfrm>
              <a:off x="4147867" y="2302186"/>
              <a:ext cx="113751" cy="117048"/>
            </a:xfrm>
            <a:custGeom>
              <a:avLst/>
              <a:gdLst>
                <a:gd name="T0" fmla="*/ 98 w 218"/>
                <a:gd name="T1" fmla="*/ 230 h 230"/>
                <a:gd name="T2" fmla="*/ 122 w 218"/>
                <a:gd name="T3" fmla="*/ 217 h 230"/>
                <a:gd name="T4" fmla="*/ 128 w 218"/>
                <a:gd name="T5" fmla="*/ 196 h 230"/>
                <a:gd name="T6" fmla="*/ 144 w 218"/>
                <a:gd name="T7" fmla="*/ 170 h 230"/>
                <a:gd name="T8" fmla="*/ 159 w 218"/>
                <a:gd name="T9" fmla="*/ 163 h 230"/>
                <a:gd name="T10" fmla="*/ 161 w 218"/>
                <a:gd name="T11" fmla="*/ 145 h 230"/>
                <a:gd name="T12" fmla="*/ 185 w 218"/>
                <a:gd name="T13" fmla="*/ 104 h 230"/>
                <a:gd name="T14" fmla="*/ 202 w 218"/>
                <a:gd name="T15" fmla="*/ 76 h 230"/>
                <a:gd name="T16" fmla="*/ 215 w 218"/>
                <a:gd name="T17" fmla="*/ 58 h 230"/>
                <a:gd name="T18" fmla="*/ 209 w 218"/>
                <a:gd name="T19" fmla="*/ 52 h 230"/>
                <a:gd name="T20" fmla="*/ 200 w 218"/>
                <a:gd name="T21" fmla="*/ 45 h 230"/>
                <a:gd name="T22" fmla="*/ 196 w 218"/>
                <a:gd name="T23" fmla="*/ 23 h 230"/>
                <a:gd name="T24" fmla="*/ 170 w 218"/>
                <a:gd name="T25" fmla="*/ 23 h 230"/>
                <a:gd name="T26" fmla="*/ 163 w 218"/>
                <a:gd name="T27" fmla="*/ 4 h 230"/>
                <a:gd name="T28" fmla="*/ 139 w 218"/>
                <a:gd name="T29" fmla="*/ 6 h 230"/>
                <a:gd name="T30" fmla="*/ 119 w 218"/>
                <a:gd name="T31" fmla="*/ 28 h 230"/>
                <a:gd name="T32" fmla="*/ 113 w 218"/>
                <a:gd name="T33" fmla="*/ 48 h 230"/>
                <a:gd name="T34" fmla="*/ 91 w 218"/>
                <a:gd name="T35" fmla="*/ 65 h 230"/>
                <a:gd name="T36" fmla="*/ 78 w 218"/>
                <a:gd name="T37" fmla="*/ 60 h 230"/>
                <a:gd name="T38" fmla="*/ 70 w 218"/>
                <a:gd name="T39" fmla="*/ 50 h 230"/>
                <a:gd name="T40" fmla="*/ 56 w 218"/>
                <a:gd name="T41" fmla="*/ 58 h 230"/>
                <a:gd name="T42" fmla="*/ 52 w 218"/>
                <a:gd name="T43" fmla="*/ 74 h 230"/>
                <a:gd name="T44" fmla="*/ 56 w 218"/>
                <a:gd name="T45" fmla="*/ 91 h 230"/>
                <a:gd name="T46" fmla="*/ 45 w 218"/>
                <a:gd name="T47" fmla="*/ 100 h 230"/>
                <a:gd name="T48" fmla="*/ 22 w 218"/>
                <a:gd name="T49" fmla="*/ 100 h 230"/>
                <a:gd name="T50" fmla="*/ 21 w 218"/>
                <a:gd name="T51" fmla="*/ 119 h 230"/>
                <a:gd name="T52" fmla="*/ 15 w 218"/>
                <a:gd name="T53" fmla="*/ 132 h 230"/>
                <a:gd name="T54" fmla="*/ 4 w 218"/>
                <a:gd name="T55" fmla="*/ 133 h 230"/>
                <a:gd name="T56" fmla="*/ 0 w 218"/>
                <a:gd name="T57" fmla="*/ 146 h 230"/>
                <a:gd name="T58" fmla="*/ 11 w 218"/>
                <a:gd name="T59" fmla="*/ 156 h 230"/>
                <a:gd name="T60" fmla="*/ 15 w 218"/>
                <a:gd name="T61" fmla="*/ 170 h 230"/>
                <a:gd name="T62" fmla="*/ 43 w 218"/>
                <a:gd name="T63" fmla="*/ 176 h 230"/>
                <a:gd name="T64" fmla="*/ 52 w 218"/>
                <a:gd name="T65" fmla="*/ 187 h 230"/>
                <a:gd name="T66" fmla="*/ 58 w 218"/>
                <a:gd name="T67" fmla="*/ 169 h 230"/>
                <a:gd name="T68" fmla="*/ 74 w 218"/>
                <a:gd name="T69" fmla="*/ 156 h 230"/>
                <a:gd name="T70" fmla="*/ 87 w 218"/>
                <a:gd name="T71" fmla="*/ 146 h 230"/>
                <a:gd name="T72" fmla="*/ 100 w 218"/>
                <a:gd name="T73" fmla="*/ 150 h 230"/>
                <a:gd name="T74" fmla="*/ 100 w 218"/>
                <a:gd name="T75" fmla="*/ 163 h 230"/>
                <a:gd name="T76" fmla="*/ 76 w 218"/>
                <a:gd name="T77" fmla="*/ 176 h 230"/>
                <a:gd name="T78" fmla="*/ 89 w 218"/>
                <a:gd name="T79" fmla="*/ 200 h 230"/>
                <a:gd name="T80" fmla="*/ 72 w 218"/>
                <a:gd name="T81" fmla="*/ 206 h 230"/>
                <a:gd name="T82" fmla="*/ 65 w 218"/>
                <a:gd name="T83" fmla="*/ 213 h 230"/>
                <a:gd name="T84" fmla="*/ 80 w 218"/>
                <a:gd name="T85" fmla="*/ 222 h 23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8"/>
                <a:gd name="T130" fmla="*/ 0 h 230"/>
                <a:gd name="T131" fmla="*/ 218 w 218"/>
                <a:gd name="T132" fmla="*/ 230 h 23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8" h="230">
                  <a:moveTo>
                    <a:pt x="83" y="230"/>
                  </a:moveTo>
                  <a:lnTo>
                    <a:pt x="93" y="230"/>
                  </a:lnTo>
                  <a:lnTo>
                    <a:pt x="98" y="230"/>
                  </a:lnTo>
                  <a:lnTo>
                    <a:pt x="104" y="228"/>
                  </a:lnTo>
                  <a:lnTo>
                    <a:pt x="109" y="220"/>
                  </a:lnTo>
                  <a:lnTo>
                    <a:pt x="122" y="217"/>
                  </a:lnTo>
                  <a:lnTo>
                    <a:pt x="126" y="211"/>
                  </a:lnTo>
                  <a:lnTo>
                    <a:pt x="128" y="196"/>
                  </a:lnTo>
                  <a:lnTo>
                    <a:pt x="128" y="183"/>
                  </a:lnTo>
                  <a:lnTo>
                    <a:pt x="137" y="176"/>
                  </a:lnTo>
                  <a:lnTo>
                    <a:pt x="144" y="170"/>
                  </a:lnTo>
                  <a:lnTo>
                    <a:pt x="154" y="169"/>
                  </a:lnTo>
                  <a:lnTo>
                    <a:pt x="161" y="169"/>
                  </a:lnTo>
                  <a:lnTo>
                    <a:pt x="159" y="163"/>
                  </a:lnTo>
                  <a:lnTo>
                    <a:pt x="159" y="158"/>
                  </a:lnTo>
                  <a:lnTo>
                    <a:pt x="159" y="150"/>
                  </a:lnTo>
                  <a:lnTo>
                    <a:pt x="161" y="145"/>
                  </a:lnTo>
                  <a:lnTo>
                    <a:pt x="165" y="132"/>
                  </a:lnTo>
                  <a:lnTo>
                    <a:pt x="170" y="122"/>
                  </a:lnTo>
                  <a:lnTo>
                    <a:pt x="185" y="104"/>
                  </a:lnTo>
                  <a:lnTo>
                    <a:pt x="196" y="91"/>
                  </a:lnTo>
                  <a:lnTo>
                    <a:pt x="198" y="82"/>
                  </a:lnTo>
                  <a:lnTo>
                    <a:pt x="202" y="76"/>
                  </a:lnTo>
                  <a:lnTo>
                    <a:pt x="205" y="71"/>
                  </a:lnTo>
                  <a:lnTo>
                    <a:pt x="211" y="65"/>
                  </a:lnTo>
                  <a:lnTo>
                    <a:pt x="215" y="58"/>
                  </a:lnTo>
                  <a:lnTo>
                    <a:pt x="218" y="52"/>
                  </a:lnTo>
                  <a:lnTo>
                    <a:pt x="213" y="54"/>
                  </a:lnTo>
                  <a:lnTo>
                    <a:pt x="209" y="52"/>
                  </a:lnTo>
                  <a:lnTo>
                    <a:pt x="205" y="52"/>
                  </a:lnTo>
                  <a:lnTo>
                    <a:pt x="202" y="48"/>
                  </a:lnTo>
                  <a:lnTo>
                    <a:pt x="200" y="45"/>
                  </a:lnTo>
                  <a:lnTo>
                    <a:pt x="198" y="39"/>
                  </a:lnTo>
                  <a:lnTo>
                    <a:pt x="196" y="32"/>
                  </a:lnTo>
                  <a:lnTo>
                    <a:pt x="196" y="23"/>
                  </a:lnTo>
                  <a:lnTo>
                    <a:pt x="187" y="26"/>
                  </a:lnTo>
                  <a:lnTo>
                    <a:pt x="174" y="28"/>
                  </a:lnTo>
                  <a:lnTo>
                    <a:pt x="170" y="23"/>
                  </a:lnTo>
                  <a:lnTo>
                    <a:pt x="168" y="12"/>
                  </a:lnTo>
                  <a:lnTo>
                    <a:pt x="167" y="8"/>
                  </a:lnTo>
                  <a:lnTo>
                    <a:pt x="163" y="4"/>
                  </a:lnTo>
                  <a:lnTo>
                    <a:pt x="159" y="0"/>
                  </a:lnTo>
                  <a:lnTo>
                    <a:pt x="154" y="0"/>
                  </a:lnTo>
                  <a:lnTo>
                    <a:pt x="139" y="6"/>
                  </a:lnTo>
                  <a:lnTo>
                    <a:pt x="128" y="13"/>
                  </a:lnTo>
                  <a:lnTo>
                    <a:pt x="122" y="19"/>
                  </a:lnTo>
                  <a:lnTo>
                    <a:pt x="119" y="28"/>
                  </a:lnTo>
                  <a:lnTo>
                    <a:pt x="117" y="36"/>
                  </a:lnTo>
                  <a:lnTo>
                    <a:pt x="115" y="41"/>
                  </a:lnTo>
                  <a:lnTo>
                    <a:pt x="113" y="48"/>
                  </a:lnTo>
                  <a:lnTo>
                    <a:pt x="107" y="56"/>
                  </a:lnTo>
                  <a:lnTo>
                    <a:pt x="102" y="61"/>
                  </a:lnTo>
                  <a:lnTo>
                    <a:pt x="91" y="65"/>
                  </a:lnTo>
                  <a:lnTo>
                    <a:pt x="85" y="65"/>
                  </a:lnTo>
                  <a:lnTo>
                    <a:pt x="80" y="63"/>
                  </a:lnTo>
                  <a:lnTo>
                    <a:pt x="78" y="60"/>
                  </a:lnTo>
                  <a:lnTo>
                    <a:pt x="74" y="56"/>
                  </a:lnTo>
                  <a:lnTo>
                    <a:pt x="72" y="52"/>
                  </a:lnTo>
                  <a:lnTo>
                    <a:pt x="70" y="50"/>
                  </a:lnTo>
                  <a:lnTo>
                    <a:pt x="67" y="48"/>
                  </a:lnTo>
                  <a:lnTo>
                    <a:pt x="61" y="52"/>
                  </a:lnTo>
                  <a:lnTo>
                    <a:pt x="56" y="58"/>
                  </a:lnTo>
                  <a:lnTo>
                    <a:pt x="52" y="63"/>
                  </a:lnTo>
                  <a:lnTo>
                    <a:pt x="52" y="69"/>
                  </a:lnTo>
                  <a:lnTo>
                    <a:pt x="52" y="74"/>
                  </a:lnTo>
                  <a:lnTo>
                    <a:pt x="54" y="80"/>
                  </a:lnTo>
                  <a:lnTo>
                    <a:pt x="56" y="85"/>
                  </a:lnTo>
                  <a:lnTo>
                    <a:pt x="56" y="91"/>
                  </a:lnTo>
                  <a:lnTo>
                    <a:pt x="54" y="97"/>
                  </a:lnTo>
                  <a:lnTo>
                    <a:pt x="50" y="98"/>
                  </a:lnTo>
                  <a:lnTo>
                    <a:pt x="45" y="100"/>
                  </a:lnTo>
                  <a:lnTo>
                    <a:pt x="37" y="102"/>
                  </a:lnTo>
                  <a:lnTo>
                    <a:pt x="30" y="102"/>
                  </a:lnTo>
                  <a:lnTo>
                    <a:pt x="22" y="100"/>
                  </a:lnTo>
                  <a:lnTo>
                    <a:pt x="17" y="100"/>
                  </a:lnTo>
                  <a:lnTo>
                    <a:pt x="19" y="111"/>
                  </a:lnTo>
                  <a:lnTo>
                    <a:pt x="21" y="119"/>
                  </a:lnTo>
                  <a:lnTo>
                    <a:pt x="19" y="124"/>
                  </a:lnTo>
                  <a:lnTo>
                    <a:pt x="17" y="128"/>
                  </a:lnTo>
                  <a:lnTo>
                    <a:pt x="15" y="132"/>
                  </a:lnTo>
                  <a:lnTo>
                    <a:pt x="11" y="133"/>
                  </a:lnTo>
                  <a:lnTo>
                    <a:pt x="8" y="133"/>
                  </a:lnTo>
                  <a:lnTo>
                    <a:pt x="4" y="133"/>
                  </a:lnTo>
                  <a:lnTo>
                    <a:pt x="2" y="133"/>
                  </a:lnTo>
                  <a:lnTo>
                    <a:pt x="2" y="139"/>
                  </a:lnTo>
                  <a:lnTo>
                    <a:pt x="0" y="146"/>
                  </a:lnTo>
                  <a:lnTo>
                    <a:pt x="6" y="148"/>
                  </a:lnTo>
                  <a:lnTo>
                    <a:pt x="10" y="152"/>
                  </a:lnTo>
                  <a:lnTo>
                    <a:pt x="11" y="156"/>
                  </a:lnTo>
                  <a:lnTo>
                    <a:pt x="11" y="159"/>
                  </a:lnTo>
                  <a:lnTo>
                    <a:pt x="13" y="165"/>
                  </a:lnTo>
                  <a:lnTo>
                    <a:pt x="15" y="170"/>
                  </a:lnTo>
                  <a:lnTo>
                    <a:pt x="30" y="169"/>
                  </a:lnTo>
                  <a:lnTo>
                    <a:pt x="41" y="167"/>
                  </a:lnTo>
                  <a:lnTo>
                    <a:pt x="43" y="176"/>
                  </a:lnTo>
                  <a:lnTo>
                    <a:pt x="45" y="185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4" y="183"/>
                  </a:lnTo>
                  <a:lnTo>
                    <a:pt x="58" y="180"/>
                  </a:lnTo>
                  <a:lnTo>
                    <a:pt x="58" y="169"/>
                  </a:lnTo>
                  <a:lnTo>
                    <a:pt x="58" y="161"/>
                  </a:lnTo>
                  <a:lnTo>
                    <a:pt x="65" y="159"/>
                  </a:lnTo>
                  <a:lnTo>
                    <a:pt x="74" y="156"/>
                  </a:lnTo>
                  <a:lnTo>
                    <a:pt x="80" y="152"/>
                  </a:lnTo>
                  <a:lnTo>
                    <a:pt x="85" y="148"/>
                  </a:lnTo>
                  <a:lnTo>
                    <a:pt x="87" y="146"/>
                  </a:lnTo>
                  <a:lnTo>
                    <a:pt x="91" y="146"/>
                  </a:lnTo>
                  <a:lnTo>
                    <a:pt x="94" y="146"/>
                  </a:lnTo>
                  <a:lnTo>
                    <a:pt x="100" y="150"/>
                  </a:lnTo>
                  <a:lnTo>
                    <a:pt x="104" y="156"/>
                  </a:lnTo>
                  <a:lnTo>
                    <a:pt x="102" y="159"/>
                  </a:lnTo>
                  <a:lnTo>
                    <a:pt x="100" y="163"/>
                  </a:lnTo>
                  <a:lnTo>
                    <a:pt x="94" y="165"/>
                  </a:lnTo>
                  <a:lnTo>
                    <a:pt x="85" y="170"/>
                  </a:lnTo>
                  <a:lnTo>
                    <a:pt x="76" y="176"/>
                  </a:lnTo>
                  <a:lnTo>
                    <a:pt x="85" y="185"/>
                  </a:lnTo>
                  <a:lnTo>
                    <a:pt x="91" y="196"/>
                  </a:lnTo>
                  <a:lnTo>
                    <a:pt x="89" y="200"/>
                  </a:lnTo>
                  <a:lnTo>
                    <a:pt x="83" y="202"/>
                  </a:lnTo>
                  <a:lnTo>
                    <a:pt x="78" y="204"/>
                  </a:lnTo>
                  <a:lnTo>
                    <a:pt x="72" y="206"/>
                  </a:lnTo>
                  <a:lnTo>
                    <a:pt x="67" y="207"/>
                  </a:lnTo>
                  <a:lnTo>
                    <a:pt x="65" y="209"/>
                  </a:lnTo>
                  <a:lnTo>
                    <a:pt x="65" y="213"/>
                  </a:lnTo>
                  <a:lnTo>
                    <a:pt x="67" y="217"/>
                  </a:lnTo>
                  <a:lnTo>
                    <a:pt x="74" y="218"/>
                  </a:lnTo>
                  <a:lnTo>
                    <a:pt x="80" y="222"/>
                  </a:lnTo>
                  <a:lnTo>
                    <a:pt x="83" y="226"/>
                  </a:lnTo>
                  <a:lnTo>
                    <a:pt x="83" y="23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7" name="Freeform 73"/>
            <p:cNvSpPr>
              <a:spLocks/>
            </p:cNvSpPr>
            <p:nvPr/>
          </p:nvSpPr>
          <p:spPr bwMode="auto">
            <a:xfrm>
              <a:off x="3997591" y="2397351"/>
              <a:ext cx="120534" cy="107378"/>
            </a:xfrm>
            <a:custGeom>
              <a:avLst/>
              <a:gdLst>
                <a:gd name="T0" fmla="*/ 30 w 231"/>
                <a:gd name="T1" fmla="*/ 209 h 211"/>
                <a:gd name="T2" fmla="*/ 33 w 231"/>
                <a:gd name="T3" fmla="*/ 211 h 211"/>
                <a:gd name="T4" fmla="*/ 54 w 231"/>
                <a:gd name="T5" fmla="*/ 209 h 211"/>
                <a:gd name="T6" fmla="*/ 81 w 231"/>
                <a:gd name="T7" fmla="*/ 201 h 211"/>
                <a:gd name="T8" fmla="*/ 91 w 231"/>
                <a:gd name="T9" fmla="*/ 192 h 211"/>
                <a:gd name="T10" fmla="*/ 94 w 231"/>
                <a:gd name="T11" fmla="*/ 179 h 211"/>
                <a:gd name="T12" fmla="*/ 102 w 231"/>
                <a:gd name="T13" fmla="*/ 177 h 211"/>
                <a:gd name="T14" fmla="*/ 126 w 231"/>
                <a:gd name="T15" fmla="*/ 174 h 211"/>
                <a:gd name="T16" fmla="*/ 157 w 231"/>
                <a:gd name="T17" fmla="*/ 165 h 211"/>
                <a:gd name="T18" fmla="*/ 176 w 231"/>
                <a:gd name="T19" fmla="*/ 150 h 211"/>
                <a:gd name="T20" fmla="*/ 194 w 231"/>
                <a:gd name="T21" fmla="*/ 129 h 211"/>
                <a:gd name="T22" fmla="*/ 220 w 231"/>
                <a:gd name="T23" fmla="*/ 109 h 211"/>
                <a:gd name="T24" fmla="*/ 231 w 231"/>
                <a:gd name="T25" fmla="*/ 98 h 211"/>
                <a:gd name="T26" fmla="*/ 224 w 231"/>
                <a:gd name="T27" fmla="*/ 87 h 211"/>
                <a:gd name="T28" fmla="*/ 218 w 231"/>
                <a:gd name="T29" fmla="*/ 67 h 211"/>
                <a:gd name="T30" fmla="*/ 214 w 231"/>
                <a:gd name="T31" fmla="*/ 56 h 211"/>
                <a:gd name="T32" fmla="*/ 209 w 231"/>
                <a:gd name="T33" fmla="*/ 52 h 211"/>
                <a:gd name="T34" fmla="*/ 209 w 231"/>
                <a:gd name="T35" fmla="*/ 43 h 211"/>
                <a:gd name="T36" fmla="*/ 203 w 231"/>
                <a:gd name="T37" fmla="*/ 35 h 211"/>
                <a:gd name="T38" fmla="*/ 192 w 231"/>
                <a:gd name="T39" fmla="*/ 31 h 211"/>
                <a:gd name="T40" fmla="*/ 181 w 231"/>
                <a:gd name="T41" fmla="*/ 30 h 211"/>
                <a:gd name="T42" fmla="*/ 168 w 231"/>
                <a:gd name="T43" fmla="*/ 22 h 211"/>
                <a:gd name="T44" fmla="*/ 163 w 231"/>
                <a:gd name="T45" fmla="*/ 11 h 211"/>
                <a:gd name="T46" fmla="*/ 144 w 231"/>
                <a:gd name="T47" fmla="*/ 22 h 211"/>
                <a:gd name="T48" fmla="*/ 128 w 231"/>
                <a:gd name="T49" fmla="*/ 35 h 211"/>
                <a:gd name="T50" fmla="*/ 120 w 231"/>
                <a:gd name="T51" fmla="*/ 46 h 211"/>
                <a:gd name="T52" fmla="*/ 102 w 231"/>
                <a:gd name="T53" fmla="*/ 35 h 211"/>
                <a:gd name="T54" fmla="*/ 74 w 231"/>
                <a:gd name="T55" fmla="*/ 6 h 211"/>
                <a:gd name="T56" fmla="*/ 56 w 231"/>
                <a:gd name="T57" fmla="*/ 4 h 211"/>
                <a:gd name="T58" fmla="*/ 39 w 231"/>
                <a:gd name="T59" fmla="*/ 6 h 211"/>
                <a:gd name="T60" fmla="*/ 32 w 231"/>
                <a:gd name="T61" fmla="*/ 0 h 211"/>
                <a:gd name="T62" fmla="*/ 22 w 231"/>
                <a:gd name="T63" fmla="*/ 0 h 211"/>
                <a:gd name="T64" fmla="*/ 11 w 231"/>
                <a:gd name="T65" fmla="*/ 19 h 211"/>
                <a:gd name="T66" fmla="*/ 7 w 231"/>
                <a:gd name="T67" fmla="*/ 44 h 211"/>
                <a:gd name="T68" fmla="*/ 4 w 231"/>
                <a:gd name="T69" fmla="*/ 52 h 211"/>
                <a:gd name="T70" fmla="*/ 4 w 231"/>
                <a:gd name="T71" fmla="*/ 63 h 211"/>
                <a:gd name="T72" fmla="*/ 7 w 231"/>
                <a:gd name="T73" fmla="*/ 83 h 211"/>
                <a:gd name="T74" fmla="*/ 9 w 231"/>
                <a:gd name="T75" fmla="*/ 100 h 211"/>
                <a:gd name="T76" fmla="*/ 9 w 231"/>
                <a:gd name="T77" fmla="*/ 113 h 211"/>
                <a:gd name="T78" fmla="*/ 13 w 231"/>
                <a:gd name="T79" fmla="*/ 128 h 211"/>
                <a:gd name="T80" fmla="*/ 17 w 231"/>
                <a:gd name="T81" fmla="*/ 144 h 211"/>
                <a:gd name="T82" fmla="*/ 17 w 231"/>
                <a:gd name="T83" fmla="*/ 168 h 211"/>
                <a:gd name="T84" fmla="*/ 24 w 231"/>
                <a:gd name="T85" fmla="*/ 196 h 2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1"/>
                <a:gd name="T130" fmla="*/ 0 h 211"/>
                <a:gd name="T131" fmla="*/ 231 w 231"/>
                <a:gd name="T132" fmla="*/ 211 h 2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1" h="211">
                  <a:moveTo>
                    <a:pt x="26" y="209"/>
                  </a:moveTo>
                  <a:lnTo>
                    <a:pt x="30" y="209"/>
                  </a:lnTo>
                  <a:lnTo>
                    <a:pt x="33" y="209"/>
                  </a:lnTo>
                  <a:lnTo>
                    <a:pt x="33" y="211"/>
                  </a:lnTo>
                  <a:lnTo>
                    <a:pt x="54" y="209"/>
                  </a:lnTo>
                  <a:lnTo>
                    <a:pt x="74" y="203"/>
                  </a:lnTo>
                  <a:lnTo>
                    <a:pt x="81" y="201"/>
                  </a:lnTo>
                  <a:lnTo>
                    <a:pt x="87" y="198"/>
                  </a:lnTo>
                  <a:lnTo>
                    <a:pt x="91" y="192"/>
                  </a:lnTo>
                  <a:lnTo>
                    <a:pt x="92" y="187"/>
                  </a:lnTo>
                  <a:lnTo>
                    <a:pt x="94" y="179"/>
                  </a:lnTo>
                  <a:lnTo>
                    <a:pt x="96" y="174"/>
                  </a:lnTo>
                  <a:lnTo>
                    <a:pt x="102" y="177"/>
                  </a:lnTo>
                  <a:lnTo>
                    <a:pt x="113" y="183"/>
                  </a:lnTo>
                  <a:lnTo>
                    <a:pt x="126" y="174"/>
                  </a:lnTo>
                  <a:lnTo>
                    <a:pt x="140" y="165"/>
                  </a:lnTo>
                  <a:lnTo>
                    <a:pt x="157" y="165"/>
                  </a:lnTo>
                  <a:lnTo>
                    <a:pt x="168" y="166"/>
                  </a:lnTo>
                  <a:lnTo>
                    <a:pt x="176" y="150"/>
                  </a:lnTo>
                  <a:lnTo>
                    <a:pt x="179" y="137"/>
                  </a:lnTo>
                  <a:lnTo>
                    <a:pt x="194" y="129"/>
                  </a:lnTo>
                  <a:lnTo>
                    <a:pt x="213" y="120"/>
                  </a:lnTo>
                  <a:lnTo>
                    <a:pt x="220" y="109"/>
                  </a:lnTo>
                  <a:lnTo>
                    <a:pt x="231" y="98"/>
                  </a:lnTo>
                  <a:lnTo>
                    <a:pt x="224" y="87"/>
                  </a:lnTo>
                  <a:lnTo>
                    <a:pt x="218" y="76"/>
                  </a:lnTo>
                  <a:lnTo>
                    <a:pt x="218" y="67"/>
                  </a:lnTo>
                  <a:lnTo>
                    <a:pt x="218" y="59"/>
                  </a:lnTo>
                  <a:lnTo>
                    <a:pt x="214" y="56"/>
                  </a:lnTo>
                  <a:lnTo>
                    <a:pt x="211" y="54"/>
                  </a:lnTo>
                  <a:lnTo>
                    <a:pt x="209" y="52"/>
                  </a:lnTo>
                  <a:lnTo>
                    <a:pt x="209" y="48"/>
                  </a:lnTo>
                  <a:lnTo>
                    <a:pt x="209" y="43"/>
                  </a:lnTo>
                  <a:lnTo>
                    <a:pt x="207" y="37"/>
                  </a:lnTo>
                  <a:lnTo>
                    <a:pt x="203" y="35"/>
                  </a:lnTo>
                  <a:lnTo>
                    <a:pt x="198" y="33"/>
                  </a:lnTo>
                  <a:lnTo>
                    <a:pt x="192" y="31"/>
                  </a:lnTo>
                  <a:lnTo>
                    <a:pt x="187" y="31"/>
                  </a:lnTo>
                  <a:lnTo>
                    <a:pt x="181" y="30"/>
                  </a:lnTo>
                  <a:lnTo>
                    <a:pt x="174" y="28"/>
                  </a:lnTo>
                  <a:lnTo>
                    <a:pt x="168" y="22"/>
                  </a:lnTo>
                  <a:lnTo>
                    <a:pt x="163" y="13"/>
                  </a:lnTo>
                  <a:lnTo>
                    <a:pt x="163" y="11"/>
                  </a:lnTo>
                  <a:lnTo>
                    <a:pt x="161" y="9"/>
                  </a:lnTo>
                  <a:lnTo>
                    <a:pt x="144" y="22"/>
                  </a:lnTo>
                  <a:lnTo>
                    <a:pt x="131" y="30"/>
                  </a:lnTo>
                  <a:lnTo>
                    <a:pt x="128" y="35"/>
                  </a:lnTo>
                  <a:lnTo>
                    <a:pt x="126" y="41"/>
                  </a:lnTo>
                  <a:lnTo>
                    <a:pt x="120" y="46"/>
                  </a:lnTo>
                  <a:lnTo>
                    <a:pt x="115" y="48"/>
                  </a:lnTo>
                  <a:lnTo>
                    <a:pt x="102" y="35"/>
                  </a:lnTo>
                  <a:lnTo>
                    <a:pt x="85" y="17"/>
                  </a:lnTo>
                  <a:lnTo>
                    <a:pt x="74" y="6"/>
                  </a:lnTo>
                  <a:lnTo>
                    <a:pt x="65" y="0"/>
                  </a:lnTo>
                  <a:lnTo>
                    <a:pt x="56" y="4"/>
                  </a:lnTo>
                  <a:lnTo>
                    <a:pt x="46" y="7"/>
                  </a:lnTo>
                  <a:lnTo>
                    <a:pt x="39" y="6"/>
                  </a:lnTo>
                  <a:lnTo>
                    <a:pt x="33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11" y="19"/>
                  </a:lnTo>
                  <a:lnTo>
                    <a:pt x="7" y="41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4" y="52"/>
                  </a:lnTo>
                  <a:lnTo>
                    <a:pt x="0" y="56"/>
                  </a:lnTo>
                  <a:lnTo>
                    <a:pt x="4" y="63"/>
                  </a:lnTo>
                  <a:lnTo>
                    <a:pt x="7" y="70"/>
                  </a:lnTo>
                  <a:lnTo>
                    <a:pt x="7" y="83"/>
                  </a:lnTo>
                  <a:lnTo>
                    <a:pt x="6" y="94"/>
                  </a:lnTo>
                  <a:lnTo>
                    <a:pt x="9" y="100"/>
                  </a:lnTo>
                  <a:lnTo>
                    <a:pt x="13" y="105"/>
                  </a:lnTo>
                  <a:lnTo>
                    <a:pt x="9" y="113"/>
                  </a:lnTo>
                  <a:lnTo>
                    <a:pt x="7" y="122"/>
                  </a:lnTo>
                  <a:lnTo>
                    <a:pt x="13" y="128"/>
                  </a:lnTo>
                  <a:lnTo>
                    <a:pt x="19" y="135"/>
                  </a:lnTo>
                  <a:lnTo>
                    <a:pt x="17" y="144"/>
                  </a:lnTo>
                  <a:lnTo>
                    <a:pt x="13" y="153"/>
                  </a:lnTo>
                  <a:lnTo>
                    <a:pt x="17" y="168"/>
                  </a:lnTo>
                  <a:lnTo>
                    <a:pt x="20" y="181"/>
                  </a:lnTo>
                  <a:lnTo>
                    <a:pt x="24" y="196"/>
                  </a:lnTo>
                  <a:lnTo>
                    <a:pt x="26" y="20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8" name="Freeform 74"/>
            <p:cNvSpPr>
              <a:spLocks/>
            </p:cNvSpPr>
            <p:nvPr/>
          </p:nvSpPr>
          <p:spPr bwMode="auto">
            <a:xfrm>
              <a:off x="3842619" y="2337300"/>
              <a:ext cx="168539" cy="187276"/>
            </a:xfrm>
            <a:custGeom>
              <a:avLst/>
              <a:gdLst>
                <a:gd name="T0" fmla="*/ 123 w 323"/>
                <a:gd name="T1" fmla="*/ 292 h 368"/>
                <a:gd name="T2" fmla="*/ 118 w 323"/>
                <a:gd name="T3" fmla="*/ 351 h 368"/>
                <a:gd name="T4" fmla="*/ 129 w 323"/>
                <a:gd name="T5" fmla="*/ 368 h 368"/>
                <a:gd name="T6" fmla="*/ 147 w 323"/>
                <a:gd name="T7" fmla="*/ 366 h 368"/>
                <a:gd name="T8" fmla="*/ 159 w 323"/>
                <a:gd name="T9" fmla="*/ 356 h 368"/>
                <a:gd name="T10" fmla="*/ 162 w 323"/>
                <a:gd name="T11" fmla="*/ 336 h 368"/>
                <a:gd name="T12" fmla="*/ 166 w 323"/>
                <a:gd name="T13" fmla="*/ 323 h 368"/>
                <a:gd name="T14" fmla="*/ 181 w 323"/>
                <a:gd name="T15" fmla="*/ 316 h 368"/>
                <a:gd name="T16" fmla="*/ 197 w 323"/>
                <a:gd name="T17" fmla="*/ 321 h 368"/>
                <a:gd name="T18" fmla="*/ 210 w 323"/>
                <a:gd name="T19" fmla="*/ 329 h 368"/>
                <a:gd name="T20" fmla="*/ 225 w 323"/>
                <a:gd name="T21" fmla="*/ 319 h 368"/>
                <a:gd name="T22" fmla="*/ 249 w 323"/>
                <a:gd name="T23" fmla="*/ 321 h 368"/>
                <a:gd name="T24" fmla="*/ 304 w 323"/>
                <a:gd name="T25" fmla="*/ 323 h 368"/>
                <a:gd name="T26" fmla="*/ 319 w 323"/>
                <a:gd name="T27" fmla="*/ 329 h 368"/>
                <a:gd name="T28" fmla="*/ 317 w 323"/>
                <a:gd name="T29" fmla="*/ 299 h 368"/>
                <a:gd name="T30" fmla="*/ 314 w 323"/>
                <a:gd name="T31" fmla="*/ 262 h 368"/>
                <a:gd name="T32" fmla="*/ 304 w 323"/>
                <a:gd name="T33" fmla="*/ 240 h 368"/>
                <a:gd name="T34" fmla="*/ 306 w 323"/>
                <a:gd name="T35" fmla="*/ 218 h 368"/>
                <a:gd name="T36" fmla="*/ 304 w 323"/>
                <a:gd name="T37" fmla="*/ 188 h 368"/>
                <a:gd name="T38" fmla="*/ 286 w 323"/>
                <a:gd name="T39" fmla="*/ 166 h 368"/>
                <a:gd name="T40" fmla="*/ 266 w 323"/>
                <a:gd name="T41" fmla="*/ 149 h 368"/>
                <a:gd name="T42" fmla="*/ 231 w 323"/>
                <a:gd name="T43" fmla="*/ 125 h 368"/>
                <a:gd name="T44" fmla="*/ 184 w 323"/>
                <a:gd name="T45" fmla="*/ 105 h 368"/>
                <a:gd name="T46" fmla="*/ 157 w 323"/>
                <a:gd name="T47" fmla="*/ 81 h 368"/>
                <a:gd name="T48" fmla="*/ 133 w 323"/>
                <a:gd name="T49" fmla="*/ 53 h 368"/>
                <a:gd name="T50" fmla="*/ 116 w 323"/>
                <a:gd name="T51" fmla="*/ 50 h 368"/>
                <a:gd name="T52" fmla="*/ 98 w 323"/>
                <a:gd name="T53" fmla="*/ 35 h 368"/>
                <a:gd name="T54" fmla="*/ 75 w 323"/>
                <a:gd name="T55" fmla="*/ 15 h 368"/>
                <a:gd name="T56" fmla="*/ 59 w 323"/>
                <a:gd name="T57" fmla="*/ 9 h 368"/>
                <a:gd name="T58" fmla="*/ 20 w 323"/>
                <a:gd name="T59" fmla="*/ 37 h 368"/>
                <a:gd name="T60" fmla="*/ 9 w 323"/>
                <a:gd name="T61" fmla="*/ 57 h 368"/>
                <a:gd name="T62" fmla="*/ 0 w 323"/>
                <a:gd name="T63" fmla="*/ 61 h 368"/>
                <a:gd name="T64" fmla="*/ 13 w 323"/>
                <a:gd name="T65" fmla="*/ 74 h 368"/>
                <a:gd name="T66" fmla="*/ 14 w 323"/>
                <a:gd name="T67" fmla="*/ 92 h 368"/>
                <a:gd name="T68" fmla="*/ 33 w 323"/>
                <a:gd name="T69" fmla="*/ 96 h 368"/>
                <a:gd name="T70" fmla="*/ 46 w 323"/>
                <a:gd name="T71" fmla="*/ 113 h 368"/>
                <a:gd name="T72" fmla="*/ 59 w 323"/>
                <a:gd name="T73" fmla="*/ 114 h 368"/>
                <a:gd name="T74" fmla="*/ 74 w 323"/>
                <a:gd name="T75" fmla="*/ 133 h 368"/>
                <a:gd name="T76" fmla="*/ 79 w 323"/>
                <a:gd name="T77" fmla="*/ 155 h 368"/>
                <a:gd name="T78" fmla="*/ 50 w 323"/>
                <a:gd name="T79" fmla="*/ 194 h 368"/>
                <a:gd name="T80" fmla="*/ 51 w 323"/>
                <a:gd name="T81" fmla="*/ 205 h 368"/>
                <a:gd name="T82" fmla="*/ 66 w 323"/>
                <a:gd name="T83" fmla="*/ 218 h 368"/>
                <a:gd name="T84" fmla="*/ 74 w 323"/>
                <a:gd name="T85" fmla="*/ 227 h 368"/>
                <a:gd name="T86" fmla="*/ 88 w 323"/>
                <a:gd name="T87" fmla="*/ 236 h 368"/>
                <a:gd name="T88" fmla="*/ 101 w 323"/>
                <a:gd name="T89" fmla="*/ 259 h 3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23"/>
                <a:gd name="T136" fmla="*/ 0 h 368"/>
                <a:gd name="T137" fmla="*/ 323 w 323"/>
                <a:gd name="T138" fmla="*/ 368 h 3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23" h="368">
                  <a:moveTo>
                    <a:pt x="118" y="292"/>
                  </a:moveTo>
                  <a:lnTo>
                    <a:pt x="120" y="292"/>
                  </a:lnTo>
                  <a:lnTo>
                    <a:pt x="123" y="292"/>
                  </a:lnTo>
                  <a:lnTo>
                    <a:pt x="123" y="312"/>
                  </a:lnTo>
                  <a:lnTo>
                    <a:pt x="120" y="340"/>
                  </a:lnTo>
                  <a:lnTo>
                    <a:pt x="118" y="351"/>
                  </a:lnTo>
                  <a:lnTo>
                    <a:pt x="122" y="362"/>
                  </a:lnTo>
                  <a:lnTo>
                    <a:pt x="123" y="366"/>
                  </a:lnTo>
                  <a:lnTo>
                    <a:pt x="129" y="368"/>
                  </a:lnTo>
                  <a:lnTo>
                    <a:pt x="135" y="368"/>
                  </a:lnTo>
                  <a:lnTo>
                    <a:pt x="142" y="368"/>
                  </a:lnTo>
                  <a:lnTo>
                    <a:pt x="147" y="366"/>
                  </a:lnTo>
                  <a:lnTo>
                    <a:pt x="153" y="364"/>
                  </a:lnTo>
                  <a:lnTo>
                    <a:pt x="157" y="360"/>
                  </a:lnTo>
                  <a:lnTo>
                    <a:pt x="159" y="356"/>
                  </a:lnTo>
                  <a:lnTo>
                    <a:pt x="162" y="351"/>
                  </a:lnTo>
                  <a:lnTo>
                    <a:pt x="162" y="344"/>
                  </a:lnTo>
                  <a:lnTo>
                    <a:pt x="162" y="336"/>
                  </a:lnTo>
                  <a:lnTo>
                    <a:pt x="164" y="329"/>
                  </a:lnTo>
                  <a:lnTo>
                    <a:pt x="164" y="325"/>
                  </a:lnTo>
                  <a:lnTo>
                    <a:pt x="166" y="323"/>
                  </a:lnTo>
                  <a:lnTo>
                    <a:pt x="170" y="319"/>
                  </a:lnTo>
                  <a:lnTo>
                    <a:pt x="173" y="318"/>
                  </a:lnTo>
                  <a:lnTo>
                    <a:pt x="181" y="316"/>
                  </a:lnTo>
                  <a:lnTo>
                    <a:pt x="186" y="316"/>
                  </a:lnTo>
                  <a:lnTo>
                    <a:pt x="192" y="318"/>
                  </a:lnTo>
                  <a:lnTo>
                    <a:pt x="197" y="321"/>
                  </a:lnTo>
                  <a:lnTo>
                    <a:pt x="201" y="325"/>
                  </a:lnTo>
                  <a:lnTo>
                    <a:pt x="207" y="327"/>
                  </a:lnTo>
                  <a:lnTo>
                    <a:pt x="210" y="329"/>
                  </a:lnTo>
                  <a:lnTo>
                    <a:pt x="218" y="329"/>
                  </a:lnTo>
                  <a:lnTo>
                    <a:pt x="221" y="325"/>
                  </a:lnTo>
                  <a:lnTo>
                    <a:pt x="225" y="319"/>
                  </a:lnTo>
                  <a:lnTo>
                    <a:pt x="231" y="316"/>
                  </a:lnTo>
                  <a:lnTo>
                    <a:pt x="236" y="314"/>
                  </a:lnTo>
                  <a:lnTo>
                    <a:pt x="249" y="321"/>
                  </a:lnTo>
                  <a:lnTo>
                    <a:pt x="268" y="331"/>
                  </a:lnTo>
                  <a:lnTo>
                    <a:pt x="290" y="327"/>
                  </a:lnTo>
                  <a:lnTo>
                    <a:pt x="304" y="323"/>
                  </a:lnTo>
                  <a:lnTo>
                    <a:pt x="310" y="327"/>
                  </a:lnTo>
                  <a:lnTo>
                    <a:pt x="316" y="329"/>
                  </a:lnTo>
                  <a:lnTo>
                    <a:pt x="319" y="329"/>
                  </a:lnTo>
                  <a:lnTo>
                    <a:pt x="323" y="327"/>
                  </a:lnTo>
                  <a:lnTo>
                    <a:pt x="321" y="314"/>
                  </a:lnTo>
                  <a:lnTo>
                    <a:pt x="317" y="299"/>
                  </a:lnTo>
                  <a:lnTo>
                    <a:pt x="314" y="286"/>
                  </a:lnTo>
                  <a:lnTo>
                    <a:pt x="310" y="271"/>
                  </a:lnTo>
                  <a:lnTo>
                    <a:pt x="314" y="262"/>
                  </a:lnTo>
                  <a:lnTo>
                    <a:pt x="316" y="253"/>
                  </a:lnTo>
                  <a:lnTo>
                    <a:pt x="310" y="246"/>
                  </a:lnTo>
                  <a:lnTo>
                    <a:pt x="304" y="240"/>
                  </a:lnTo>
                  <a:lnTo>
                    <a:pt x="306" y="231"/>
                  </a:lnTo>
                  <a:lnTo>
                    <a:pt x="310" y="223"/>
                  </a:lnTo>
                  <a:lnTo>
                    <a:pt x="306" y="218"/>
                  </a:lnTo>
                  <a:lnTo>
                    <a:pt x="303" y="212"/>
                  </a:lnTo>
                  <a:lnTo>
                    <a:pt x="304" y="201"/>
                  </a:lnTo>
                  <a:lnTo>
                    <a:pt x="304" y="188"/>
                  </a:lnTo>
                  <a:lnTo>
                    <a:pt x="299" y="179"/>
                  </a:lnTo>
                  <a:lnTo>
                    <a:pt x="293" y="168"/>
                  </a:lnTo>
                  <a:lnTo>
                    <a:pt x="286" y="166"/>
                  </a:lnTo>
                  <a:lnTo>
                    <a:pt x="277" y="164"/>
                  </a:lnTo>
                  <a:lnTo>
                    <a:pt x="271" y="155"/>
                  </a:lnTo>
                  <a:lnTo>
                    <a:pt x="266" y="149"/>
                  </a:lnTo>
                  <a:lnTo>
                    <a:pt x="256" y="149"/>
                  </a:lnTo>
                  <a:lnTo>
                    <a:pt x="247" y="149"/>
                  </a:lnTo>
                  <a:lnTo>
                    <a:pt x="231" y="125"/>
                  </a:lnTo>
                  <a:lnTo>
                    <a:pt x="214" y="100"/>
                  </a:lnTo>
                  <a:lnTo>
                    <a:pt x="199" y="101"/>
                  </a:lnTo>
                  <a:lnTo>
                    <a:pt x="184" y="105"/>
                  </a:lnTo>
                  <a:lnTo>
                    <a:pt x="177" y="96"/>
                  </a:lnTo>
                  <a:lnTo>
                    <a:pt x="170" y="83"/>
                  </a:lnTo>
                  <a:lnTo>
                    <a:pt x="157" y="81"/>
                  </a:lnTo>
                  <a:lnTo>
                    <a:pt x="147" y="77"/>
                  </a:lnTo>
                  <a:lnTo>
                    <a:pt x="140" y="66"/>
                  </a:lnTo>
                  <a:lnTo>
                    <a:pt x="133" y="53"/>
                  </a:lnTo>
                  <a:lnTo>
                    <a:pt x="127" y="53"/>
                  </a:lnTo>
                  <a:lnTo>
                    <a:pt x="120" y="52"/>
                  </a:lnTo>
                  <a:lnTo>
                    <a:pt x="116" y="50"/>
                  </a:lnTo>
                  <a:lnTo>
                    <a:pt x="112" y="46"/>
                  </a:lnTo>
                  <a:lnTo>
                    <a:pt x="105" y="40"/>
                  </a:lnTo>
                  <a:lnTo>
                    <a:pt x="98" y="35"/>
                  </a:lnTo>
                  <a:lnTo>
                    <a:pt x="87" y="33"/>
                  </a:lnTo>
                  <a:lnTo>
                    <a:pt x="77" y="31"/>
                  </a:lnTo>
                  <a:lnTo>
                    <a:pt x="75" y="15"/>
                  </a:lnTo>
                  <a:lnTo>
                    <a:pt x="70" y="0"/>
                  </a:lnTo>
                  <a:lnTo>
                    <a:pt x="64" y="4"/>
                  </a:lnTo>
                  <a:lnTo>
                    <a:pt x="59" y="9"/>
                  </a:lnTo>
                  <a:lnTo>
                    <a:pt x="40" y="18"/>
                  </a:lnTo>
                  <a:lnTo>
                    <a:pt x="20" y="26"/>
                  </a:lnTo>
                  <a:lnTo>
                    <a:pt x="20" y="37"/>
                  </a:lnTo>
                  <a:lnTo>
                    <a:pt x="18" y="50"/>
                  </a:lnTo>
                  <a:lnTo>
                    <a:pt x="14" y="53"/>
                  </a:lnTo>
                  <a:lnTo>
                    <a:pt x="9" y="57"/>
                  </a:lnTo>
                  <a:lnTo>
                    <a:pt x="5" y="59"/>
                  </a:lnTo>
                  <a:lnTo>
                    <a:pt x="0" y="61"/>
                  </a:lnTo>
                  <a:lnTo>
                    <a:pt x="7" y="66"/>
                  </a:lnTo>
                  <a:lnTo>
                    <a:pt x="13" y="74"/>
                  </a:lnTo>
                  <a:lnTo>
                    <a:pt x="14" y="79"/>
                  </a:lnTo>
                  <a:lnTo>
                    <a:pt x="14" y="83"/>
                  </a:lnTo>
                  <a:lnTo>
                    <a:pt x="14" y="92"/>
                  </a:lnTo>
                  <a:lnTo>
                    <a:pt x="16" y="98"/>
                  </a:lnTo>
                  <a:lnTo>
                    <a:pt x="24" y="98"/>
                  </a:lnTo>
                  <a:lnTo>
                    <a:pt x="33" y="96"/>
                  </a:lnTo>
                  <a:lnTo>
                    <a:pt x="37" y="103"/>
                  </a:lnTo>
                  <a:lnTo>
                    <a:pt x="40" y="113"/>
                  </a:lnTo>
                  <a:lnTo>
                    <a:pt x="46" y="113"/>
                  </a:lnTo>
                  <a:lnTo>
                    <a:pt x="51" y="113"/>
                  </a:lnTo>
                  <a:lnTo>
                    <a:pt x="55" y="113"/>
                  </a:lnTo>
                  <a:lnTo>
                    <a:pt x="59" y="114"/>
                  </a:lnTo>
                  <a:lnTo>
                    <a:pt x="62" y="118"/>
                  </a:lnTo>
                  <a:lnTo>
                    <a:pt x="68" y="125"/>
                  </a:lnTo>
                  <a:lnTo>
                    <a:pt x="74" y="133"/>
                  </a:lnTo>
                  <a:lnTo>
                    <a:pt x="77" y="140"/>
                  </a:lnTo>
                  <a:lnTo>
                    <a:pt x="79" y="148"/>
                  </a:lnTo>
                  <a:lnTo>
                    <a:pt x="79" y="155"/>
                  </a:lnTo>
                  <a:lnTo>
                    <a:pt x="64" y="172"/>
                  </a:lnTo>
                  <a:lnTo>
                    <a:pt x="51" y="188"/>
                  </a:lnTo>
                  <a:lnTo>
                    <a:pt x="50" y="194"/>
                  </a:lnTo>
                  <a:lnTo>
                    <a:pt x="50" y="198"/>
                  </a:lnTo>
                  <a:lnTo>
                    <a:pt x="50" y="201"/>
                  </a:lnTo>
                  <a:lnTo>
                    <a:pt x="51" y="205"/>
                  </a:lnTo>
                  <a:lnTo>
                    <a:pt x="57" y="210"/>
                  </a:lnTo>
                  <a:lnTo>
                    <a:pt x="61" y="214"/>
                  </a:lnTo>
                  <a:lnTo>
                    <a:pt x="66" y="218"/>
                  </a:lnTo>
                  <a:lnTo>
                    <a:pt x="70" y="220"/>
                  </a:lnTo>
                  <a:lnTo>
                    <a:pt x="72" y="223"/>
                  </a:lnTo>
                  <a:lnTo>
                    <a:pt x="74" y="227"/>
                  </a:lnTo>
                  <a:lnTo>
                    <a:pt x="75" y="233"/>
                  </a:lnTo>
                  <a:lnTo>
                    <a:pt x="79" y="238"/>
                  </a:lnTo>
                  <a:lnTo>
                    <a:pt x="88" y="236"/>
                  </a:lnTo>
                  <a:lnTo>
                    <a:pt x="99" y="236"/>
                  </a:lnTo>
                  <a:lnTo>
                    <a:pt x="99" y="244"/>
                  </a:lnTo>
                  <a:lnTo>
                    <a:pt x="101" y="259"/>
                  </a:lnTo>
                  <a:lnTo>
                    <a:pt x="109" y="275"/>
                  </a:lnTo>
                  <a:lnTo>
                    <a:pt x="118" y="29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299" name="Freeform 75"/>
            <p:cNvSpPr>
              <a:spLocks/>
            </p:cNvSpPr>
            <p:nvPr/>
          </p:nvSpPr>
          <p:spPr bwMode="auto">
            <a:xfrm>
              <a:off x="3691299" y="2223306"/>
              <a:ext cx="82965" cy="108396"/>
            </a:xfrm>
            <a:custGeom>
              <a:avLst/>
              <a:gdLst>
                <a:gd name="T0" fmla="*/ 33 w 159"/>
                <a:gd name="T1" fmla="*/ 0 h 213"/>
                <a:gd name="T2" fmla="*/ 14 w 159"/>
                <a:gd name="T3" fmla="*/ 11 h 213"/>
                <a:gd name="T4" fmla="*/ 0 w 159"/>
                <a:gd name="T5" fmla="*/ 22 h 213"/>
                <a:gd name="T6" fmla="*/ 0 w 159"/>
                <a:gd name="T7" fmla="*/ 30 h 213"/>
                <a:gd name="T8" fmla="*/ 2 w 159"/>
                <a:gd name="T9" fmla="*/ 35 h 213"/>
                <a:gd name="T10" fmla="*/ 7 w 159"/>
                <a:gd name="T11" fmla="*/ 43 h 213"/>
                <a:gd name="T12" fmla="*/ 13 w 159"/>
                <a:gd name="T13" fmla="*/ 52 h 213"/>
                <a:gd name="T14" fmla="*/ 13 w 159"/>
                <a:gd name="T15" fmla="*/ 61 h 213"/>
                <a:gd name="T16" fmla="*/ 11 w 159"/>
                <a:gd name="T17" fmla="*/ 70 h 213"/>
                <a:gd name="T18" fmla="*/ 13 w 159"/>
                <a:gd name="T19" fmla="*/ 80 h 213"/>
                <a:gd name="T20" fmla="*/ 16 w 159"/>
                <a:gd name="T21" fmla="*/ 87 h 213"/>
                <a:gd name="T22" fmla="*/ 40 w 159"/>
                <a:gd name="T23" fmla="*/ 98 h 213"/>
                <a:gd name="T24" fmla="*/ 61 w 159"/>
                <a:gd name="T25" fmla="*/ 109 h 213"/>
                <a:gd name="T26" fmla="*/ 53 w 159"/>
                <a:gd name="T27" fmla="*/ 128 h 213"/>
                <a:gd name="T28" fmla="*/ 44 w 159"/>
                <a:gd name="T29" fmla="*/ 150 h 213"/>
                <a:gd name="T30" fmla="*/ 46 w 159"/>
                <a:gd name="T31" fmla="*/ 157 h 213"/>
                <a:gd name="T32" fmla="*/ 51 w 159"/>
                <a:gd name="T33" fmla="*/ 163 h 213"/>
                <a:gd name="T34" fmla="*/ 59 w 159"/>
                <a:gd name="T35" fmla="*/ 168 h 213"/>
                <a:gd name="T36" fmla="*/ 64 w 159"/>
                <a:gd name="T37" fmla="*/ 174 h 213"/>
                <a:gd name="T38" fmla="*/ 66 w 159"/>
                <a:gd name="T39" fmla="*/ 189 h 213"/>
                <a:gd name="T40" fmla="*/ 74 w 159"/>
                <a:gd name="T41" fmla="*/ 213 h 213"/>
                <a:gd name="T42" fmla="*/ 83 w 159"/>
                <a:gd name="T43" fmla="*/ 211 h 213"/>
                <a:gd name="T44" fmla="*/ 92 w 159"/>
                <a:gd name="T45" fmla="*/ 205 h 213"/>
                <a:gd name="T46" fmla="*/ 99 w 159"/>
                <a:gd name="T47" fmla="*/ 196 h 213"/>
                <a:gd name="T48" fmla="*/ 107 w 159"/>
                <a:gd name="T49" fmla="*/ 181 h 213"/>
                <a:gd name="T50" fmla="*/ 116 w 159"/>
                <a:gd name="T51" fmla="*/ 170 h 213"/>
                <a:gd name="T52" fmla="*/ 123 w 159"/>
                <a:gd name="T53" fmla="*/ 163 h 213"/>
                <a:gd name="T54" fmla="*/ 125 w 159"/>
                <a:gd name="T55" fmla="*/ 154 h 213"/>
                <a:gd name="T56" fmla="*/ 125 w 159"/>
                <a:gd name="T57" fmla="*/ 144 h 213"/>
                <a:gd name="T58" fmla="*/ 136 w 159"/>
                <a:gd name="T59" fmla="*/ 141 h 213"/>
                <a:gd name="T60" fmla="*/ 147 w 159"/>
                <a:gd name="T61" fmla="*/ 135 h 213"/>
                <a:gd name="T62" fmla="*/ 144 w 159"/>
                <a:gd name="T63" fmla="*/ 122 h 213"/>
                <a:gd name="T64" fmla="*/ 142 w 159"/>
                <a:gd name="T65" fmla="*/ 111 h 213"/>
                <a:gd name="T66" fmla="*/ 149 w 159"/>
                <a:gd name="T67" fmla="*/ 109 h 213"/>
                <a:gd name="T68" fmla="*/ 159 w 159"/>
                <a:gd name="T69" fmla="*/ 109 h 213"/>
                <a:gd name="T70" fmla="*/ 159 w 159"/>
                <a:gd name="T71" fmla="*/ 102 h 213"/>
                <a:gd name="T72" fmla="*/ 155 w 159"/>
                <a:gd name="T73" fmla="*/ 93 h 213"/>
                <a:gd name="T74" fmla="*/ 147 w 159"/>
                <a:gd name="T75" fmla="*/ 80 h 213"/>
                <a:gd name="T76" fmla="*/ 138 w 159"/>
                <a:gd name="T77" fmla="*/ 67 h 213"/>
                <a:gd name="T78" fmla="*/ 129 w 159"/>
                <a:gd name="T79" fmla="*/ 54 h 213"/>
                <a:gd name="T80" fmla="*/ 118 w 159"/>
                <a:gd name="T81" fmla="*/ 46 h 213"/>
                <a:gd name="T82" fmla="*/ 98 w 159"/>
                <a:gd name="T83" fmla="*/ 39 h 213"/>
                <a:gd name="T84" fmla="*/ 77 w 159"/>
                <a:gd name="T85" fmla="*/ 32 h 213"/>
                <a:gd name="T86" fmla="*/ 55 w 159"/>
                <a:gd name="T87" fmla="*/ 15 h 213"/>
                <a:gd name="T88" fmla="*/ 33 w 159"/>
                <a:gd name="T89" fmla="*/ 0 h 21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9"/>
                <a:gd name="T136" fmla="*/ 0 h 213"/>
                <a:gd name="T137" fmla="*/ 159 w 159"/>
                <a:gd name="T138" fmla="*/ 213 h 21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9" h="213">
                  <a:moveTo>
                    <a:pt x="33" y="0"/>
                  </a:moveTo>
                  <a:lnTo>
                    <a:pt x="14" y="11"/>
                  </a:lnTo>
                  <a:lnTo>
                    <a:pt x="0" y="22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7" y="43"/>
                  </a:lnTo>
                  <a:lnTo>
                    <a:pt x="13" y="52"/>
                  </a:lnTo>
                  <a:lnTo>
                    <a:pt x="13" y="61"/>
                  </a:lnTo>
                  <a:lnTo>
                    <a:pt x="11" y="70"/>
                  </a:lnTo>
                  <a:lnTo>
                    <a:pt x="13" y="80"/>
                  </a:lnTo>
                  <a:lnTo>
                    <a:pt x="16" y="87"/>
                  </a:lnTo>
                  <a:lnTo>
                    <a:pt x="40" y="98"/>
                  </a:lnTo>
                  <a:lnTo>
                    <a:pt x="61" y="109"/>
                  </a:lnTo>
                  <a:lnTo>
                    <a:pt x="53" y="128"/>
                  </a:lnTo>
                  <a:lnTo>
                    <a:pt x="44" y="150"/>
                  </a:lnTo>
                  <a:lnTo>
                    <a:pt x="46" y="157"/>
                  </a:lnTo>
                  <a:lnTo>
                    <a:pt x="51" y="163"/>
                  </a:lnTo>
                  <a:lnTo>
                    <a:pt x="59" y="168"/>
                  </a:lnTo>
                  <a:lnTo>
                    <a:pt x="64" y="174"/>
                  </a:lnTo>
                  <a:lnTo>
                    <a:pt x="66" y="189"/>
                  </a:lnTo>
                  <a:lnTo>
                    <a:pt x="74" y="213"/>
                  </a:lnTo>
                  <a:lnTo>
                    <a:pt x="83" y="211"/>
                  </a:lnTo>
                  <a:lnTo>
                    <a:pt x="92" y="205"/>
                  </a:lnTo>
                  <a:lnTo>
                    <a:pt x="99" y="196"/>
                  </a:lnTo>
                  <a:lnTo>
                    <a:pt x="107" y="181"/>
                  </a:lnTo>
                  <a:lnTo>
                    <a:pt x="116" y="170"/>
                  </a:lnTo>
                  <a:lnTo>
                    <a:pt x="123" y="163"/>
                  </a:lnTo>
                  <a:lnTo>
                    <a:pt x="125" y="154"/>
                  </a:lnTo>
                  <a:lnTo>
                    <a:pt x="125" y="144"/>
                  </a:lnTo>
                  <a:lnTo>
                    <a:pt x="136" y="141"/>
                  </a:lnTo>
                  <a:lnTo>
                    <a:pt x="147" y="135"/>
                  </a:lnTo>
                  <a:lnTo>
                    <a:pt x="144" y="122"/>
                  </a:lnTo>
                  <a:lnTo>
                    <a:pt x="142" y="111"/>
                  </a:lnTo>
                  <a:lnTo>
                    <a:pt x="149" y="109"/>
                  </a:lnTo>
                  <a:lnTo>
                    <a:pt x="159" y="109"/>
                  </a:lnTo>
                  <a:lnTo>
                    <a:pt x="159" y="102"/>
                  </a:lnTo>
                  <a:lnTo>
                    <a:pt x="155" y="93"/>
                  </a:lnTo>
                  <a:lnTo>
                    <a:pt x="147" y="80"/>
                  </a:lnTo>
                  <a:lnTo>
                    <a:pt x="138" y="67"/>
                  </a:lnTo>
                  <a:lnTo>
                    <a:pt x="129" y="54"/>
                  </a:lnTo>
                  <a:lnTo>
                    <a:pt x="118" y="46"/>
                  </a:lnTo>
                  <a:lnTo>
                    <a:pt x="98" y="39"/>
                  </a:lnTo>
                  <a:lnTo>
                    <a:pt x="77" y="32"/>
                  </a:lnTo>
                  <a:lnTo>
                    <a:pt x="55" y="15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0" name="Freeform 76"/>
            <p:cNvSpPr>
              <a:spLocks/>
            </p:cNvSpPr>
            <p:nvPr/>
          </p:nvSpPr>
          <p:spPr bwMode="auto">
            <a:xfrm>
              <a:off x="3729912" y="2254349"/>
              <a:ext cx="123143" cy="115521"/>
            </a:xfrm>
            <a:custGeom>
              <a:avLst/>
              <a:gdLst>
                <a:gd name="T0" fmla="*/ 0 w 236"/>
                <a:gd name="T1" fmla="*/ 155 h 227"/>
                <a:gd name="T2" fmla="*/ 5 w 236"/>
                <a:gd name="T3" fmla="*/ 161 h 227"/>
                <a:gd name="T4" fmla="*/ 7 w 236"/>
                <a:gd name="T5" fmla="*/ 172 h 227"/>
                <a:gd name="T6" fmla="*/ 5 w 236"/>
                <a:gd name="T7" fmla="*/ 189 h 227"/>
                <a:gd name="T8" fmla="*/ 3 w 236"/>
                <a:gd name="T9" fmla="*/ 202 h 227"/>
                <a:gd name="T10" fmla="*/ 3 w 236"/>
                <a:gd name="T11" fmla="*/ 202 h 227"/>
                <a:gd name="T12" fmla="*/ 14 w 236"/>
                <a:gd name="T13" fmla="*/ 209 h 227"/>
                <a:gd name="T14" fmla="*/ 38 w 236"/>
                <a:gd name="T15" fmla="*/ 222 h 227"/>
                <a:gd name="T16" fmla="*/ 64 w 236"/>
                <a:gd name="T17" fmla="*/ 227 h 227"/>
                <a:gd name="T18" fmla="*/ 86 w 236"/>
                <a:gd name="T19" fmla="*/ 220 h 227"/>
                <a:gd name="T20" fmla="*/ 97 w 236"/>
                <a:gd name="T21" fmla="*/ 216 h 227"/>
                <a:gd name="T22" fmla="*/ 97 w 236"/>
                <a:gd name="T23" fmla="*/ 216 h 227"/>
                <a:gd name="T24" fmla="*/ 97 w 236"/>
                <a:gd name="T25" fmla="*/ 216 h 227"/>
                <a:gd name="T26" fmla="*/ 114 w 236"/>
                <a:gd name="T27" fmla="*/ 215 h 227"/>
                <a:gd name="T28" fmla="*/ 134 w 236"/>
                <a:gd name="T29" fmla="*/ 194 h 227"/>
                <a:gd name="T30" fmla="*/ 149 w 236"/>
                <a:gd name="T31" fmla="*/ 181 h 227"/>
                <a:gd name="T32" fmla="*/ 157 w 236"/>
                <a:gd name="T33" fmla="*/ 185 h 227"/>
                <a:gd name="T34" fmla="*/ 170 w 236"/>
                <a:gd name="T35" fmla="*/ 194 h 227"/>
                <a:gd name="T36" fmla="*/ 184 w 236"/>
                <a:gd name="T37" fmla="*/ 211 h 227"/>
                <a:gd name="T38" fmla="*/ 205 w 236"/>
                <a:gd name="T39" fmla="*/ 220 h 227"/>
                <a:gd name="T40" fmla="*/ 221 w 236"/>
                <a:gd name="T41" fmla="*/ 222 h 227"/>
                <a:gd name="T42" fmla="*/ 230 w 236"/>
                <a:gd name="T43" fmla="*/ 216 h 227"/>
                <a:gd name="T44" fmla="*/ 236 w 236"/>
                <a:gd name="T45" fmla="*/ 200 h 227"/>
                <a:gd name="T46" fmla="*/ 234 w 236"/>
                <a:gd name="T47" fmla="*/ 179 h 227"/>
                <a:gd name="T48" fmla="*/ 205 w 236"/>
                <a:gd name="T49" fmla="*/ 142 h 227"/>
                <a:gd name="T50" fmla="*/ 190 w 236"/>
                <a:gd name="T51" fmla="*/ 115 h 227"/>
                <a:gd name="T52" fmla="*/ 195 w 236"/>
                <a:gd name="T53" fmla="*/ 107 h 227"/>
                <a:gd name="T54" fmla="*/ 197 w 236"/>
                <a:gd name="T55" fmla="*/ 102 h 227"/>
                <a:gd name="T56" fmla="*/ 192 w 236"/>
                <a:gd name="T57" fmla="*/ 89 h 227"/>
                <a:gd name="T58" fmla="*/ 184 w 236"/>
                <a:gd name="T59" fmla="*/ 80 h 227"/>
                <a:gd name="T60" fmla="*/ 171 w 236"/>
                <a:gd name="T61" fmla="*/ 74 h 227"/>
                <a:gd name="T62" fmla="*/ 162 w 236"/>
                <a:gd name="T63" fmla="*/ 50 h 227"/>
                <a:gd name="T64" fmla="*/ 153 w 236"/>
                <a:gd name="T65" fmla="*/ 26 h 227"/>
                <a:gd name="T66" fmla="*/ 140 w 236"/>
                <a:gd name="T67" fmla="*/ 8 h 227"/>
                <a:gd name="T68" fmla="*/ 134 w 236"/>
                <a:gd name="T69" fmla="*/ 2 h 227"/>
                <a:gd name="T70" fmla="*/ 127 w 236"/>
                <a:gd name="T71" fmla="*/ 4 h 227"/>
                <a:gd name="T72" fmla="*/ 116 w 236"/>
                <a:gd name="T73" fmla="*/ 13 h 227"/>
                <a:gd name="T74" fmla="*/ 110 w 236"/>
                <a:gd name="T75" fmla="*/ 11 h 227"/>
                <a:gd name="T76" fmla="*/ 96 w 236"/>
                <a:gd name="T77" fmla="*/ 21 h 227"/>
                <a:gd name="T78" fmla="*/ 85 w 236"/>
                <a:gd name="T79" fmla="*/ 43 h 227"/>
                <a:gd name="T80" fmla="*/ 75 w 236"/>
                <a:gd name="T81" fmla="*/ 48 h 227"/>
                <a:gd name="T82" fmla="*/ 70 w 236"/>
                <a:gd name="T83" fmla="*/ 61 h 227"/>
                <a:gd name="T84" fmla="*/ 62 w 236"/>
                <a:gd name="T85" fmla="*/ 80 h 227"/>
                <a:gd name="T86" fmla="*/ 51 w 236"/>
                <a:gd name="T87" fmla="*/ 93 h 227"/>
                <a:gd name="T88" fmla="*/ 42 w 236"/>
                <a:gd name="T89" fmla="*/ 109 h 227"/>
                <a:gd name="T90" fmla="*/ 25 w 236"/>
                <a:gd name="T91" fmla="*/ 135 h 227"/>
                <a:gd name="T92" fmla="*/ 9 w 236"/>
                <a:gd name="T93" fmla="*/ 150 h 2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6"/>
                <a:gd name="T142" fmla="*/ 0 h 227"/>
                <a:gd name="T143" fmla="*/ 236 w 236"/>
                <a:gd name="T144" fmla="*/ 227 h 2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6" h="227">
                  <a:moveTo>
                    <a:pt x="0" y="152"/>
                  </a:moveTo>
                  <a:lnTo>
                    <a:pt x="0" y="155"/>
                  </a:lnTo>
                  <a:lnTo>
                    <a:pt x="1" y="157"/>
                  </a:lnTo>
                  <a:lnTo>
                    <a:pt x="5" y="161"/>
                  </a:lnTo>
                  <a:lnTo>
                    <a:pt x="5" y="167"/>
                  </a:lnTo>
                  <a:lnTo>
                    <a:pt x="7" y="172"/>
                  </a:lnTo>
                  <a:lnTo>
                    <a:pt x="7" y="178"/>
                  </a:lnTo>
                  <a:lnTo>
                    <a:pt x="5" y="189"/>
                  </a:lnTo>
                  <a:lnTo>
                    <a:pt x="3" y="202"/>
                  </a:lnTo>
                  <a:lnTo>
                    <a:pt x="14" y="209"/>
                  </a:lnTo>
                  <a:lnTo>
                    <a:pt x="27" y="216"/>
                  </a:lnTo>
                  <a:lnTo>
                    <a:pt x="38" y="222"/>
                  </a:lnTo>
                  <a:lnTo>
                    <a:pt x="51" y="227"/>
                  </a:lnTo>
                  <a:lnTo>
                    <a:pt x="64" y="227"/>
                  </a:lnTo>
                  <a:lnTo>
                    <a:pt x="75" y="224"/>
                  </a:lnTo>
                  <a:lnTo>
                    <a:pt x="86" y="220"/>
                  </a:lnTo>
                  <a:lnTo>
                    <a:pt x="97" y="216"/>
                  </a:lnTo>
                  <a:lnTo>
                    <a:pt x="114" y="215"/>
                  </a:lnTo>
                  <a:lnTo>
                    <a:pt x="127" y="209"/>
                  </a:lnTo>
                  <a:lnTo>
                    <a:pt x="134" y="194"/>
                  </a:lnTo>
                  <a:lnTo>
                    <a:pt x="144" y="181"/>
                  </a:lnTo>
                  <a:lnTo>
                    <a:pt x="149" y="181"/>
                  </a:lnTo>
                  <a:lnTo>
                    <a:pt x="153" y="183"/>
                  </a:lnTo>
                  <a:lnTo>
                    <a:pt x="157" y="185"/>
                  </a:lnTo>
                  <a:lnTo>
                    <a:pt x="162" y="187"/>
                  </a:lnTo>
                  <a:lnTo>
                    <a:pt x="170" y="194"/>
                  </a:lnTo>
                  <a:lnTo>
                    <a:pt x="177" y="203"/>
                  </a:lnTo>
                  <a:lnTo>
                    <a:pt x="184" y="211"/>
                  </a:lnTo>
                  <a:lnTo>
                    <a:pt x="195" y="216"/>
                  </a:lnTo>
                  <a:lnTo>
                    <a:pt x="205" y="220"/>
                  </a:lnTo>
                  <a:lnTo>
                    <a:pt x="216" y="224"/>
                  </a:lnTo>
                  <a:lnTo>
                    <a:pt x="221" y="222"/>
                  </a:lnTo>
                  <a:lnTo>
                    <a:pt x="225" y="220"/>
                  </a:lnTo>
                  <a:lnTo>
                    <a:pt x="230" y="216"/>
                  </a:lnTo>
                  <a:lnTo>
                    <a:pt x="234" y="213"/>
                  </a:lnTo>
                  <a:lnTo>
                    <a:pt x="236" y="200"/>
                  </a:lnTo>
                  <a:lnTo>
                    <a:pt x="236" y="189"/>
                  </a:lnTo>
                  <a:lnTo>
                    <a:pt x="234" y="179"/>
                  </a:lnTo>
                  <a:lnTo>
                    <a:pt x="230" y="170"/>
                  </a:lnTo>
                  <a:lnTo>
                    <a:pt x="205" y="142"/>
                  </a:lnTo>
                  <a:lnTo>
                    <a:pt x="188" y="120"/>
                  </a:lnTo>
                  <a:lnTo>
                    <a:pt x="190" y="115"/>
                  </a:lnTo>
                  <a:lnTo>
                    <a:pt x="194" y="111"/>
                  </a:lnTo>
                  <a:lnTo>
                    <a:pt x="195" y="107"/>
                  </a:lnTo>
                  <a:lnTo>
                    <a:pt x="197" y="106"/>
                  </a:lnTo>
                  <a:lnTo>
                    <a:pt x="197" y="102"/>
                  </a:lnTo>
                  <a:lnTo>
                    <a:pt x="195" y="98"/>
                  </a:lnTo>
                  <a:lnTo>
                    <a:pt x="192" y="89"/>
                  </a:lnTo>
                  <a:lnTo>
                    <a:pt x="188" y="83"/>
                  </a:lnTo>
                  <a:lnTo>
                    <a:pt x="184" y="80"/>
                  </a:lnTo>
                  <a:lnTo>
                    <a:pt x="181" y="78"/>
                  </a:lnTo>
                  <a:lnTo>
                    <a:pt x="171" y="74"/>
                  </a:lnTo>
                  <a:lnTo>
                    <a:pt x="164" y="69"/>
                  </a:lnTo>
                  <a:lnTo>
                    <a:pt x="162" y="50"/>
                  </a:lnTo>
                  <a:lnTo>
                    <a:pt x="160" y="33"/>
                  </a:lnTo>
                  <a:lnTo>
                    <a:pt x="153" y="26"/>
                  </a:lnTo>
                  <a:lnTo>
                    <a:pt x="147" y="21"/>
                  </a:lnTo>
                  <a:lnTo>
                    <a:pt x="140" y="8"/>
                  </a:lnTo>
                  <a:lnTo>
                    <a:pt x="134" y="2"/>
                  </a:lnTo>
                  <a:lnTo>
                    <a:pt x="133" y="0"/>
                  </a:lnTo>
                  <a:lnTo>
                    <a:pt x="127" y="4"/>
                  </a:lnTo>
                  <a:lnTo>
                    <a:pt x="118" y="6"/>
                  </a:lnTo>
                  <a:lnTo>
                    <a:pt x="116" y="13"/>
                  </a:lnTo>
                  <a:lnTo>
                    <a:pt x="114" y="19"/>
                  </a:lnTo>
                  <a:lnTo>
                    <a:pt x="110" y="11"/>
                  </a:lnTo>
                  <a:lnTo>
                    <a:pt x="105" y="8"/>
                  </a:lnTo>
                  <a:lnTo>
                    <a:pt x="96" y="21"/>
                  </a:lnTo>
                  <a:lnTo>
                    <a:pt x="83" y="35"/>
                  </a:lnTo>
                  <a:lnTo>
                    <a:pt x="85" y="43"/>
                  </a:lnTo>
                  <a:lnTo>
                    <a:pt x="85" y="48"/>
                  </a:lnTo>
                  <a:lnTo>
                    <a:pt x="75" y="48"/>
                  </a:lnTo>
                  <a:lnTo>
                    <a:pt x="68" y="50"/>
                  </a:lnTo>
                  <a:lnTo>
                    <a:pt x="70" y="61"/>
                  </a:lnTo>
                  <a:lnTo>
                    <a:pt x="73" y="74"/>
                  </a:lnTo>
                  <a:lnTo>
                    <a:pt x="62" y="80"/>
                  </a:lnTo>
                  <a:lnTo>
                    <a:pt x="51" y="83"/>
                  </a:lnTo>
                  <a:lnTo>
                    <a:pt x="51" y="93"/>
                  </a:lnTo>
                  <a:lnTo>
                    <a:pt x="49" y="102"/>
                  </a:lnTo>
                  <a:lnTo>
                    <a:pt x="42" y="109"/>
                  </a:lnTo>
                  <a:lnTo>
                    <a:pt x="33" y="120"/>
                  </a:lnTo>
                  <a:lnTo>
                    <a:pt x="25" y="135"/>
                  </a:lnTo>
                  <a:lnTo>
                    <a:pt x="18" y="144"/>
                  </a:lnTo>
                  <a:lnTo>
                    <a:pt x="9" y="150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1" name="Freeform 77"/>
            <p:cNvSpPr>
              <a:spLocks/>
            </p:cNvSpPr>
            <p:nvPr/>
          </p:nvSpPr>
          <p:spPr bwMode="auto">
            <a:xfrm>
              <a:off x="3700691" y="2173434"/>
              <a:ext cx="98619" cy="98727"/>
            </a:xfrm>
            <a:custGeom>
              <a:avLst/>
              <a:gdLst>
                <a:gd name="T0" fmla="*/ 44 w 189"/>
                <a:gd name="T1" fmla="*/ 6 h 194"/>
                <a:gd name="T2" fmla="*/ 20 w 189"/>
                <a:gd name="T3" fmla="*/ 19 h 194"/>
                <a:gd name="T4" fmla="*/ 0 w 189"/>
                <a:gd name="T5" fmla="*/ 28 h 194"/>
                <a:gd name="T6" fmla="*/ 8 w 189"/>
                <a:gd name="T7" fmla="*/ 41 h 194"/>
                <a:gd name="T8" fmla="*/ 19 w 189"/>
                <a:gd name="T9" fmla="*/ 61 h 194"/>
                <a:gd name="T10" fmla="*/ 20 w 189"/>
                <a:gd name="T11" fmla="*/ 74 h 194"/>
                <a:gd name="T12" fmla="*/ 20 w 189"/>
                <a:gd name="T13" fmla="*/ 85 h 194"/>
                <a:gd name="T14" fmla="*/ 19 w 189"/>
                <a:gd name="T15" fmla="*/ 93 h 194"/>
                <a:gd name="T16" fmla="*/ 15 w 189"/>
                <a:gd name="T17" fmla="*/ 98 h 194"/>
                <a:gd name="T18" fmla="*/ 37 w 189"/>
                <a:gd name="T19" fmla="*/ 113 h 194"/>
                <a:gd name="T20" fmla="*/ 59 w 189"/>
                <a:gd name="T21" fmla="*/ 130 h 194"/>
                <a:gd name="T22" fmla="*/ 80 w 189"/>
                <a:gd name="T23" fmla="*/ 137 h 194"/>
                <a:gd name="T24" fmla="*/ 100 w 189"/>
                <a:gd name="T25" fmla="*/ 144 h 194"/>
                <a:gd name="T26" fmla="*/ 111 w 189"/>
                <a:gd name="T27" fmla="*/ 152 h 194"/>
                <a:gd name="T28" fmla="*/ 120 w 189"/>
                <a:gd name="T29" fmla="*/ 165 h 194"/>
                <a:gd name="T30" fmla="*/ 129 w 189"/>
                <a:gd name="T31" fmla="*/ 178 h 194"/>
                <a:gd name="T32" fmla="*/ 137 w 189"/>
                <a:gd name="T33" fmla="*/ 191 h 194"/>
                <a:gd name="T34" fmla="*/ 139 w 189"/>
                <a:gd name="T35" fmla="*/ 192 h 194"/>
                <a:gd name="T36" fmla="*/ 139 w 189"/>
                <a:gd name="T37" fmla="*/ 194 h 194"/>
                <a:gd name="T38" fmla="*/ 152 w 189"/>
                <a:gd name="T39" fmla="*/ 180 h 194"/>
                <a:gd name="T40" fmla="*/ 161 w 189"/>
                <a:gd name="T41" fmla="*/ 167 h 194"/>
                <a:gd name="T42" fmla="*/ 166 w 189"/>
                <a:gd name="T43" fmla="*/ 170 h 194"/>
                <a:gd name="T44" fmla="*/ 170 w 189"/>
                <a:gd name="T45" fmla="*/ 178 h 194"/>
                <a:gd name="T46" fmla="*/ 172 w 189"/>
                <a:gd name="T47" fmla="*/ 172 h 194"/>
                <a:gd name="T48" fmla="*/ 174 w 189"/>
                <a:gd name="T49" fmla="*/ 165 h 194"/>
                <a:gd name="T50" fmla="*/ 183 w 189"/>
                <a:gd name="T51" fmla="*/ 163 h 194"/>
                <a:gd name="T52" fmla="*/ 189 w 189"/>
                <a:gd name="T53" fmla="*/ 159 h 194"/>
                <a:gd name="T54" fmla="*/ 177 w 189"/>
                <a:gd name="T55" fmla="*/ 156 h 194"/>
                <a:gd name="T56" fmla="*/ 170 w 189"/>
                <a:gd name="T57" fmla="*/ 150 h 194"/>
                <a:gd name="T58" fmla="*/ 165 w 189"/>
                <a:gd name="T59" fmla="*/ 144 h 194"/>
                <a:gd name="T60" fmla="*/ 159 w 189"/>
                <a:gd name="T61" fmla="*/ 137 h 194"/>
                <a:gd name="T62" fmla="*/ 153 w 189"/>
                <a:gd name="T63" fmla="*/ 135 h 194"/>
                <a:gd name="T64" fmla="*/ 148 w 189"/>
                <a:gd name="T65" fmla="*/ 133 h 194"/>
                <a:gd name="T66" fmla="*/ 142 w 189"/>
                <a:gd name="T67" fmla="*/ 128 h 194"/>
                <a:gd name="T68" fmla="*/ 139 w 189"/>
                <a:gd name="T69" fmla="*/ 122 h 194"/>
                <a:gd name="T70" fmla="*/ 137 w 189"/>
                <a:gd name="T71" fmla="*/ 109 h 194"/>
                <a:gd name="T72" fmla="*/ 137 w 189"/>
                <a:gd name="T73" fmla="*/ 95 h 194"/>
                <a:gd name="T74" fmla="*/ 139 w 189"/>
                <a:gd name="T75" fmla="*/ 80 h 194"/>
                <a:gd name="T76" fmla="*/ 142 w 189"/>
                <a:gd name="T77" fmla="*/ 65 h 194"/>
                <a:gd name="T78" fmla="*/ 141 w 189"/>
                <a:gd name="T79" fmla="*/ 59 h 194"/>
                <a:gd name="T80" fmla="*/ 139 w 189"/>
                <a:gd name="T81" fmla="*/ 54 h 194"/>
                <a:gd name="T82" fmla="*/ 133 w 189"/>
                <a:gd name="T83" fmla="*/ 48 h 194"/>
                <a:gd name="T84" fmla="*/ 128 w 189"/>
                <a:gd name="T85" fmla="*/ 46 h 194"/>
                <a:gd name="T86" fmla="*/ 118 w 189"/>
                <a:gd name="T87" fmla="*/ 41 h 194"/>
                <a:gd name="T88" fmla="*/ 115 w 189"/>
                <a:gd name="T89" fmla="*/ 35 h 194"/>
                <a:gd name="T90" fmla="*/ 115 w 189"/>
                <a:gd name="T91" fmla="*/ 32 h 194"/>
                <a:gd name="T92" fmla="*/ 115 w 189"/>
                <a:gd name="T93" fmla="*/ 28 h 194"/>
                <a:gd name="T94" fmla="*/ 115 w 189"/>
                <a:gd name="T95" fmla="*/ 24 h 194"/>
                <a:gd name="T96" fmla="*/ 113 w 189"/>
                <a:gd name="T97" fmla="*/ 22 h 194"/>
                <a:gd name="T98" fmla="*/ 111 w 189"/>
                <a:gd name="T99" fmla="*/ 19 h 194"/>
                <a:gd name="T100" fmla="*/ 107 w 189"/>
                <a:gd name="T101" fmla="*/ 15 h 194"/>
                <a:gd name="T102" fmla="*/ 100 w 189"/>
                <a:gd name="T103" fmla="*/ 10 h 194"/>
                <a:gd name="T104" fmla="*/ 91 w 189"/>
                <a:gd name="T105" fmla="*/ 2 h 194"/>
                <a:gd name="T106" fmla="*/ 85 w 189"/>
                <a:gd name="T107" fmla="*/ 6 h 194"/>
                <a:gd name="T108" fmla="*/ 78 w 189"/>
                <a:gd name="T109" fmla="*/ 11 h 194"/>
                <a:gd name="T110" fmla="*/ 72 w 189"/>
                <a:gd name="T111" fmla="*/ 11 h 194"/>
                <a:gd name="T112" fmla="*/ 68 w 189"/>
                <a:gd name="T113" fmla="*/ 8 h 194"/>
                <a:gd name="T114" fmla="*/ 63 w 189"/>
                <a:gd name="T115" fmla="*/ 4 h 194"/>
                <a:gd name="T116" fmla="*/ 59 w 189"/>
                <a:gd name="T117" fmla="*/ 0 h 194"/>
                <a:gd name="T118" fmla="*/ 54 w 189"/>
                <a:gd name="T119" fmla="*/ 2 h 194"/>
                <a:gd name="T120" fmla="*/ 44 w 189"/>
                <a:gd name="T121" fmla="*/ 6 h 19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9"/>
                <a:gd name="T184" fmla="*/ 0 h 194"/>
                <a:gd name="T185" fmla="*/ 189 w 189"/>
                <a:gd name="T186" fmla="*/ 194 h 19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9" h="194">
                  <a:moveTo>
                    <a:pt x="44" y="6"/>
                  </a:moveTo>
                  <a:lnTo>
                    <a:pt x="20" y="19"/>
                  </a:lnTo>
                  <a:lnTo>
                    <a:pt x="0" y="28"/>
                  </a:lnTo>
                  <a:lnTo>
                    <a:pt x="8" y="41"/>
                  </a:lnTo>
                  <a:lnTo>
                    <a:pt x="19" y="61"/>
                  </a:lnTo>
                  <a:lnTo>
                    <a:pt x="20" y="74"/>
                  </a:lnTo>
                  <a:lnTo>
                    <a:pt x="20" y="85"/>
                  </a:lnTo>
                  <a:lnTo>
                    <a:pt x="19" y="93"/>
                  </a:lnTo>
                  <a:lnTo>
                    <a:pt x="15" y="98"/>
                  </a:lnTo>
                  <a:lnTo>
                    <a:pt x="37" y="113"/>
                  </a:lnTo>
                  <a:lnTo>
                    <a:pt x="59" y="130"/>
                  </a:lnTo>
                  <a:lnTo>
                    <a:pt x="80" y="137"/>
                  </a:lnTo>
                  <a:lnTo>
                    <a:pt x="100" y="144"/>
                  </a:lnTo>
                  <a:lnTo>
                    <a:pt x="111" y="152"/>
                  </a:lnTo>
                  <a:lnTo>
                    <a:pt x="120" y="165"/>
                  </a:lnTo>
                  <a:lnTo>
                    <a:pt x="129" y="178"/>
                  </a:lnTo>
                  <a:lnTo>
                    <a:pt x="137" y="191"/>
                  </a:lnTo>
                  <a:lnTo>
                    <a:pt x="139" y="192"/>
                  </a:lnTo>
                  <a:lnTo>
                    <a:pt x="139" y="194"/>
                  </a:lnTo>
                  <a:lnTo>
                    <a:pt x="152" y="180"/>
                  </a:lnTo>
                  <a:lnTo>
                    <a:pt x="161" y="167"/>
                  </a:lnTo>
                  <a:lnTo>
                    <a:pt x="166" y="170"/>
                  </a:lnTo>
                  <a:lnTo>
                    <a:pt x="170" y="178"/>
                  </a:lnTo>
                  <a:lnTo>
                    <a:pt x="172" y="172"/>
                  </a:lnTo>
                  <a:lnTo>
                    <a:pt x="174" y="165"/>
                  </a:lnTo>
                  <a:lnTo>
                    <a:pt x="183" y="163"/>
                  </a:lnTo>
                  <a:lnTo>
                    <a:pt x="189" y="159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65" y="144"/>
                  </a:lnTo>
                  <a:lnTo>
                    <a:pt x="159" y="137"/>
                  </a:lnTo>
                  <a:lnTo>
                    <a:pt x="153" y="135"/>
                  </a:lnTo>
                  <a:lnTo>
                    <a:pt x="148" y="133"/>
                  </a:lnTo>
                  <a:lnTo>
                    <a:pt x="142" y="128"/>
                  </a:lnTo>
                  <a:lnTo>
                    <a:pt x="139" y="122"/>
                  </a:lnTo>
                  <a:lnTo>
                    <a:pt x="137" y="109"/>
                  </a:lnTo>
                  <a:lnTo>
                    <a:pt x="137" y="95"/>
                  </a:lnTo>
                  <a:lnTo>
                    <a:pt x="139" y="80"/>
                  </a:lnTo>
                  <a:lnTo>
                    <a:pt x="142" y="65"/>
                  </a:lnTo>
                  <a:lnTo>
                    <a:pt x="141" y="59"/>
                  </a:lnTo>
                  <a:lnTo>
                    <a:pt x="139" y="54"/>
                  </a:lnTo>
                  <a:lnTo>
                    <a:pt x="133" y="48"/>
                  </a:lnTo>
                  <a:lnTo>
                    <a:pt x="128" y="46"/>
                  </a:lnTo>
                  <a:lnTo>
                    <a:pt x="118" y="41"/>
                  </a:lnTo>
                  <a:lnTo>
                    <a:pt x="115" y="35"/>
                  </a:lnTo>
                  <a:lnTo>
                    <a:pt x="115" y="32"/>
                  </a:lnTo>
                  <a:lnTo>
                    <a:pt x="115" y="28"/>
                  </a:lnTo>
                  <a:lnTo>
                    <a:pt x="115" y="24"/>
                  </a:lnTo>
                  <a:lnTo>
                    <a:pt x="113" y="22"/>
                  </a:lnTo>
                  <a:lnTo>
                    <a:pt x="111" y="19"/>
                  </a:lnTo>
                  <a:lnTo>
                    <a:pt x="107" y="15"/>
                  </a:lnTo>
                  <a:lnTo>
                    <a:pt x="100" y="10"/>
                  </a:lnTo>
                  <a:lnTo>
                    <a:pt x="91" y="2"/>
                  </a:lnTo>
                  <a:lnTo>
                    <a:pt x="85" y="6"/>
                  </a:lnTo>
                  <a:lnTo>
                    <a:pt x="78" y="11"/>
                  </a:lnTo>
                  <a:lnTo>
                    <a:pt x="72" y="11"/>
                  </a:lnTo>
                  <a:lnTo>
                    <a:pt x="68" y="8"/>
                  </a:lnTo>
                  <a:lnTo>
                    <a:pt x="63" y="4"/>
                  </a:lnTo>
                  <a:lnTo>
                    <a:pt x="59" y="0"/>
                  </a:lnTo>
                  <a:lnTo>
                    <a:pt x="54" y="2"/>
                  </a:lnTo>
                  <a:lnTo>
                    <a:pt x="44" y="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2" name="Freeform 78"/>
            <p:cNvSpPr>
              <a:spLocks/>
            </p:cNvSpPr>
            <p:nvPr/>
          </p:nvSpPr>
          <p:spPr bwMode="auto">
            <a:xfrm>
              <a:off x="3762263" y="2018218"/>
              <a:ext cx="118969" cy="98218"/>
            </a:xfrm>
            <a:custGeom>
              <a:avLst/>
              <a:gdLst>
                <a:gd name="T0" fmla="*/ 95 w 228"/>
                <a:gd name="T1" fmla="*/ 6 h 193"/>
                <a:gd name="T2" fmla="*/ 83 w 228"/>
                <a:gd name="T3" fmla="*/ 11 h 193"/>
                <a:gd name="T4" fmla="*/ 72 w 228"/>
                <a:gd name="T5" fmla="*/ 19 h 193"/>
                <a:gd name="T6" fmla="*/ 61 w 228"/>
                <a:gd name="T7" fmla="*/ 26 h 193"/>
                <a:gd name="T8" fmla="*/ 48 w 228"/>
                <a:gd name="T9" fmla="*/ 34 h 193"/>
                <a:gd name="T10" fmla="*/ 39 w 228"/>
                <a:gd name="T11" fmla="*/ 45 h 193"/>
                <a:gd name="T12" fmla="*/ 19 w 228"/>
                <a:gd name="T13" fmla="*/ 67 h 193"/>
                <a:gd name="T14" fmla="*/ 17 w 228"/>
                <a:gd name="T15" fmla="*/ 82 h 193"/>
                <a:gd name="T16" fmla="*/ 10 w 228"/>
                <a:gd name="T17" fmla="*/ 115 h 193"/>
                <a:gd name="T18" fmla="*/ 4 w 228"/>
                <a:gd name="T19" fmla="*/ 139 h 193"/>
                <a:gd name="T20" fmla="*/ 4 w 228"/>
                <a:gd name="T21" fmla="*/ 154 h 193"/>
                <a:gd name="T22" fmla="*/ 15 w 228"/>
                <a:gd name="T23" fmla="*/ 169 h 193"/>
                <a:gd name="T24" fmla="*/ 45 w 228"/>
                <a:gd name="T25" fmla="*/ 178 h 193"/>
                <a:gd name="T26" fmla="*/ 76 w 228"/>
                <a:gd name="T27" fmla="*/ 167 h 193"/>
                <a:gd name="T28" fmla="*/ 98 w 228"/>
                <a:gd name="T29" fmla="*/ 167 h 193"/>
                <a:gd name="T30" fmla="*/ 108 w 228"/>
                <a:gd name="T31" fmla="*/ 183 h 193"/>
                <a:gd name="T32" fmla="*/ 119 w 228"/>
                <a:gd name="T33" fmla="*/ 191 h 193"/>
                <a:gd name="T34" fmla="*/ 135 w 228"/>
                <a:gd name="T35" fmla="*/ 193 h 193"/>
                <a:gd name="T36" fmla="*/ 152 w 228"/>
                <a:gd name="T37" fmla="*/ 191 h 193"/>
                <a:gd name="T38" fmla="*/ 178 w 228"/>
                <a:gd name="T39" fmla="*/ 183 h 193"/>
                <a:gd name="T40" fmla="*/ 191 w 228"/>
                <a:gd name="T41" fmla="*/ 174 h 193"/>
                <a:gd name="T42" fmla="*/ 202 w 228"/>
                <a:gd name="T43" fmla="*/ 163 h 193"/>
                <a:gd name="T44" fmla="*/ 216 w 228"/>
                <a:gd name="T45" fmla="*/ 159 h 193"/>
                <a:gd name="T46" fmla="*/ 224 w 228"/>
                <a:gd name="T47" fmla="*/ 156 h 193"/>
                <a:gd name="T48" fmla="*/ 228 w 228"/>
                <a:gd name="T49" fmla="*/ 145 h 193"/>
                <a:gd name="T50" fmla="*/ 222 w 228"/>
                <a:gd name="T51" fmla="*/ 128 h 193"/>
                <a:gd name="T52" fmla="*/ 211 w 228"/>
                <a:gd name="T53" fmla="*/ 115 h 193"/>
                <a:gd name="T54" fmla="*/ 202 w 228"/>
                <a:gd name="T55" fmla="*/ 96 h 193"/>
                <a:gd name="T56" fmla="*/ 183 w 228"/>
                <a:gd name="T57" fmla="*/ 89 h 193"/>
                <a:gd name="T58" fmla="*/ 144 w 228"/>
                <a:gd name="T59" fmla="*/ 67 h 193"/>
                <a:gd name="T60" fmla="*/ 130 w 228"/>
                <a:gd name="T61" fmla="*/ 36 h 193"/>
                <a:gd name="T62" fmla="*/ 119 w 228"/>
                <a:gd name="T63" fmla="*/ 15 h 193"/>
                <a:gd name="T64" fmla="*/ 108 w 228"/>
                <a:gd name="T65" fmla="*/ 6 h 19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8"/>
                <a:gd name="T100" fmla="*/ 0 h 193"/>
                <a:gd name="T101" fmla="*/ 228 w 228"/>
                <a:gd name="T102" fmla="*/ 193 h 19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8" h="193">
                  <a:moveTo>
                    <a:pt x="100" y="0"/>
                  </a:moveTo>
                  <a:lnTo>
                    <a:pt x="95" y="6"/>
                  </a:lnTo>
                  <a:lnTo>
                    <a:pt x="89" y="8"/>
                  </a:lnTo>
                  <a:lnTo>
                    <a:pt x="83" y="11"/>
                  </a:lnTo>
                  <a:lnTo>
                    <a:pt x="76" y="13"/>
                  </a:lnTo>
                  <a:lnTo>
                    <a:pt x="72" y="19"/>
                  </a:lnTo>
                  <a:lnTo>
                    <a:pt x="67" y="24"/>
                  </a:lnTo>
                  <a:lnTo>
                    <a:pt x="61" y="26"/>
                  </a:lnTo>
                  <a:lnTo>
                    <a:pt x="54" y="30"/>
                  </a:lnTo>
                  <a:lnTo>
                    <a:pt x="48" y="34"/>
                  </a:lnTo>
                  <a:lnTo>
                    <a:pt x="43" y="37"/>
                  </a:lnTo>
                  <a:lnTo>
                    <a:pt x="39" y="45"/>
                  </a:lnTo>
                  <a:lnTo>
                    <a:pt x="35" y="54"/>
                  </a:lnTo>
                  <a:lnTo>
                    <a:pt x="19" y="67"/>
                  </a:lnTo>
                  <a:lnTo>
                    <a:pt x="15" y="74"/>
                  </a:lnTo>
                  <a:lnTo>
                    <a:pt x="17" y="82"/>
                  </a:lnTo>
                  <a:lnTo>
                    <a:pt x="19" y="100"/>
                  </a:lnTo>
                  <a:lnTo>
                    <a:pt x="10" y="115"/>
                  </a:lnTo>
                  <a:lnTo>
                    <a:pt x="2" y="130"/>
                  </a:lnTo>
                  <a:lnTo>
                    <a:pt x="4" y="139"/>
                  </a:lnTo>
                  <a:lnTo>
                    <a:pt x="6" y="150"/>
                  </a:lnTo>
                  <a:lnTo>
                    <a:pt x="4" y="154"/>
                  </a:lnTo>
                  <a:lnTo>
                    <a:pt x="0" y="161"/>
                  </a:lnTo>
                  <a:lnTo>
                    <a:pt x="15" y="169"/>
                  </a:lnTo>
                  <a:lnTo>
                    <a:pt x="30" y="174"/>
                  </a:lnTo>
                  <a:lnTo>
                    <a:pt x="45" y="178"/>
                  </a:lnTo>
                  <a:lnTo>
                    <a:pt x="59" y="180"/>
                  </a:lnTo>
                  <a:lnTo>
                    <a:pt x="76" y="167"/>
                  </a:lnTo>
                  <a:lnTo>
                    <a:pt x="89" y="159"/>
                  </a:lnTo>
                  <a:lnTo>
                    <a:pt x="98" y="167"/>
                  </a:lnTo>
                  <a:lnTo>
                    <a:pt x="104" y="178"/>
                  </a:lnTo>
                  <a:lnTo>
                    <a:pt x="108" y="183"/>
                  </a:lnTo>
                  <a:lnTo>
                    <a:pt x="113" y="187"/>
                  </a:lnTo>
                  <a:lnTo>
                    <a:pt x="119" y="191"/>
                  </a:lnTo>
                  <a:lnTo>
                    <a:pt x="124" y="193"/>
                  </a:lnTo>
                  <a:lnTo>
                    <a:pt x="135" y="193"/>
                  </a:lnTo>
                  <a:lnTo>
                    <a:pt x="144" y="193"/>
                  </a:lnTo>
                  <a:lnTo>
                    <a:pt x="152" y="191"/>
                  </a:lnTo>
                  <a:lnTo>
                    <a:pt x="161" y="189"/>
                  </a:lnTo>
                  <a:lnTo>
                    <a:pt x="178" y="183"/>
                  </a:lnTo>
                  <a:lnTo>
                    <a:pt x="191" y="181"/>
                  </a:lnTo>
                  <a:lnTo>
                    <a:pt x="191" y="174"/>
                  </a:lnTo>
                  <a:lnTo>
                    <a:pt x="194" y="167"/>
                  </a:lnTo>
                  <a:lnTo>
                    <a:pt x="202" y="163"/>
                  </a:lnTo>
                  <a:lnTo>
                    <a:pt x="211" y="161"/>
                  </a:lnTo>
                  <a:lnTo>
                    <a:pt x="216" y="159"/>
                  </a:lnTo>
                  <a:lnTo>
                    <a:pt x="220" y="157"/>
                  </a:lnTo>
                  <a:lnTo>
                    <a:pt x="224" y="156"/>
                  </a:lnTo>
                  <a:lnTo>
                    <a:pt x="226" y="152"/>
                  </a:lnTo>
                  <a:lnTo>
                    <a:pt x="228" y="145"/>
                  </a:lnTo>
                  <a:lnTo>
                    <a:pt x="228" y="133"/>
                  </a:lnTo>
                  <a:lnTo>
                    <a:pt x="222" y="128"/>
                  </a:lnTo>
                  <a:lnTo>
                    <a:pt x="216" y="122"/>
                  </a:lnTo>
                  <a:lnTo>
                    <a:pt x="211" y="115"/>
                  </a:lnTo>
                  <a:lnTo>
                    <a:pt x="207" y="109"/>
                  </a:lnTo>
                  <a:lnTo>
                    <a:pt x="202" y="96"/>
                  </a:lnTo>
                  <a:lnTo>
                    <a:pt x="196" y="89"/>
                  </a:lnTo>
                  <a:lnTo>
                    <a:pt x="183" y="89"/>
                  </a:lnTo>
                  <a:lnTo>
                    <a:pt x="154" y="82"/>
                  </a:lnTo>
                  <a:lnTo>
                    <a:pt x="144" y="67"/>
                  </a:lnTo>
                  <a:lnTo>
                    <a:pt x="137" y="52"/>
                  </a:lnTo>
                  <a:lnTo>
                    <a:pt x="130" y="36"/>
                  </a:lnTo>
                  <a:lnTo>
                    <a:pt x="124" y="21"/>
                  </a:lnTo>
                  <a:lnTo>
                    <a:pt x="119" y="15"/>
                  </a:lnTo>
                  <a:lnTo>
                    <a:pt x="113" y="10"/>
                  </a:lnTo>
                  <a:lnTo>
                    <a:pt x="108" y="6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3" name="Freeform 79"/>
            <p:cNvSpPr>
              <a:spLocks/>
            </p:cNvSpPr>
            <p:nvPr/>
          </p:nvSpPr>
          <p:spPr bwMode="auto">
            <a:xfrm>
              <a:off x="3695995" y="2082340"/>
              <a:ext cx="98097" cy="96691"/>
            </a:xfrm>
            <a:custGeom>
              <a:avLst/>
              <a:gdLst>
                <a:gd name="T0" fmla="*/ 126 w 188"/>
                <a:gd name="T1" fmla="*/ 39 h 190"/>
                <a:gd name="T2" fmla="*/ 118 w 188"/>
                <a:gd name="T3" fmla="*/ 44 h 190"/>
                <a:gd name="T4" fmla="*/ 96 w 188"/>
                <a:gd name="T5" fmla="*/ 46 h 190"/>
                <a:gd name="T6" fmla="*/ 81 w 188"/>
                <a:gd name="T7" fmla="*/ 31 h 190"/>
                <a:gd name="T8" fmla="*/ 74 w 188"/>
                <a:gd name="T9" fmla="*/ 11 h 190"/>
                <a:gd name="T10" fmla="*/ 65 w 188"/>
                <a:gd name="T11" fmla="*/ 2 h 190"/>
                <a:gd name="T12" fmla="*/ 52 w 188"/>
                <a:gd name="T13" fmla="*/ 7 h 190"/>
                <a:gd name="T14" fmla="*/ 26 w 188"/>
                <a:gd name="T15" fmla="*/ 31 h 190"/>
                <a:gd name="T16" fmla="*/ 2 w 188"/>
                <a:gd name="T17" fmla="*/ 59 h 190"/>
                <a:gd name="T18" fmla="*/ 4 w 188"/>
                <a:gd name="T19" fmla="*/ 76 h 190"/>
                <a:gd name="T20" fmla="*/ 22 w 188"/>
                <a:gd name="T21" fmla="*/ 87 h 190"/>
                <a:gd name="T22" fmla="*/ 44 w 188"/>
                <a:gd name="T23" fmla="*/ 105 h 190"/>
                <a:gd name="T24" fmla="*/ 66 w 188"/>
                <a:gd name="T25" fmla="*/ 133 h 190"/>
                <a:gd name="T26" fmla="*/ 74 w 188"/>
                <a:gd name="T27" fmla="*/ 155 h 190"/>
                <a:gd name="T28" fmla="*/ 66 w 188"/>
                <a:gd name="T29" fmla="*/ 163 h 190"/>
                <a:gd name="T30" fmla="*/ 55 w 188"/>
                <a:gd name="T31" fmla="*/ 170 h 190"/>
                <a:gd name="T32" fmla="*/ 52 w 188"/>
                <a:gd name="T33" fmla="*/ 179 h 190"/>
                <a:gd name="T34" fmla="*/ 53 w 188"/>
                <a:gd name="T35" fmla="*/ 185 h 190"/>
                <a:gd name="T36" fmla="*/ 63 w 188"/>
                <a:gd name="T37" fmla="*/ 181 h 190"/>
                <a:gd name="T38" fmla="*/ 72 w 188"/>
                <a:gd name="T39" fmla="*/ 183 h 190"/>
                <a:gd name="T40" fmla="*/ 81 w 188"/>
                <a:gd name="T41" fmla="*/ 190 h 190"/>
                <a:gd name="T42" fmla="*/ 92 w 188"/>
                <a:gd name="T43" fmla="*/ 187 h 190"/>
                <a:gd name="T44" fmla="*/ 98 w 188"/>
                <a:gd name="T45" fmla="*/ 183 h 190"/>
                <a:gd name="T46" fmla="*/ 100 w 188"/>
                <a:gd name="T47" fmla="*/ 174 h 190"/>
                <a:gd name="T48" fmla="*/ 111 w 188"/>
                <a:gd name="T49" fmla="*/ 168 h 190"/>
                <a:gd name="T50" fmla="*/ 126 w 188"/>
                <a:gd name="T51" fmla="*/ 157 h 190"/>
                <a:gd name="T52" fmla="*/ 131 w 188"/>
                <a:gd name="T53" fmla="*/ 150 h 190"/>
                <a:gd name="T54" fmla="*/ 142 w 188"/>
                <a:gd name="T55" fmla="*/ 157 h 190"/>
                <a:gd name="T56" fmla="*/ 151 w 188"/>
                <a:gd name="T57" fmla="*/ 159 h 190"/>
                <a:gd name="T58" fmla="*/ 166 w 188"/>
                <a:gd name="T59" fmla="*/ 146 h 190"/>
                <a:gd name="T60" fmla="*/ 179 w 188"/>
                <a:gd name="T61" fmla="*/ 131 h 190"/>
                <a:gd name="T62" fmla="*/ 179 w 188"/>
                <a:gd name="T63" fmla="*/ 124 h 190"/>
                <a:gd name="T64" fmla="*/ 175 w 188"/>
                <a:gd name="T65" fmla="*/ 113 h 190"/>
                <a:gd name="T66" fmla="*/ 181 w 188"/>
                <a:gd name="T67" fmla="*/ 94 h 190"/>
                <a:gd name="T68" fmla="*/ 188 w 188"/>
                <a:gd name="T69" fmla="*/ 68 h 190"/>
                <a:gd name="T70" fmla="*/ 185 w 188"/>
                <a:gd name="T71" fmla="*/ 55 h 190"/>
                <a:gd name="T72" fmla="*/ 172 w 188"/>
                <a:gd name="T73" fmla="*/ 52 h 190"/>
                <a:gd name="T74" fmla="*/ 142 w 188"/>
                <a:gd name="T75" fmla="*/ 43 h 1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88"/>
                <a:gd name="T115" fmla="*/ 0 h 190"/>
                <a:gd name="T116" fmla="*/ 188 w 188"/>
                <a:gd name="T117" fmla="*/ 190 h 1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88" h="190">
                  <a:moveTo>
                    <a:pt x="127" y="35"/>
                  </a:moveTo>
                  <a:lnTo>
                    <a:pt x="126" y="39"/>
                  </a:lnTo>
                  <a:lnTo>
                    <a:pt x="126" y="41"/>
                  </a:lnTo>
                  <a:lnTo>
                    <a:pt x="118" y="44"/>
                  </a:lnTo>
                  <a:lnTo>
                    <a:pt x="107" y="46"/>
                  </a:lnTo>
                  <a:lnTo>
                    <a:pt x="96" y="46"/>
                  </a:lnTo>
                  <a:lnTo>
                    <a:pt x="87" y="43"/>
                  </a:lnTo>
                  <a:lnTo>
                    <a:pt x="81" y="31"/>
                  </a:lnTo>
                  <a:lnTo>
                    <a:pt x="76" y="17"/>
                  </a:lnTo>
                  <a:lnTo>
                    <a:pt x="74" y="11"/>
                  </a:lnTo>
                  <a:lnTo>
                    <a:pt x="70" y="6"/>
                  </a:lnTo>
                  <a:lnTo>
                    <a:pt x="65" y="2"/>
                  </a:lnTo>
                  <a:lnTo>
                    <a:pt x="59" y="0"/>
                  </a:lnTo>
                  <a:lnTo>
                    <a:pt x="52" y="7"/>
                  </a:lnTo>
                  <a:lnTo>
                    <a:pt x="42" y="19"/>
                  </a:lnTo>
                  <a:lnTo>
                    <a:pt x="26" y="31"/>
                  </a:lnTo>
                  <a:lnTo>
                    <a:pt x="7" y="46"/>
                  </a:lnTo>
                  <a:lnTo>
                    <a:pt x="2" y="59"/>
                  </a:lnTo>
                  <a:lnTo>
                    <a:pt x="0" y="70"/>
                  </a:lnTo>
                  <a:lnTo>
                    <a:pt x="4" y="76"/>
                  </a:lnTo>
                  <a:lnTo>
                    <a:pt x="7" y="81"/>
                  </a:lnTo>
                  <a:lnTo>
                    <a:pt x="22" y="87"/>
                  </a:lnTo>
                  <a:lnTo>
                    <a:pt x="31" y="92"/>
                  </a:lnTo>
                  <a:lnTo>
                    <a:pt x="44" y="105"/>
                  </a:lnTo>
                  <a:lnTo>
                    <a:pt x="55" y="118"/>
                  </a:lnTo>
                  <a:lnTo>
                    <a:pt x="66" y="133"/>
                  </a:lnTo>
                  <a:lnTo>
                    <a:pt x="74" y="150"/>
                  </a:lnTo>
                  <a:lnTo>
                    <a:pt x="74" y="155"/>
                  </a:lnTo>
                  <a:lnTo>
                    <a:pt x="72" y="159"/>
                  </a:lnTo>
                  <a:lnTo>
                    <a:pt x="66" y="163"/>
                  </a:lnTo>
                  <a:lnTo>
                    <a:pt x="61" y="166"/>
                  </a:lnTo>
                  <a:lnTo>
                    <a:pt x="55" y="170"/>
                  </a:lnTo>
                  <a:lnTo>
                    <a:pt x="52" y="174"/>
                  </a:lnTo>
                  <a:lnTo>
                    <a:pt x="52" y="179"/>
                  </a:lnTo>
                  <a:lnTo>
                    <a:pt x="53" y="185"/>
                  </a:lnTo>
                  <a:lnTo>
                    <a:pt x="63" y="181"/>
                  </a:lnTo>
                  <a:lnTo>
                    <a:pt x="68" y="179"/>
                  </a:lnTo>
                  <a:lnTo>
                    <a:pt x="72" y="183"/>
                  </a:lnTo>
                  <a:lnTo>
                    <a:pt x="77" y="187"/>
                  </a:lnTo>
                  <a:lnTo>
                    <a:pt x="81" y="190"/>
                  </a:lnTo>
                  <a:lnTo>
                    <a:pt x="87" y="190"/>
                  </a:lnTo>
                  <a:lnTo>
                    <a:pt x="92" y="187"/>
                  </a:lnTo>
                  <a:lnTo>
                    <a:pt x="96" y="185"/>
                  </a:lnTo>
                  <a:lnTo>
                    <a:pt x="98" y="183"/>
                  </a:lnTo>
                  <a:lnTo>
                    <a:pt x="100" y="179"/>
                  </a:lnTo>
                  <a:lnTo>
                    <a:pt x="100" y="174"/>
                  </a:lnTo>
                  <a:lnTo>
                    <a:pt x="102" y="170"/>
                  </a:lnTo>
                  <a:lnTo>
                    <a:pt x="111" y="168"/>
                  </a:lnTo>
                  <a:lnTo>
                    <a:pt x="122" y="166"/>
                  </a:lnTo>
                  <a:lnTo>
                    <a:pt x="126" y="157"/>
                  </a:lnTo>
                  <a:lnTo>
                    <a:pt x="127" y="150"/>
                  </a:lnTo>
                  <a:lnTo>
                    <a:pt x="131" y="150"/>
                  </a:lnTo>
                  <a:lnTo>
                    <a:pt x="138" y="155"/>
                  </a:lnTo>
                  <a:lnTo>
                    <a:pt x="142" y="157"/>
                  </a:lnTo>
                  <a:lnTo>
                    <a:pt x="148" y="159"/>
                  </a:lnTo>
                  <a:lnTo>
                    <a:pt x="151" y="159"/>
                  </a:lnTo>
                  <a:lnTo>
                    <a:pt x="157" y="159"/>
                  </a:lnTo>
                  <a:lnTo>
                    <a:pt x="166" y="146"/>
                  </a:lnTo>
                  <a:lnTo>
                    <a:pt x="175" y="137"/>
                  </a:lnTo>
                  <a:lnTo>
                    <a:pt x="179" y="131"/>
                  </a:lnTo>
                  <a:lnTo>
                    <a:pt x="179" y="128"/>
                  </a:lnTo>
                  <a:lnTo>
                    <a:pt x="179" y="124"/>
                  </a:lnTo>
                  <a:lnTo>
                    <a:pt x="179" y="120"/>
                  </a:lnTo>
                  <a:lnTo>
                    <a:pt x="175" y="113"/>
                  </a:lnTo>
                  <a:lnTo>
                    <a:pt x="174" y="105"/>
                  </a:lnTo>
                  <a:lnTo>
                    <a:pt x="181" y="94"/>
                  </a:lnTo>
                  <a:lnTo>
                    <a:pt x="188" y="81"/>
                  </a:lnTo>
                  <a:lnTo>
                    <a:pt x="188" y="68"/>
                  </a:lnTo>
                  <a:lnTo>
                    <a:pt x="186" y="57"/>
                  </a:lnTo>
                  <a:lnTo>
                    <a:pt x="185" y="55"/>
                  </a:lnTo>
                  <a:lnTo>
                    <a:pt x="185" y="54"/>
                  </a:lnTo>
                  <a:lnTo>
                    <a:pt x="172" y="52"/>
                  </a:lnTo>
                  <a:lnTo>
                    <a:pt x="157" y="48"/>
                  </a:lnTo>
                  <a:lnTo>
                    <a:pt x="142" y="43"/>
                  </a:lnTo>
                  <a:lnTo>
                    <a:pt x="127" y="3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4" name="Freeform 80"/>
            <p:cNvSpPr>
              <a:spLocks/>
            </p:cNvSpPr>
            <p:nvPr/>
          </p:nvSpPr>
          <p:spPr bwMode="auto">
            <a:xfrm>
              <a:off x="3800875" y="1889466"/>
              <a:ext cx="110098" cy="140457"/>
            </a:xfrm>
            <a:custGeom>
              <a:avLst/>
              <a:gdLst>
                <a:gd name="T0" fmla="*/ 191 w 211"/>
                <a:gd name="T1" fmla="*/ 6 h 276"/>
                <a:gd name="T2" fmla="*/ 176 w 211"/>
                <a:gd name="T3" fmla="*/ 15 h 276"/>
                <a:gd name="T4" fmla="*/ 157 w 211"/>
                <a:gd name="T5" fmla="*/ 22 h 276"/>
                <a:gd name="T6" fmla="*/ 146 w 211"/>
                <a:gd name="T7" fmla="*/ 32 h 276"/>
                <a:gd name="T8" fmla="*/ 135 w 211"/>
                <a:gd name="T9" fmla="*/ 56 h 276"/>
                <a:gd name="T10" fmla="*/ 120 w 211"/>
                <a:gd name="T11" fmla="*/ 65 h 276"/>
                <a:gd name="T12" fmla="*/ 122 w 211"/>
                <a:gd name="T13" fmla="*/ 52 h 276"/>
                <a:gd name="T14" fmla="*/ 130 w 211"/>
                <a:gd name="T15" fmla="*/ 35 h 276"/>
                <a:gd name="T16" fmla="*/ 107 w 211"/>
                <a:gd name="T17" fmla="*/ 35 h 276"/>
                <a:gd name="T18" fmla="*/ 89 w 211"/>
                <a:gd name="T19" fmla="*/ 43 h 276"/>
                <a:gd name="T20" fmla="*/ 85 w 211"/>
                <a:gd name="T21" fmla="*/ 48 h 276"/>
                <a:gd name="T22" fmla="*/ 80 w 211"/>
                <a:gd name="T23" fmla="*/ 59 h 276"/>
                <a:gd name="T24" fmla="*/ 70 w 211"/>
                <a:gd name="T25" fmla="*/ 69 h 276"/>
                <a:gd name="T26" fmla="*/ 58 w 211"/>
                <a:gd name="T27" fmla="*/ 70 h 276"/>
                <a:gd name="T28" fmla="*/ 48 w 211"/>
                <a:gd name="T29" fmla="*/ 72 h 276"/>
                <a:gd name="T30" fmla="*/ 43 w 211"/>
                <a:gd name="T31" fmla="*/ 82 h 276"/>
                <a:gd name="T32" fmla="*/ 30 w 211"/>
                <a:gd name="T33" fmla="*/ 109 h 276"/>
                <a:gd name="T34" fmla="*/ 13 w 211"/>
                <a:gd name="T35" fmla="*/ 120 h 276"/>
                <a:gd name="T36" fmla="*/ 0 w 211"/>
                <a:gd name="T37" fmla="*/ 128 h 276"/>
                <a:gd name="T38" fmla="*/ 0 w 211"/>
                <a:gd name="T39" fmla="*/ 143 h 276"/>
                <a:gd name="T40" fmla="*/ 8 w 211"/>
                <a:gd name="T41" fmla="*/ 165 h 276"/>
                <a:gd name="T42" fmla="*/ 17 w 211"/>
                <a:gd name="T43" fmla="*/ 181 h 276"/>
                <a:gd name="T44" fmla="*/ 13 w 211"/>
                <a:gd name="T45" fmla="*/ 189 h 276"/>
                <a:gd name="T46" fmla="*/ 9 w 211"/>
                <a:gd name="T47" fmla="*/ 192 h 276"/>
                <a:gd name="T48" fmla="*/ 8 w 211"/>
                <a:gd name="T49" fmla="*/ 200 h 276"/>
                <a:gd name="T50" fmla="*/ 13 w 211"/>
                <a:gd name="T51" fmla="*/ 209 h 276"/>
                <a:gd name="T52" fmla="*/ 22 w 211"/>
                <a:gd name="T53" fmla="*/ 218 h 276"/>
                <a:gd name="T54" fmla="*/ 28 w 211"/>
                <a:gd name="T55" fmla="*/ 235 h 276"/>
                <a:gd name="T56" fmla="*/ 28 w 211"/>
                <a:gd name="T57" fmla="*/ 250 h 276"/>
                <a:gd name="T58" fmla="*/ 34 w 211"/>
                <a:gd name="T59" fmla="*/ 259 h 276"/>
                <a:gd name="T60" fmla="*/ 45 w 211"/>
                <a:gd name="T61" fmla="*/ 268 h 276"/>
                <a:gd name="T62" fmla="*/ 50 w 211"/>
                <a:gd name="T63" fmla="*/ 276 h 276"/>
                <a:gd name="T64" fmla="*/ 59 w 211"/>
                <a:gd name="T65" fmla="*/ 272 h 276"/>
                <a:gd name="T66" fmla="*/ 76 w 211"/>
                <a:gd name="T67" fmla="*/ 264 h 276"/>
                <a:gd name="T68" fmla="*/ 85 w 211"/>
                <a:gd name="T69" fmla="*/ 253 h 276"/>
                <a:gd name="T70" fmla="*/ 89 w 211"/>
                <a:gd name="T71" fmla="*/ 244 h 276"/>
                <a:gd name="T72" fmla="*/ 87 w 211"/>
                <a:gd name="T73" fmla="*/ 233 h 276"/>
                <a:gd name="T74" fmla="*/ 85 w 211"/>
                <a:gd name="T75" fmla="*/ 220 h 276"/>
                <a:gd name="T76" fmla="*/ 96 w 211"/>
                <a:gd name="T77" fmla="*/ 207 h 276"/>
                <a:gd name="T78" fmla="*/ 109 w 211"/>
                <a:gd name="T79" fmla="*/ 194 h 276"/>
                <a:gd name="T80" fmla="*/ 115 w 211"/>
                <a:gd name="T81" fmla="*/ 185 h 276"/>
                <a:gd name="T82" fmla="*/ 124 w 211"/>
                <a:gd name="T83" fmla="*/ 176 h 276"/>
                <a:gd name="T84" fmla="*/ 126 w 211"/>
                <a:gd name="T85" fmla="*/ 165 h 276"/>
                <a:gd name="T86" fmla="*/ 137 w 211"/>
                <a:gd name="T87" fmla="*/ 159 h 276"/>
                <a:gd name="T88" fmla="*/ 152 w 211"/>
                <a:gd name="T89" fmla="*/ 150 h 276"/>
                <a:gd name="T90" fmla="*/ 167 w 211"/>
                <a:gd name="T91" fmla="*/ 107 h 276"/>
                <a:gd name="T92" fmla="*/ 172 w 211"/>
                <a:gd name="T93" fmla="*/ 82 h 276"/>
                <a:gd name="T94" fmla="*/ 179 w 211"/>
                <a:gd name="T95" fmla="*/ 80 h 276"/>
                <a:gd name="T96" fmla="*/ 192 w 211"/>
                <a:gd name="T97" fmla="*/ 82 h 276"/>
                <a:gd name="T98" fmla="*/ 202 w 211"/>
                <a:gd name="T99" fmla="*/ 69 h 276"/>
                <a:gd name="T100" fmla="*/ 207 w 211"/>
                <a:gd name="T101" fmla="*/ 50 h 276"/>
                <a:gd name="T102" fmla="*/ 209 w 211"/>
                <a:gd name="T103" fmla="*/ 26 h 276"/>
                <a:gd name="T104" fmla="*/ 200 w 211"/>
                <a:gd name="T105" fmla="*/ 2 h 27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1"/>
                <a:gd name="T160" fmla="*/ 0 h 276"/>
                <a:gd name="T161" fmla="*/ 211 w 211"/>
                <a:gd name="T162" fmla="*/ 276 h 27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1" h="276">
                  <a:moveTo>
                    <a:pt x="198" y="0"/>
                  </a:moveTo>
                  <a:lnTo>
                    <a:pt x="191" y="6"/>
                  </a:lnTo>
                  <a:lnTo>
                    <a:pt x="183" y="9"/>
                  </a:lnTo>
                  <a:lnTo>
                    <a:pt x="176" y="15"/>
                  </a:lnTo>
                  <a:lnTo>
                    <a:pt x="168" y="22"/>
                  </a:lnTo>
                  <a:lnTo>
                    <a:pt x="157" y="22"/>
                  </a:lnTo>
                  <a:lnTo>
                    <a:pt x="150" y="26"/>
                  </a:lnTo>
                  <a:lnTo>
                    <a:pt x="146" y="32"/>
                  </a:lnTo>
                  <a:lnTo>
                    <a:pt x="144" y="43"/>
                  </a:lnTo>
                  <a:lnTo>
                    <a:pt x="135" y="56"/>
                  </a:lnTo>
                  <a:lnTo>
                    <a:pt x="126" y="65"/>
                  </a:lnTo>
                  <a:lnTo>
                    <a:pt x="120" y="65"/>
                  </a:lnTo>
                  <a:lnTo>
                    <a:pt x="115" y="65"/>
                  </a:lnTo>
                  <a:lnTo>
                    <a:pt x="122" y="52"/>
                  </a:lnTo>
                  <a:lnTo>
                    <a:pt x="128" y="43"/>
                  </a:lnTo>
                  <a:lnTo>
                    <a:pt x="130" y="35"/>
                  </a:lnTo>
                  <a:lnTo>
                    <a:pt x="128" y="30"/>
                  </a:lnTo>
                  <a:lnTo>
                    <a:pt x="107" y="35"/>
                  </a:lnTo>
                  <a:lnTo>
                    <a:pt x="94" y="41"/>
                  </a:lnTo>
                  <a:lnTo>
                    <a:pt x="89" y="43"/>
                  </a:lnTo>
                  <a:lnTo>
                    <a:pt x="87" y="45"/>
                  </a:lnTo>
                  <a:lnTo>
                    <a:pt x="85" y="48"/>
                  </a:lnTo>
                  <a:lnTo>
                    <a:pt x="83" y="52"/>
                  </a:lnTo>
                  <a:lnTo>
                    <a:pt x="80" y="59"/>
                  </a:lnTo>
                  <a:lnTo>
                    <a:pt x="76" y="63"/>
                  </a:lnTo>
                  <a:lnTo>
                    <a:pt x="70" y="69"/>
                  </a:lnTo>
                  <a:lnTo>
                    <a:pt x="65" y="70"/>
                  </a:lnTo>
                  <a:lnTo>
                    <a:pt x="58" y="70"/>
                  </a:lnTo>
                  <a:lnTo>
                    <a:pt x="52" y="70"/>
                  </a:lnTo>
                  <a:lnTo>
                    <a:pt x="48" y="72"/>
                  </a:lnTo>
                  <a:lnTo>
                    <a:pt x="45" y="74"/>
                  </a:lnTo>
                  <a:lnTo>
                    <a:pt x="43" y="82"/>
                  </a:lnTo>
                  <a:lnTo>
                    <a:pt x="37" y="96"/>
                  </a:lnTo>
                  <a:lnTo>
                    <a:pt x="30" y="109"/>
                  </a:lnTo>
                  <a:lnTo>
                    <a:pt x="22" y="117"/>
                  </a:lnTo>
                  <a:lnTo>
                    <a:pt x="13" y="120"/>
                  </a:lnTo>
                  <a:lnTo>
                    <a:pt x="4" y="122"/>
                  </a:lnTo>
                  <a:lnTo>
                    <a:pt x="0" y="128"/>
                  </a:lnTo>
                  <a:lnTo>
                    <a:pt x="0" y="135"/>
                  </a:lnTo>
                  <a:lnTo>
                    <a:pt x="0" y="143"/>
                  </a:lnTo>
                  <a:lnTo>
                    <a:pt x="2" y="150"/>
                  </a:lnTo>
                  <a:lnTo>
                    <a:pt x="8" y="165"/>
                  </a:lnTo>
                  <a:lnTo>
                    <a:pt x="17" y="178"/>
                  </a:lnTo>
                  <a:lnTo>
                    <a:pt x="17" y="181"/>
                  </a:lnTo>
                  <a:lnTo>
                    <a:pt x="15" y="185"/>
                  </a:lnTo>
                  <a:lnTo>
                    <a:pt x="13" y="189"/>
                  </a:lnTo>
                  <a:lnTo>
                    <a:pt x="11" y="191"/>
                  </a:lnTo>
                  <a:lnTo>
                    <a:pt x="9" y="192"/>
                  </a:lnTo>
                  <a:lnTo>
                    <a:pt x="8" y="196"/>
                  </a:lnTo>
                  <a:lnTo>
                    <a:pt x="8" y="200"/>
                  </a:lnTo>
                  <a:lnTo>
                    <a:pt x="9" y="205"/>
                  </a:lnTo>
                  <a:lnTo>
                    <a:pt x="13" y="209"/>
                  </a:lnTo>
                  <a:lnTo>
                    <a:pt x="19" y="213"/>
                  </a:lnTo>
                  <a:lnTo>
                    <a:pt x="22" y="218"/>
                  </a:lnTo>
                  <a:lnTo>
                    <a:pt x="26" y="228"/>
                  </a:lnTo>
                  <a:lnTo>
                    <a:pt x="28" y="235"/>
                  </a:lnTo>
                  <a:lnTo>
                    <a:pt x="30" y="242"/>
                  </a:lnTo>
                  <a:lnTo>
                    <a:pt x="28" y="250"/>
                  </a:lnTo>
                  <a:lnTo>
                    <a:pt x="26" y="253"/>
                  </a:lnTo>
                  <a:lnTo>
                    <a:pt x="34" y="259"/>
                  </a:lnTo>
                  <a:lnTo>
                    <a:pt x="39" y="263"/>
                  </a:lnTo>
                  <a:lnTo>
                    <a:pt x="45" y="268"/>
                  </a:lnTo>
                  <a:lnTo>
                    <a:pt x="50" y="274"/>
                  </a:lnTo>
                  <a:lnTo>
                    <a:pt x="50" y="276"/>
                  </a:lnTo>
                  <a:lnTo>
                    <a:pt x="59" y="272"/>
                  </a:lnTo>
                  <a:lnTo>
                    <a:pt x="69" y="268"/>
                  </a:lnTo>
                  <a:lnTo>
                    <a:pt x="76" y="264"/>
                  </a:lnTo>
                  <a:lnTo>
                    <a:pt x="82" y="259"/>
                  </a:lnTo>
                  <a:lnTo>
                    <a:pt x="85" y="253"/>
                  </a:lnTo>
                  <a:lnTo>
                    <a:pt x="89" y="248"/>
                  </a:lnTo>
                  <a:lnTo>
                    <a:pt x="89" y="244"/>
                  </a:lnTo>
                  <a:lnTo>
                    <a:pt x="89" y="240"/>
                  </a:lnTo>
                  <a:lnTo>
                    <a:pt x="87" y="233"/>
                  </a:lnTo>
                  <a:lnTo>
                    <a:pt x="85" y="226"/>
                  </a:lnTo>
                  <a:lnTo>
                    <a:pt x="85" y="220"/>
                  </a:lnTo>
                  <a:lnTo>
                    <a:pt x="89" y="213"/>
                  </a:lnTo>
                  <a:lnTo>
                    <a:pt x="96" y="207"/>
                  </a:lnTo>
                  <a:lnTo>
                    <a:pt x="107" y="200"/>
                  </a:lnTo>
                  <a:lnTo>
                    <a:pt x="109" y="194"/>
                  </a:lnTo>
                  <a:lnTo>
                    <a:pt x="111" y="189"/>
                  </a:lnTo>
                  <a:lnTo>
                    <a:pt x="115" y="185"/>
                  </a:lnTo>
                  <a:lnTo>
                    <a:pt x="120" y="179"/>
                  </a:lnTo>
                  <a:lnTo>
                    <a:pt x="124" y="176"/>
                  </a:lnTo>
                  <a:lnTo>
                    <a:pt x="126" y="170"/>
                  </a:lnTo>
                  <a:lnTo>
                    <a:pt x="126" y="165"/>
                  </a:lnTo>
                  <a:lnTo>
                    <a:pt x="128" y="161"/>
                  </a:lnTo>
                  <a:lnTo>
                    <a:pt x="137" y="159"/>
                  </a:lnTo>
                  <a:lnTo>
                    <a:pt x="144" y="159"/>
                  </a:lnTo>
                  <a:lnTo>
                    <a:pt x="152" y="150"/>
                  </a:lnTo>
                  <a:lnTo>
                    <a:pt x="165" y="137"/>
                  </a:lnTo>
                  <a:lnTo>
                    <a:pt x="167" y="107"/>
                  </a:lnTo>
                  <a:lnTo>
                    <a:pt x="170" y="83"/>
                  </a:lnTo>
                  <a:lnTo>
                    <a:pt x="172" y="82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92" y="82"/>
                  </a:lnTo>
                  <a:lnTo>
                    <a:pt x="200" y="82"/>
                  </a:lnTo>
                  <a:lnTo>
                    <a:pt x="202" y="69"/>
                  </a:lnTo>
                  <a:lnTo>
                    <a:pt x="202" y="58"/>
                  </a:lnTo>
                  <a:lnTo>
                    <a:pt x="207" y="50"/>
                  </a:lnTo>
                  <a:lnTo>
                    <a:pt x="211" y="39"/>
                  </a:lnTo>
                  <a:lnTo>
                    <a:pt x="209" y="26"/>
                  </a:lnTo>
                  <a:lnTo>
                    <a:pt x="200" y="4"/>
                  </a:lnTo>
                  <a:lnTo>
                    <a:pt x="200" y="2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5" name="Freeform 81"/>
            <p:cNvSpPr>
              <a:spLocks/>
            </p:cNvSpPr>
            <p:nvPr/>
          </p:nvSpPr>
          <p:spPr bwMode="auto">
            <a:xfrm>
              <a:off x="3904190" y="1858423"/>
              <a:ext cx="175322" cy="159795"/>
            </a:xfrm>
            <a:custGeom>
              <a:avLst/>
              <a:gdLst>
                <a:gd name="T0" fmla="*/ 155 w 336"/>
                <a:gd name="T1" fmla="*/ 6 h 314"/>
                <a:gd name="T2" fmla="*/ 120 w 336"/>
                <a:gd name="T3" fmla="*/ 8 h 314"/>
                <a:gd name="T4" fmla="*/ 140 w 336"/>
                <a:gd name="T5" fmla="*/ 17 h 314"/>
                <a:gd name="T6" fmla="*/ 129 w 336"/>
                <a:gd name="T7" fmla="*/ 24 h 314"/>
                <a:gd name="T8" fmla="*/ 118 w 336"/>
                <a:gd name="T9" fmla="*/ 34 h 314"/>
                <a:gd name="T10" fmla="*/ 118 w 336"/>
                <a:gd name="T11" fmla="*/ 48 h 314"/>
                <a:gd name="T12" fmla="*/ 122 w 336"/>
                <a:gd name="T13" fmla="*/ 61 h 314"/>
                <a:gd name="T14" fmla="*/ 129 w 336"/>
                <a:gd name="T15" fmla="*/ 70 h 314"/>
                <a:gd name="T16" fmla="*/ 131 w 336"/>
                <a:gd name="T17" fmla="*/ 93 h 314"/>
                <a:gd name="T18" fmla="*/ 116 w 336"/>
                <a:gd name="T19" fmla="*/ 104 h 314"/>
                <a:gd name="T20" fmla="*/ 109 w 336"/>
                <a:gd name="T21" fmla="*/ 93 h 314"/>
                <a:gd name="T22" fmla="*/ 105 w 336"/>
                <a:gd name="T23" fmla="*/ 70 h 314"/>
                <a:gd name="T24" fmla="*/ 85 w 336"/>
                <a:gd name="T25" fmla="*/ 65 h 314"/>
                <a:gd name="T26" fmla="*/ 76 w 336"/>
                <a:gd name="T27" fmla="*/ 50 h 314"/>
                <a:gd name="T28" fmla="*/ 66 w 336"/>
                <a:gd name="T29" fmla="*/ 43 h 314"/>
                <a:gd name="T30" fmla="*/ 52 w 336"/>
                <a:gd name="T31" fmla="*/ 39 h 314"/>
                <a:gd name="T32" fmla="*/ 24 w 336"/>
                <a:gd name="T33" fmla="*/ 56 h 314"/>
                <a:gd name="T34" fmla="*/ 2 w 336"/>
                <a:gd name="T35" fmla="*/ 61 h 314"/>
                <a:gd name="T36" fmla="*/ 2 w 336"/>
                <a:gd name="T37" fmla="*/ 65 h 314"/>
                <a:gd name="T38" fmla="*/ 9 w 336"/>
                <a:gd name="T39" fmla="*/ 111 h 314"/>
                <a:gd name="T40" fmla="*/ 2 w 336"/>
                <a:gd name="T41" fmla="*/ 143 h 314"/>
                <a:gd name="T42" fmla="*/ 5 w 336"/>
                <a:gd name="T43" fmla="*/ 148 h 314"/>
                <a:gd name="T44" fmla="*/ 18 w 336"/>
                <a:gd name="T45" fmla="*/ 152 h 314"/>
                <a:gd name="T46" fmla="*/ 41 w 336"/>
                <a:gd name="T47" fmla="*/ 157 h 314"/>
                <a:gd name="T48" fmla="*/ 61 w 336"/>
                <a:gd name="T49" fmla="*/ 165 h 314"/>
                <a:gd name="T50" fmla="*/ 85 w 336"/>
                <a:gd name="T51" fmla="*/ 170 h 314"/>
                <a:gd name="T52" fmla="*/ 118 w 336"/>
                <a:gd name="T53" fmla="*/ 172 h 314"/>
                <a:gd name="T54" fmla="*/ 120 w 336"/>
                <a:gd name="T55" fmla="*/ 207 h 314"/>
                <a:gd name="T56" fmla="*/ 138 w 336"/>
                <a:gd name="T57" fmla="*/ 220 h 314"/>
                <a:gd name="T58" fmla="*/ 151 w 336"/>
                <a:gd name="T59" fmla="*/ 252 h 314"/>
                <a:gd name="T60" fmla="*/ 155 w 336"/>
                <a:gd name="T61" fmla="*/ 283 h 314"/>
                <a:gd name="T62" fmla="*/ 159 w 336"/>
                <a:gd name="T63" fmla="*/ 296 h 314"/>
                <a:gd name="T64" fmla="*/ 183 w 336"/>
                <a:gd name="T65" fmla="*/ 298 h 314"/>
                <a:gd name="T66" fmla="*/ 190 w 336"/>
                <a:gd name="T67" fmla="*/ 311 h 314"/>
                <a:gd name="T68" fmla="*/ 199 w 336"/>
                <a:gd name="T69" fmla="*/ 314 h 314"/>
                <a:gd name="T70" fmla="*/ 216 w 336"/>
                <a:gd name="T71" fmla="*/ 301 h 314"/>
                <a:gd name="T72" fmla="*/ 223 w 336"/>
                <a:gd name="T73" fmla="*/ 281 h 314"/>
                <a:gd name="T74" fmla="*/ 242 w 336"/>
                <a:gd name="T75" fmla="*/ 253 h 314"/>
                <a:gd name="T76" fmla="*/ 273 w 336"/>
                <a:gd name="T77" fmla="*/ 244 h 314"/>
                <a:gd name="T78" fmla="*/ 284 w 336"/>
                <a:gd name="T79" fmla="*/ 242 h 314"/>
                <a:gd name="T80" fmla="*/ 290 w 336"/>
                <a:gd name="T81" fmla="*/ 231 h 314"/>
                <a:gd name="T82" fmla="*/ 314 w 336"/>
                <a:gd name="T83" fmla="*/ 239 h 314"/>
                <a:gd name="T84" fmla="*/ 334 w 336"/>
                <a:gd name="T85" fmla="*/ 237 h 314"/>
                <a:gd name="T86" fmla="*/ 332 w 336"/>
                <a:gd name="T87" fmla="*/ 233 h 314"/>
                <a:gd name="T88" fmla="*/ 327 w 336"/>
                <a:gd name="T89" fmla="*/ 209 h 314"/>
                <a:gd name="T90" fmla="*/ 312 w 336"/>
                <a:gd name="T91" fmla="*/ 194 h 314"/>
                <a:gd name="T92" fmla="*/ 297 w 336"/>
                <a:gd name="T93" fmla="*/ 181 h 314"/>
                <a:gd name="T94" fmla="*/ 290 w 336"/>
                <a:gd name="T95" fmla="*/ 155 h 314"/>
                <a:gd name="T96" fmla="*/ 281 w 336"/>
                <a:gd name="T97" fmla="*/ 152 h 314"/>
                <a:gd name="T98" fmla="*/ 284 w 336"/>
                <a:gd name="T99" fmla="*/ 167 h 314"/>
                <a:gd name="T100" fmla="*/ 279 w 336"/>
                <a:gd name="T101" fmla="*/ 174 h 314"/>
                <a:gd name="T102" fmla="*/ 249 w 336"/>
                <a:gd name="T103" fmla="*/ 157 h 314"/>
                <a:gd name="T104" fmla="*/ 244 w 336"/>
                <a:gd name="T105" fmla="*/ 165 h 314"/>
                <a:gd name="T106" fmla="*/ 236 w 336"/>
                <a:gd name="T107" fmla="*/ 167 h 314"/>
                <a:gd name="T108" fmla="*/ 218 w 336"/>
                <a:gd name="T109" fmla="*/ 165 h 314"/>
                <a:gd name="T110" fmla="*/ 196 w 336"/>
                <a:gd name="T111" fmla="*/ 172 h 314"/>
                <a:gd name="T112" fmla="*/ 179 w 336"/>
                <a:gd name="T113" fmla="*/ 148 h 314"/>
                <a:gd name="T114" fmla="*/ 153 w 336"/>
                <a:gd name="T115" fmla="*/ 133 h 314"/>
                <a:gd name="T116" fmla="*/ 161 w 336"/>
                <a:gd name="T117" fmla="*/ 120 h 314"/>
                <a:gd name="T118" fmla="*/ 177 w 336"/>
                <a:gd name="T119" fmla="*/ 100 h 314"/>
                <a:gd name="T120" fmla="*/ 198 w 336"/>
                <a:gd name="T121" fmla="*/ 80 h 314"/>
                <a:gd name="T122" fmla="*/ 205 w 336"/>
                <a:gd name="T123" fmla="*/ 34 h 31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6"/>
                <a:gd name="T187" fmla="*/ 0 h 314"/>
                <a:gd name="T188" fmla="*/ 336 w 336"/>
                <a:gd name="T189" fmla="*/ 314 h 31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6" h="314">
                  <a:moveTo>
                    <a:pt x="194" y="13"/>
                  </a:moveTo>
                  <a:lnTo>
                    <a:pt x="174" y="10"/>
                  </a:lnTo>
                  <a:lnTo>
                    <a:pt x="155" y="6"/>
                  </a:lnTo>
                  <a:lnTo>
                    <a:pt x="135" y="2"/>
                  </a:lnTo>
                  <a:lnTo>
                    <a:pt x="116" y="0"/>
                  </a:lnTo>
                  <a:lnTo>
                    <a:pt x="120" y="8"/>
                  </a:lnTo>
                  <a:lnTo>
                    <a:pt x="126" y="11"/>
                  </a:lnTo>
                  <a:lnTo>
                    <a:pt x="131" y="15"/>
                  </a:lnTo>
                  <a:lnTo>
                    <a:pt x="140" y="17"/>
                  </a:lnTo>
                  <a:lnTo>
                    <a:pt x="140" y="21"/>
                  </a:lnTo>
                  <a:lnTo>
                    <a:pt x="137" y="22"/>
                  </a:lnTo>
                  <a:lnTo>
                    <a:pt x="129" y="24"/>
                  </a:lnTo>
                  <a:lnTo>
                    <a:pt x="122" y="26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8" y="37"/>
                  </a:lnTo>
                  <a:lnTo>
                    <a:pt x="120" y="43"/>
                  </a:lnTo>
                  <a:lnTo>
                    <a:pt x="118" y="48"/>
                  </a:lnTo>
                  <a:lnTo>
                    <a:pt x="118" y="54"/>
                  </a:lnTo>
                  <a:lnTo>
                    <a:pt x="118" y="58"/>
                  </a:lnTo>
                  <a:lnTo>
                    <a:pt x="122" y="61"/>
                  </a:lnTo>
                  <a:lnTo>
                    <a:pt x="126" y="63"/>
                  </a:lnTo>
                  <a:lnTo>
                    <a:pt x="127" y="67"/>
                  </a:lnTo>
                  <a:lnTo>
                    <a:pt x="129" y="70"/>
                  </a:lnTo>
                  <a:lnTo>
                    <a:pt x="129" y="76"/>
                  </a:lnTo>
                  <a:lnTo>
                    <a:pt x="131" y="85"/>
                  </a:lnTo>
                  <a:lnTo>
                    <a:pt x="131" y="93"/>
                  </a:lnTo>
                  <a:lnTo>
                    <a:pt x="129" y="100"/>
                  </a:lnTo>
                  <a:lnTo>
                    <a:pt x="126" y="104"/>
                  </a:lnTo>
                  <a:lnTo>
                    <a:pt x="116" y="104"/>
                  </a:lnTo>
                  <a:lnTo>
                    <a:pt x="113" y="100"/>
                  </a:lnTo>
                  <a:lnTo>
                    <a:pt x="109" y="98"/>
                  </a:lnTo>
                  <a:lnTo>
                    <a:pt x="109" y="93"/>
                  </a:lnTo>
                  <a:lnTo>
                    <a:pt x="109" y="83"/>
                  </a:lnTo>
                  <a:lnTo>
                    <a:pt x="109" y="76"/>
                  </a:lnTo>
                  <a:lnTo>
                    <a:pt x="105" y="70"/>
                  </a:lnTo>
                  <a:lnTo>
                    <a:pt x="100" y="67"/>
                  </a:lnTo>
                  <a:lnTo>
                    <a:pt x="94" y="65"/>
                  </a:lnTo>
                  <a:lnTo>
                    <a:pt x="85" y="65"/>
                  </a:lnTo>
                  <a:lnTo>
                    <a:pt x="83" y="58"/>
                  </a:lnTo>
                  <a:lnTo>
                    <a:pt x="83" y="50"/>
                  </a:lnTo>
                  <a:lnTo>
                    <a:pt x="76" y="50"/>
                  </a:lnTo>
                  <a:lnTo>
                    <a:pt x="65" y="50"/>
                  </a:lnTo>
                  <a:lnTo>
                    <a:pt x="66" y="46"/>
                  </a:lnTo>
                  <a:lnTo>
                    <a:pt x="66" y="43"/>
                  </a:lnTo>
                  <a:lnTo>
                    <a:pt x="65" y="41"/>
                  </a:lnTo>
                  <a:lnTo>
                    <a:pt x="63" y="39"/>
                  </a:lnTo>
                  <a:lnTo>
                    <a:pt x="52" y="39"/>
                  </a:lnTo>
                  <a:lnTo>
                    <a:pt x="39" y="45"/>
                  </a:lnTo>
                  <a:lnTo>
                    <a:pt x="31" y="52"/>
                  </a:lnTo>
                  <a:lnTo>
                    <a:pt x="24" y="56"/>
                  </a:lnTo>
                  <a:lnTo>
                    <a:pt x="15" y="58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0" y="61"/>
                  </a:lnTo>
                  <a:lnTo>
                    <a:pt x="2" y="63"/>
                  </a:lnTo>
                  <a:lnTo>
                    <a:pt x="2" y="65"/>
                  </a:lnTo>
                  <a:lnTo>
                    <a:pt x="11" y="87"/>
                  </a:lnTo>
                  <a:lnTo>
                    <a:pt x="13" y="100"/>
                  </a:lnTo>
                  <a:lnTo>
                    <a:pt x="9" y="111"/>
                  </a:lnTo>
                  <a:lnTo>
                    <a:pt x="4" y="119"/>
                  </a:lnTo>
                  <a:lnTo>
                    <a:pt x="4" y="130"/>
                  </a:lnTo>
                  <a:lnTo>
                    <a:pt x="2" y="143"/>
                  </a:lnTo>
                  <a:lnTo>
                    <a:pt x="0" y="143"/>
                  </a:lnTo>
                  <a:lnTo>
                    <a:pt x="5" y="148"/>
                  </a:lnTo>
                  <a:lnTo>
                    <a:pt x="9" y="152"/>
                  </a:lnTo>
                  <a:lnTo>
                    <a:pt x="15" y="154"/>
                  </a:lnTo>
                  <a:lnTo>
                    <a:pt x="18" y="152"/>
                  </a:lnTo>
                  <a:lnTo>
                    <a:pt x="26" y="152"/>
                  </a:lnTo>
                  <a:lnTo>
                    <a:pt x="33" y="152"/>
                  </a:lnTo>
                  <a:lnTo>
                    <a:pt x="41" y="157"/>
                  </a:lnTo>
                  <a:lnTo>
                    <a:pt x="48" y="161"/>
                  </a:lnTo>
                  <a:lnTo>
                    <a:pt x="53" y="165"/>
                  </a:lnTo>
                  <a:lnTo>
                    <a:pt x="61" y="165"/>
                  </a:lnTo>
                  <a:lnTo>
                    <a:pt x="72" y="163"/>
                  </a:lnTo>
                  <a:lnTo>
                    <a:pt x="83" y="159"/>
                  </a:lnTo>
                  <a:lnTo>
                    <a:pt x="85" y="170"/>
                  </a:lnTo>
                  <a:lnTo>
                    <a:pt x="85" y="178"/>
                  </a:lnTo>
                  <a:lnTo>
                    <a:pt x="98" y="176"/>
                  </a:lnTo>
                  <a:lnTo>
                    <a:pt x="118" y="172"/>
                  </a:lnTo>
                  <a:lnTo>
                    <a:pt x="122" y="189"/>
                  </a:lnTo>
                  <a:lnTo>
                    <a:pt x="122" y="200"/>
                  </a:lnTo>
                  <a:lnTo>
                    <a:pt x="120" y="207"/>
                  </a:lnTo>
                  <a:lnTo>
                    <a:pt x="120" y="216"/>
                  </a:lnTo>
                  <a:lnTo>
                    <a:pt x="127" y="220"/>
                  </a:lnTo>
                  <a:lnTo>
                    <a:pt x="138" y="220"/>
                  </a:lnTo>
                  <a:lnTo>
                    <a:pt x="140" y="231"/>
                  </a:lnTo>
                  <a:lnTo>
                    <a:pt x="142" y="242"/>
                  </a:lnTo>
                  <a:lnTo>
                    <a:pt x="151" y="252"/>
                  </a:lnTo>
                  <a:lnTo>
                    <a:pt x="157" y="263"/>
                  </a:lnTo>
                  <a:lnTo>
                    <a:pt x="155" y="272"/>
                  </a:lnTo>
                  <a:lnTo>
                    <a:pt x="155" y="283"/>
                  </a:lnTo>
                  <a:lnTo>
                    <a:pt x="155" y="287"/>
                  </a:lnTo>
                  <a:lnTo>
                    <a:pt x="157" y="292"/>
                  </a:lnTo>
                  <a:lnTo>
                    <a:pt x="159" y="296"/>
                  </a:lnTo>
                  <a:lnTo>
                    <a:pt x="162" y="301"/>
                  </a:lnTo>
                  <a:lnTo>
                    <a:pt x="172" y="298"/>
                  </a:lnTo>
                  <a:lnTo>
                    <a:pt x="183" y="298"/>
                  </a:lnTo>
                  <a:lnTo>
                    <a:pt x="186" y="301"/>
                  </a:lnTo>
                  <a:lnTo>
                    <a:pt x="188" y="307"/>
                  </a:lnTo>
                  <a:lnTo>
                    <a:pt x="190" y="311"/>
                  </a:lnTo>
                  <a:lnTo>
                    <a:pt x="194" y="313"/>
                  </a:lnTo>
                  <a:lnTo>
                    <a:pt x="196" y="314"/>
                  </a:lnTo>
                  <a:lnTo>
                    <a:pt x="199" y="314"/>
                  </a:lnTo>
                  <a:lnTo>
                    <a:pt x="203" y="307"/>
                  </a:lnTo>
                  <a:lnTo>
                    <a:pt x="207" y="298"/>
                  </a:lnTo>
                  <a:lnTo>
                    <a:pt x="216" y="301"/>
                  </a:lnTo>
                  <a:lnTo>
                    <a:pt x="225" y="305"/>
                  </a:lnTo>
                  <a:lnTo>
                    <a:pt x="225" y="292"/>
                  </a:lnTo>
                  <a:lnTo>
                    <a:pt x="223" y="281"/>
                  </a:lnTo>
                  <a:lnTo>
                    <a:pt x="229" y="272"/>
                  </a:lnTo>
                  <a:lnTo>
                    <a:pt x="236" y="263"/>
                  </a:lnTo>
                  <a:lnTo>
                    <a:pt x="242" y="253"/>
                  </a:lnTo>
                  <a:lnTo>
                    <a:pt x="251" y="248"/>
                  </a:lnTo>
                  <a:lnTo>
                    <a:pt x="260" y="246"/>
                  </a:lnTo>
                  <a:lnTo>
                    <a:pt x="273" y="244"/>
                  </a:lnTo>
                  <a:lnTo>
                    <a:pt x="279" y="244"/>
                  </a:lnTo>
                  <a:lnTo>
                    <a:pt x="281" y="244"/>
                  </a:lnTo>
                  <a:lnTo>
                    <a:pt x="284" y="242"/>
                  </a:lnTo>
                  <a:lnTo>
                    <a:pt x="284" y="239"/>
                  </a:lnTo>
                  <a:lnTo>
                    <a:pt x="286" y="235"/>
                  </a:lnTo>
                  <a:lnTo>
                    <a:pt x="290" y="231"/>
                  </a:lnTo>
                  <a:lnTo>
                    <a:pt x="299" y="235"/>
                  </a:lnTo>
                  <a:lnTo>
                    <a:pt x="307" y="237"/>
                  </a:lnTo>
                  <a:lnTo>
                    <a:pt x="314" y="239"/>
                  </a:lnTo>
                  <a:lnTo>
                    <a:pt x="321" y="239"/>
                  </a:lnTo>
                  <a:lnTo>
                    <a:pt x="329" y="239"/>
                  </a:lnTo>
                  <a:lnTo>
                    <a:pt x="334" y="237"/>
                  </a:lnTo>
                  <a:lnTo>
                    <a:pt x="334" y="235"/>
                  </a:lnTo>
                  <a:lnTo>
                    <a:pt x="336" y="231"/>
                  </a:lnTo>
                  <a:lnTo>
                    <a:pt x="332" y="233"/>
                  </a:lnTo>
                  <a:lnTo>
                    <a:pt x="329" y="235"/>
                  </a:lnTo>
                  <a:lnTo>
                    <a:pt x="329" y="220"/>
                  </a:lnTo>
                  <a:lnTo>
                    <a:pt x="327" y="209"/>
                  </a:lnTo>
                  <a:lnTo>
                    <a:pt x="325" y="202"/>
                  </a:lnTo>
                  <a:lnTo>
                    <a:pt x="321" y="196"/>
                  </a:lnTo>
                  <a:lnTo>
                    <a:pt x="312" y="194"/>
                  </a:lnTo>
                  <a:lnTo>
                    <a:pt x="305" y="192"/>
                  </a:lnTo>
                  <a:lnTo>
                    <a:pt x="299" y="189"/>
                  </a:lnTo>
                  <a:lnTo>
                    <a:pt x="297" y="181"/>
                  </a:lnTo>
                  <a:lnTo>
                    <a:pt x="295" y="170"/>
                  </a:lnTo>
                  <a:lnTo>
                    <a:pt x="294" y="161"/>
                  </a:lnTo>
                  <a:lnTo>
                    <a:pt x="290" y="155"/>
                  </a:lnTo>
                  <a:lnTo>
                    <a:pt x="288" y="154"/>
                  </a:lnTo>
                  <a:lnTo>
                    <a:pt x="284" y="152"/>
                  </a:lnTo>
                  <a:lnTo>
                    <a:pt x="281" y="152"/>
                  </a:lnTo>
                  <a:lnTo>
                    <a:pt x="281" y="157"/>
                  </a:lnTo>
                  <a:lnTo>
                    <a:pt x="283" y="163"/>
                  </a:lnTo>
                  <a:lnTo>
                    <a:pt x="284" y="167"/>
                  </a:lnTo>
                  <a:lnTo>
                    <a:pt x="284" y="170"/>
                  </a:lnTo>
                  <a:lnTo>
                    <a:pt x="283" y="172"/>
                  </a:lnTo>
                  <a:lnTo>
                    <a:pt x="279" y="174"/>
                  </a:lnTo>
                  <a:lnTo>
                    <a:pt x="268" y="168"/>
                  </a:lnTo>
                  <a:lnTo>
                    <a:pt x="255" y="155"/>
                  </a:lnTo>
                  <a:lnTo>
                    <a:pt x="249" y="157"/>
                  </a:lnTo>
                  <a:lnTo>
                    <a:pt x="247" y="159"/>
                  </a:lnTo>
                  <a:lnTo>
                    <a:pt x="246" y="163"/>
                  </a:lnTo>
                  <a:lnTo>
                    <a:pt x="244" y="165"/>
                  </a:lnTo>
                  <a:lnTo>
                    <a:pt x="240" y="165"/>
                  </a:lnTo>
                  <a:lnTo>
                    <a:pt x="236" y="165"/>
                  </a:lnTo>
                  <a:lnTo>
                    <a:pt x="236" y="167"/>
                  </a:lnTo>
                  <a:lnTo>
                    <a:pt x="235" y="167"/>
                  </a:lnTo>
                  <a:lnTo>
                    <a:pt x="225" y="167"/>
                  </a:lnTo>
                  <a:lnTo>
                    <a:pt x="218" y="165"/>
                  </a:lnTo>
                  <a:lnTo>
                    <a:pt x="211" y="167"/>
                  </a:lnTo>
                  <a:lnTo>
                    <a:pt x="203" y="170"/>
                  </a:lnTo>
                  <a:lnTo>
                    <a:pt x="196" y="172"/>
                  </a:lnTo>
                  <a:lnTo>
                    <a:pt x="188" y="172"/>
                  </a:lnTo>
                  <a:lnTo>
                    <a:pt x="185" y="161"/>
                  </a:lnTo>
                  <a:lnTo>
                    <a:pt x="179" y="148"/>
                  </a:lnTo>
                  <a:lnTo>
                    <a:pt x="164" y="144"/>
                  </a:lnTo>
                  <a:lnTo>
                    <a:pt x="153" y="139"/>
                  </a:lnTo>
                  <a:lnTo>
                    <a:pt x="153" y="133"/>
                  </a:lnTo>
                  <a:lnTo>
                    <a:pt x="153" y="128"/>
                  </a:lnTo>
                  <a:lnTo>
                    <a:pt x="157" y="124"/>
                  </a:lnTo>
                  <a:lnTo>
                    <a:pt x="161" y="120"/>
                  </a:lnTo>
                  <a:lnTo>
                    <a:pt x="168" y="115"/>
                  </a:lnTo>
                  <a:lnTo>
                    <a:pt x="175" y="111"/>
                  </a:lnTo>
                  <a:lnTo>
                    <a:pt x="177" y="100"/>
                  </a:lnTo>
                  <a:lnTo>
                    <a:pt x="181" y="91"/>
                  </a:lnTo>
                  <a:lnTo>
                    <a:pt x="190" y="85"/>
                  </a:lnTo>
                  <a:lnTo>
                    <a:pt x="198" y="80"/>
                  </a:lnTo>
                  <a:lnTo>
                    <a:pt x="201" y="67"/>
                  </a:lnTo>
                  <a:lnTo>
                    <a:pt x="205" y="54"/>
                  </a:lnTo>
                  <a:lnTo>
                    <a:pt x="205" y="34"/>
                  </a:lnTo>
                  <a:lnTo>
                    <a:pt x="205" y="15"/>
                  </a:lnTo>
                  <a:lnTo>
                    <a:pt x="194" y="1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6" name="Freeform 82"/>
            <p:cNvSpPr>
              <a:spLocks/>
            </p:cNvSpPr>
            <p:nvPr/>
          </p:nvSpPr>
          <p:spPr bwMode="auto">
            <a:xfrm>
              <a:off x="3982981" y="1975980"/>
              <a:ext cx="238459" cy="223917"/>
            </a:xfrm>
            <a:custGeom>
              <a:avLst/>
              <a:gdLst>
                <a:gd name="T0" fmla="*/ 0 w 457"/>
                <a:gd name="T1" fmla="*/ 89 h 440"/>
                <a:gd name="T2" fmla="*/ 8 w 457"/>
                <a:gd name="T3" fmla="*/ 104 h 440"/>
                <a:gd name="T4" fmla="*/ 17 w 457"/>
                <a:gd name="T5" fmla="*/ 152 h 440"/>
                <a:gd name="T6" fmla="*/ 43 w 457"/>
                <a:gd name="T7" fmla="*/ 157 h 440"/>
                <a:gd name="T8" fmla="*/ 50 w 457"/>
                <a:gd name="T9" fmla="*/ 194 h 440"/>
                <a:gd name="T10" fmla="*/ 87 w 457"/>
                <a:gd name="T11" fmla="*/ 213 h 440"/>
                <a:gd name="T12" fmla="*/ 122 w 457"/>
                <a:gd name="T13" fmla="*/ 220 h 440"/>
                <a:gd name="T14" fmla="*/ 128 w 457"/>
                <a:gd name="T15" fmla="*/ 248 h 440"/>
                <a:gd name="T16" fmla="*/ 128 w 457"/>
                <a:gd name="T17" fmla="*/ 281 h 440"/>
                <a:gd name="T18" fmla="*/ 137 w 457"/>
                <a:gd name="T19" fmla="*/ 296 h 440"/>
                <a:gd name="T20" fmla="*/ 170 w 457"/>
                <a:gd name="T21" fmla="*/ 281 h 440"/>
                <a:gd name="T22" fmla="*/ 187 w 457"/>
                <a:gd name="T23" fmla="*/ 289 h 440"/>
                <a:gd name="T24" fmla="*/ 204 w 457"/>
                <a:gd name="T25" fmla="*/ 298 h 440"/>
                <a:gd name="T26" fmla="*/ 220 w 457"/>
                <a:gd name="T27" fmla="*/ 296 h 440"/>
                <a:gd name="T28" fmla="*/ 226 w 457"/>
                <a:gd name="T29" fmla="*/ 301 h 440"/>
                <a:gd name="T30" fmla="*/ 244 w 457"/>
                <a:gd name="T31" fmla="*/ 324 h 440"/>
                <a:gd name="T32" fmla="*/ 270 w 457"/>
                <a:gd name="T33" fmla="*/ 377 h 440"/>
                <a:gd name="T34" fmla="*/ 290 w 457"/>
                <a:gd name="T35" fmla="*/ 396 h 440"/>
                <a:gd name="T36" fmla="*/ 314 w 457"/>
                <a:gd name="T37" fmla="*/ 420 h 440"/>
                <a:gd name="T38" fmla="*/ 331 w 457"/>
                <a:gd name="T39" fmla="*/ 429 h 440"/>
                <a:gd name="T40" fmla="*/ 353 w 457"/>
                <a:gd name="T41" fmla="*/ 422 h 440"/>
                <a:gd name="T42" fmla="*/ 364 w 457"/>
                <a:gd name="T43" fmla="*/ 410 h 440"/>
                <a:gd name="T44" fmla="*/ 374 w 457"/>
                <a:gd name="T45" fmla="*/ 429 h 440"/>
                <a:gd name="T46" fmla="*/ 385 w 457"/>
                <a:gd name="T47" fmla="*/ 438 h 440"/>
                <a:gd name="T48" fmla="*/ 390 w 457"/>
                <a:gd name="T49" fmla="*/ 425 h 440"/>
                <a:gd name="T50" fmla="*/ 390 w 457"/>
                <a:gd name="T51" fmla="*/ 414 h 440"/>
                <a:gd name="T52" fmla="*/ 386 w 457"/>
                <a:gd name="T53" fmla="*/ 399 h 440"/>
                <a:gd name="T54" fmla="*/ 381 w 457"/>
                <a:gd name="T55" fmla="*/ 388 h 440"/>
                <a:gd name="T56" fmla="*/ 388 w 457"/>
                <a:gd name="T57" fmla="*/ 379 h 440"/>
                <a:gd name="T58" fmla="*/ 405 w 457"/>
                <a:gd name="T59" fmla="*/ 383 h 440"/>
                <a:gd name="T60" fmla="*/ 440 w 457"/>
                <a:gd name="T61" fmla="*/ 374 h 440"/>
                <a:gd name="T62" fmla="*/ 455 w 457"/>
                <a:gd name="T63" fmla="*/ 362 h 440"/>
                <a:gd name="T64" fmla="*/ 433 w 457"/>
                <a:gd name="T65" fmla="*/ 338 h 440"/>
                <a:gd name="T66" fmla="*/ 425 w 457"/>
                <a:gd name="T67" fmla="*/ 325 h 440"/>
                <a:gd name="T68" fmla="*/ 436 w 457"/>
                <a:gd name="T69" fmla="*/ 313 h 440"/>
                <a:gd name="T70" fmla="*/ 416 w 457"/>
                <a:gd name="T71" fmla="*/ 301 h 440"/>
                <a:gd name="T72" fmla="*/ 381 w 457"/>
                <a:gd name="T73" fmla="*/ 290 h 440"/>
                <a:gd name="T74" fmla="*/ 362 w 457"/>
                <a:gd name="T75" fmla="*/ 261 h 440"/>
                <a:gd name="T76" fmla="*/ 331 w 457"/>
                <a:gd name="T77" fmla="*/ 233 h 440"/>
                <a:gd name="T78" fmla="*/ 313 w 457"/>
                <a:gd name="T79" fmla="*/ 215 h 440"/>
                <a:gd name="T80" fmla="*/ 279 w 457"/>
                <a:gd name="T81" fmla="*/ 198 h 440"/>
                <a:gd name="T82" fmla="*/ 259 w 457"/>
                <a:gd name="T83" fmla="*/ 172 h 440"/>
                <a:gd name="T84" fmla="*/ 244 w 457"/>
                <a:gd name="T85" fmla="*/ 148 h 440"/>
                <a:gd name="T86" fmla="*/ 224 w 457"/>
                <a:gd name="T87" fmla="*/ 126 h 440"/>
                <a:gd name="T88" fmla="*/ 220 w 457"/>
                <a:gd name="T89" fmla="*/ 104 h 440"/>
                <a:gd name="T90" fmla="*/ 233 w 457"/>
                <a:gd name="T91" fmla="*/ 80 h 440"/>
                <a:gd name="T92" fmla="*/ 242 w 457"/>
                <a:gd name="T93" fmla="*/ 50 h 440"/>
                <a:gd name="T94" fmla="*/ 242 w 457"/>
                <a:gd name="T95" fmla="*/ 45 h 440"/>
                <a:gd name="T96" fmla="*/ 235 w 457"/>
                <a:gd name="T97" fmla="*/ 26 h 440"/>
                <a:gd name="T98" fmla="*/ 220 w 457"/>
                <a:gd name="T99" fmla="*/ 13 h 440"/>
                <a:gd name="T100" fmla="*/ 200 w 457"/>
                <a:gd name="T101" fmla="*/ 24 h 440"/>
                <a:gd name="T102" fmla="*/ 176 w 457"/>
                <a:gd name="T103" fmla="*/ 24 h 440"/>
                <a:gd name="T104" fmla="*/ 167 w 457"/>
                <a:gd name="T105" fmla="*/ 8 h 440"/>
                <a:gd name="T106" fmla="*/ 135 w 457"/>
                <a:gd name="T107" fmla="*/ 4 h 440"/>
                <a:gd name="T108" fmla="*/ 130 w 457"/>
                <a:gd name="T109" fmla="*/ 13 h 440"/>
                <a:gd name="T110" fmla="*/ 109 w 457"/>
                <a:gd name="T111" fmla="*/ 15 h 440"/>
                <a:gd name="T112" fmla="*/ 85 w 457"/>
                <a:gd name="T113" fmla="*/ 32 h 440"/>
                <a:gd name="T114" fmla="*/ 74 w 457"/>
                <a:gd name="T115" fmla="*/ 61 h 440"/>
                <a:gd name="T116" fmla="*/ 56 w 457"/>
                <a:gd name="T117" fmla="*/ 67 h 440"/>
                <a:gd name="T118" fmla="*/ 45 w 457"/>
                <a:gd name="T119" fmla="*/ 83 h 440"/>
                <a:gd name="T120" fmla="*/ 37 w 457"/>
                <a:gd name="T121" fmla="*/ 76 h 440"/>
                <a:gd name="T122" fmla="*/ 21 w 457"/>
                <a:gd name="T123" fmla="*/ 67 h 440"/>
                <a:gd name="T124" fmla="*/ 10 w 457"/>
                <a:gd name="T125" fmla="*/ 69 h 4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7"/>
                <a:gd name="T190" fmla="*/ 0 h 440"/>
                <a:gd name="T191" fmla="*/ 457 w 457"/>
                <a:gd name="T192" fmla="*/ 440 h 4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7" h="440">
                  <a:moveTo>
                    <a:pt x="10" y="69"/>
                  </a:moveTo>
                  <a:lnTo>
                    <a:pt x="4" y="80"/>
                  </a:lnTo>
                  <a:lnTo>
                    <a:pt x="0" y="89"/>
                  </a:lnTo>
                  <a:lnTo>
                    <a:pt x="2" y="94"/>
                  </a:lnTo>
                  <a:lnTo>
                    <a:pt x="4" y="100"/>
                  </a:lnTo>
                  <a:lnTo>
                    <a:pt x="8" y="104"/>
                  </a:lnTo>
                  <a:lnTo>
                    <a:pt x="15" y="111"/>
                  </a:lnTo>
                  <a:lnTo>
                    <a:pt x="17" y="130"/>
                  </a:lnTo>
                  <a:lnTo>
                    <a:pt x="17" y="152"/>
                  </a:lnTo>
                  <a:lnTo>
                    <a:pt x="28" y="152"/>
                  </a:lnTo>
                  <a:lnTo>
                    <a:pt x="37" y="154"/>
                  </a:lnTo>
                  <a:lnTo>
                    <a:pt x="43" y="157"/>
                  </a:lnTo>
                  <a:lnTo>
                    <a:pt x="48" y="165"/>
                  </a:lnTo>
                  <a:lnTo>
                    <a:pt x="50" y="179"/>
                  </a:lnTo>
                  <a:lnTo>
                    <a:pt x="50" y="194"/>
                  </a:lnTo>
                  <a:lnTo>
                    <a:pt x="65" y="198"/>
                  </a:lnTo>
                  <a:lnTo>
                    <a:pt x="78" y="200"/>
                  </a:lnTo>
                  <a:lnTo>
                    <a:pt x="87" y="213"/>
                  </a:lnTo>
                  <a:lnTo>
                    <a:pt x="100" y="224"/>
                  </a:lnTo>
                  <a:lnTo>
                    <a:pt x="113" y="222"/>
                  </a:lnTo>
                  <a:lnTo>
                    <a:pt x="122" y="220"/>
                  </a:lnTo>
                  <a:lnTo>
                    <a:pt x="128" y="228"/>
                  </a:lnTo>
                  <a:lnTo>
                    <a:pt x="128" y="237"/>
                  </a:lnTo>
                  <a:lnTo>
                    <a:pt x="128" y="248"/>
                  </a:lnTo>
                  <a:lnTo>
                    <a:pt x="126" y="259"/>
                  </a:lnTo>
                  <a:lnTo>
                    <a:pt x="126" y="270"/>
                  </a:lnTo>
                  <a:lnTo>
                    <a:pt x="128" y="281"/>
                  </a:lnTo>
                  <a:lnTo>
                    <a:pt x="130" y="287"/>
                  </a:lnTo>
                  <a:lnTo>
                    <a:pt x="133" y="292"/>
                  </a:lnTo>
                  <a:lnTo>
                    <a:pt x="137" y="296"/>
                  </a:lnTo>
                  <a:lnTo>
                    <a:pt x="143" y="301"/>
                  </a:lnTo>
                  <a:lnTo>
                    <a:pt x="156" y="292"/>
                  </a:lnTo>
                  <a:lnTo>
                    <a:pt x="170" y="281"/>
                  </a:lnTo>
                  <a:lnTo>
                    <a:pt x="176" y="283"/>
                  </a:lnTo>
                  <a:lnTo>
                    <a:pt x="181" y="285"/>
                  </a:lnTo>
                  <a:lnTo>
                    <a:pt x="187" y="289"/>
                  </a:lnTo>
                  <a:lnTo>
                    <a:pt x="193" y="292"/>
                  </a:lnTo>
                  <a:lnTo>
                    <a:pt x="198" y="296"/>
                  </a:lnTo>
                  <a:lnTo>
                    <a:pt x="204" y="298"/>
                  </a:lnTo>
                  <a:lnTo>
                    <a:pt x="209" y="298"/>
                  </a:lnTo>
                  <a:lnTo>
                    <a:pt x="218" y="296"/>
                  </a:lnTo>
                  <a:lnTo>
                    <a:pt x="220" y="296"/>
                  </a:lnTo>
                  <a:lnTo>
                    <a:pt x="222" y="296"/>
                  </a:lnTo>
                  <a:lnTo>
                    <a:pt x="224" y="298"/>
                  </a:lnTo>
                  <a:lnTo>
                    <a:pt x="226" y="301"/>
                  </a:lnTo>
                  <a:lnTo>
                    <a:pt x="229" y="309"/>
                  </a:lnTo>
                  <a:lnTo>
                    <a:pt x="235" y="314"/>
                  </a:lnTo>
                  <a:lnTo>
                    <a:pt x="244" y="324"/>
                  </a:lnTo>
                  <a:lnTo>
                    <a:pt x="253" y="335"/>
                  </a:lnTo>
                  <a:lnTo>
                    <a:pt x="261" y="351"/>
                  </a:lnTo>
                  <a:lnTo>
                    <a:pt x="270" y="377"/>
                  </a:lnTo>
                  <a:lnTo>
                    <a:pt x="274" y="383"/>
                  </a:lnTo>
                  <a:lnTo>
                    <a:pt x="281" y="390"/>
                  </a:lnTo>
                  <a:lnTo>
                    <a:pt x="290" y="396"/>
                  </a:lnTo>
                  <a:lnTo>
                    <a:pt x="300" y="401"/>
                  </a:lnTo>
                  <a:lnTo>
                    <a:pt x="307" y="410"/>
                  </a:lnTo>
                  <a:lnTo>
                    <a:pt x="314" y="420"/>
                  </a:lnTo>
                  <a:lnTo>
                    <a:pt x="320" y="423"/>
                  </a:lnTo>
                  <a:lnTo>
                    <a:pt x="326" y="427"/>
                  </a:lnTo>
                  <a:lnTo>
                    <a:pt x="331" y="429"/>
                  </a:lnTo>
                  <a:lnTo>
                    <a:pt x="340" y="429"/>
                  </a:lnTo>
                  <a:lnTo>
                    <a:pt x="348" y="427"/>
                  </a:lnTo>
                  <a:lnTo>
                    <a:pt x="353" y="422"/>
                  </a:lnTo>
                  <a:lnTo>
                    <a:pt x="357" y="416"/>
                  </a:lnTo>
                  <a:lnTo>
                    <a:pt x="361" y="409"/>
                  </a:lnTo>
                  <a:lnTo>
                    <a:pt x="364" y="410"/>
                  </a:lnTo>
                  <a:lnTo>
                    <a:pt x="368" y="414"/>
                  </a:lnTo>
                  <a:lnTo>
                    <a:pt x="372" y="422"/>
                  </a:lnTo>
                  <a:lnTo>
                    <a:pt x="374" y="429"/>
                  </a:lnTo>
                  <a:lnTo>
                    <a:pt x="377" y="434"/>
                  </a:lnTo>
                  <a:lnTo>
                    <a:pt x="383" y="440"/>
                  </a:lnTo>
                  <a:lnTo>
                    <a:pt x="385" y="438"/>
                  </a:lnTo>
                  <a:lnTo>
                    <a:pt x="388" y="436"/>
                  </a:lnTo>
                  <a:lnTo>
                    <a:pt x="390" y="431"/>
                  </a:lnTo>
                  <a:lnTo>
                    <a:pt x="390" y="425"/>
                  </a:lnTo>
                  <a:lnTo>
                    <a:pt x="388" y="422"/>
                  </a:lnTo>
                  <a:lnTo>
                    <a:pt x="386" y="418"/>
                  </a:lnTo>
                  <a:lnTo>
                    <a:pt x="390" y="414"/>
                  </a:lnTo>
                  <a:lnTo>
                    <a:pt x="394" y="410"/>
                  </a:lnTo>
                  <a:lnTo>
                    <a:pt x="390" y="405"/>
                  </a:lnTo>
                  <a:lnTo>
                    <a:pt x="386" y="399"/>
                  </a:lnTo>
                  <a:lnTo>
                    <a:pt x="385" y="398"/>
                  </a:lnTo>
                  <a:lnTo>
                    <a:pt x="383" y="394"/>
                  </a:lnTo>
                  <a:lnTo>
                    <a:pt x="381" y="388"/>
                  </a:lnTo>
                  <a:lnTo>
                    <a:pt x="383" y="383"/>
                  </a:lnTo>
                  <a:lnTo>
                    <a:pt x="386" y="379"/>
                  </a:lnTo>
                  <a:lnTo>
                    <a:pt x="388" y="379"/>
                  </a:lnTo>
                  <a:lnTo>
                    <a:pt x="394" y="381"/>
                  </a:lnTo>
                  <a:lnTo>
                    <a:pt x="399" y="381"/>
                  </a:lnTo>
                  <a:lnTo>
                    <a:pt x="405" y="383"/>
                  </a:lnTo>
                  <a:lnTo>
                    <a:pt x="414" y="381"/>
                  </a:lnTo>
                  <a:lnTo>
                    <a:pt x="425" y="379"/>
                  </a:lnTo>
                  <a:lnTo>
                    <a:pt x="440" y="374"/>
                  </a:lnTo>
                  <a:lnTo>
                    <a:pt x="446" y="370"/>
                  </a:lnTo>
                  <a:lnTo>
                    <a:pt x="451" y="366"/>
                  </a:lnTo>
                  <a:lnTo>
                    <a:pt x="455" y="362"/>
                  </a:lnTo>
                  <a:lnTo>
                    <a:pt x="457" y="357"/>
                  </a:lnTo>
                  <a:lnTo>
                    <a:pt x="444" y="348"/>
                  </a:lnTo>
                  <a:lnTo>
                    <a:pt x="433" y="338"/>
                  </a:lnTo>
                  <a:lnTo>
                    <a:pt x="427" y="333"/>
                  </a:lnTo>
                  <a:lnTo>
                    <a:pt x="425" y="329"/>
                  </a:lnTo>
                  <a:lnTo>
                    <a:pt x="425" y="325"/>
                  </a:lnTo>
                  <a:lnTo>
                    <a:pt x="427" y="322"/>
                  </a:lnTo>
                  <a:lnTo>
                    <a:pt x="433" y="318"/>
                  </a:lnTo>
                  <a:lnTo>
                    <a:pt x="436" y="313"/>
                  </a:lnTo>
                  <a:lnTo>
                    <a:pt x="433" y="305"/>
                  </a:lnTo>
                  <a:lnTo>
                    <a:pt x="427" y="301"/>
                  </a:lnTo>
                  <a:lnTo>
                    <a:pt x="416" y="301"/>
                  </a:lnTo>
                  <a:lnTo>
                    <a:pt x="405" y="305"/>
                  </a:lnTo>
                  <a:lnTo>
                    <a:pt x="392" y="298"/>
                  </a:lnTo>
                  <a:lnTo>
                    <a:pt x="381" y="290"/>
                  </a:lnTo>
                  <a:lnTo>
                    <a:pt x="377" y="276"/>
                  </a:lnTo>
                  <a:lnTo>
                    <a:pt x="375" y="264"/>
                  </a:lnTo>
                  <a:lnTo>
                    <a:pt x="362" y="261"/>
                  </a:lnTo>
                  <a:lnTo>
                    <a:pt x="344" y="255"/>
                  </a:lnTo>
                  <a:lnTo>
                    <a:pt x="335" y="242"/>
                  </a:lnTo>
                  <a:lnTo>
                    <a:pt x="331" y="233"/>
                  </a:lnTo>
                  <a:lnTo>
                    <a:pt x="324" y="229"/>
                  </a:lnTo>
                  <a:lnTo>
                    <a:pt x="316" y="228"/>
                  </a:lnTo>
                  <a:lnTo>
                    <a:pt x="313" y="215"/>
                  </a:lnTo>
                  <a:lnTo>
                    <a:pt x="309" y="202"/>
                  </a:lnTo>
                  <a:lnTo>
                    <a:pt x="294" y="198"/>
                  </a:lnTo>
                  <a:lnTo>
                    <a:pt x="279" y="198"/>
                  </a:lnTo>
                  <a:lnTo>
                    <a:pt x="274" y="189"/>
                  </a:lnTo>
                  <a:lnTo>
                    <a:pt x="268" y="179"/>
                  </a:lnTo>
                  <a:lnTo>
                    <a:pt x="259" y="172"/>
                  </a:lnTo>
                  <a:lnTo>
                    <a:pt x="252" y="167"/>
                  </a:lnTo>
                  <a:lnTo>
                    <a:pt x="248" y="155"/>
                  </a:lnTo>
                  <a:lnTo>
                    <a:pt x="244" y="148"/>
                  </a:lnTo>
                  <a:lnTo>
                    <a:pt x="237" y="135"/>
                  </a:lnTo>
                  <a:lnTo>
                    <a:pt x="228" y="130"/>
                  </a:lnTo>
                  <a:lnTo>
                    <a:pt x="224" y="126"/>
                  </a:lnTo>
                  <a:lnTo>
                    <a:pt x="222" y="120"/>
                  </a:lnTo>
                  <a:lnTo>
                    <a:pt x="220" y="113"/>
                  </a:lnTo>
                  <a:lnTo>
                    <a:pt x="220" y="104"/>
                  </a:lnTo>
                  <a:lnTo>
                    <a:pt x="224" y="94"/>
                  </a:lnTo>
                  <a:lnTo>
                    <a:pt x="229" y="85"/>
                  </a:lnTo>
                  <a:lnTo>
                    <a:pt x="233" y="80"/>
                  </a:lnTo>
                  <a:lnTo>
                    <a:pt x="237" y="72"/>
                  </a:lnTo>
                  <a:lnTo>
                    <a:pt x="241" y="61"/>
                  </a:lnTo>
                  <a:lnTo>
                    <a:pt x="242" y="50"/>
                  </a:lnTo>
                  <a:lnTo>
                    <a:pt x="242" y="45"/>
                  </a:lnTo>
                  <a:lnTo>
                    <a:pt x="241" y="39"/>
                  </a:lnTo>
                  <a:lnTo>
                    <a:pt x="239" y="34"/>
                  </a:lnTo>
                  <a:lnTo>
                    <a:pt x="235" y="26"/>
                  </a:lnTo>
                  <a:lnTo>
                    <a:pt x="231" y="21"/>
                  </a:lnTo>
                  <a:lnTo>
                    <a:pt x="226" y="17"/>
                  </a:lnTo>
                  <a:lnTo>
                    <a:pt x="220" y="13"/>
                  </a:lnTo>
                  <a:lnTo>
                    <a:pt x="217" y="13"/>
                  </a:lnTo>
                  <a:lnTo>
                    <a:pt x="207" y="21"/>
                  </a:lnTo>
                  <a:lnTo>
                    <a:pt x="200" y="24"/>
                  </a:lnTo>
                  <a:lnTo>
                    <a:pt x="191" y="26"/>
                  </a:lnTo>
                  <a:lnTo>
                    <a:pt x="183" y="26"/>
                  </a:lnTo>
                  <a:lnTo>
                    <a:pt x="176" y="24"/>
                  </a:lnTo>
                  <a:lnTo>
                    <a:pt x="170" y="21"/>
                  </a:lnTo>
                  <a:lnTo>
                    <a:pt x="167" y="15"/>
                  </a:lnTo>
                  <a:lnTo>
                    <a:pt x="167" y="8"/>
                  </a:lnTo>
                  <a:lnTo>
                    <a:pt x="154" y="6"/>
                  </a:lnTo>
                  <a:lnTo>
                    <a:pt x="139" y="0"/>
                  </a:lnTo>
                  <a:lnTo>
                    <a:pt x="135" y="4"/>
                  </a:lnTo>
                  <a:lnTo>
                    <a:pt x="133" y="8"/>
                  </a:lnTo>
                  <a:lnTo>
                    <a:pt x="133" y="11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22" y="13"/>
                  </a:lnTo>
                  <a:lnTo>
                    <a:pt x="109" y="15"/>
                  </a:lnTo>
                  <a:lnTo>
                    <a:pt x="100" y="17"/>
                  </a:lnTo>
                  <a:lnTo>
                    <a:pt x="91" y="22"/>
                  </a:lnTo>
                  <a:lnTo>
                    <a:pt x="85" y="32"/>
                  </a:lnTo>
                  <a:lnTo>
                    <a:pt x="78" y="41"/>
                  </a:lnTo>
                  <a:lnTo>
                    <a:pt x="72" y="50"/>
                  </a:lnTo>
                  <a:lnTo>
                    <a:pt x="74" y="61"/>
                  </a:lnTo>
                  <a:lnTo>
                    <a:pt x="74" y="74"/>
                  </a:lnTo>
                  <a:lnTo>
                    <a:pt x="65" y="70"/>
                  </a:lnTo>
                  <a:lnTo>
                    <a:pt x="56" y="67"/>
                  </a:lnTo>
                  <a:lnTo>
                    <a:pt x="52" y="76"/>
                  </a:lnTo>
                  <a:lnTo>
                    <a:pt x="48" y="83"/>
                  </a:lnTo>
                  <a:lnTo>
                    <a:pt x="45" y="83"/>
                  </a:lnTo>
                  <a:lnTo>
                    <a:pt x="43" y="82"/>
                  </a:lnTo>
                  <a:lnTo>
                    <a:pt x="39" y="80"/>
                  </a:lnTo>
                  <a:lnTo>
                    <a:pt x="37" y="76"/>
                  </a:lnTo>
                  <a:lnTo>
                    <a:pt x="35" y="70"/>
                  </a:lnTo>
                  <a:lnTo>
                    <a:pt x="32" y="67"/>
                  </a:lnTo>
                  <a:lnTo>
                    <a:pt x="21" y="67"/>
                  </a:lnTo>
                  <a:lnTo>
                    <a:pt x="11" y="70"/>
                  </a:lnTo>
                  <a:lnTo>
                    <a:pt x="10" y="6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7" name="Freeform 83"/>
            <p:cNvSpPr>
              <a:spLocks/>
            </p:cNvSpPr>
            <p:nvPr/>
          </p:nvSpPr>
          <p:spPr bwMode="auto">
            <a:xfrm>
              <a:off x="3854098" y="1930178"/>
              <a:ext cx="137753" cy="124172"/>
            </a:xfrm>
            <a:custGeom>
              <a:avLst/>
              <a:gdLst>
                <a:gd name="T0" fmla="*/ 5 w 264"/>
                <a:gd name="T1" fmla="*/ 124 h 244"/>
                <a:gd name="T2" fmla="*/ 18 w 264"/>
                <a:gd name="T3" fmla="*/ 131 h 244"/>
                <a:gd name="T4" fmla="*/ 37 w 264"/>
                <a:gd name="T5" fmla="*/ 144 h 244"/>
                <a:gd name="T6" fmla="*/ 63 w 264"/>
                <a:gd name="T7" fmla="*/ 153 h 244"/>
                <a:gd name="T8" fmla="*/ 90 w 264"/>
                <a:gd name="T9" fmla="*/ 159 h 244"/>
                <a:gd name="T10" fmla="*/ 114 w 264"/>
                <a:gd name="T11" fmla="*/ 168 h 244"/>
                <a:gd name="T12" fmla="*/ 133 w 264"/>
                <a:gd name="T13" fmla="*/ 175 h 244"/>
                <a:gd name="T14" fmla="*/ 146 w 264"/>
                <a:gd name="T15" fmla="*/ 172 h 244"/>
                <a:gd name="T16" fmla="*/ 153 w 264"/>
                <a:gd name="T17" fmla="*/ 166 h 244"/>
                <a:gd name="T18" fmla="*/ 155 w 264"/>
                <a:gd name="T19" fmla="*/ 160 h 244"/>
                <a:gd name="T20" fmla="*/ 153 w 264"/>
                <a:gd name="T21" fmla="*/ 151 h 244"/>
                <a:gd name="T22" fmla="*/ 166 w 264"/>
                <a:gd name="T23" fmla="*/ 155 h 244"/>
                <a:gd name="T24" fmla="*/ 185 w 264"/>
                <a:gd name="T25" fmla="*/ 168 h 244"/>
                <a:gd name="T26" fmla="*/ 190 w 264"/>
                <a:gd name="T27" fmla="*/ 177 h 244"/>
                <a:gd name="T28" fmla="*/ 188 w 264"/>
                <a:gd name="T29" fmla="*/ 194 h 244"/>
                <a:gd name="T30" fmla="*/ 196 w 264"/>
                <a:gd name="T31" fmla="*/ 203 h 244"/>
                <a:gd name="T32" fmla="*/ 207 w 264"/>
                <a:gd name="T33" fmla="*/ 207 h 244"/>
                <a:gd name="T34" fmla="*/ 223 w 264"/>
                <a:gd name="T35" fmla="*/ 210 h 244"/>
                <a:gd name="T36" fmla="*/ 246 w 264"/>
                <a:gd name="T37" fmla="*/ 227 h 244"/>
                <a:gd name="T38" fmla="*/ 258 w 264"/>
                <a:gd name="T39" fmla="*/ 244 h 244"/>
                <a:gd name="T40" fmla="*/ 264 w 264"/>
                <a:gd name="T41" fmla="*/ 220 h 244"/>
                <a:gd name="T42" fmla="*/ 255 w 264"/>
                <a:gd name="T43" fmla="*/ 194 h 244"/>
                <a:gd name="T44" fmla="*/ 249 w 264"/>
                <a:gd name="T45" fmla="*/ 184 h 244"/>
                <a:gd name="T46" fmla="*/ 251 w 264"/>
                <a:gd name="T47" fmla="*/ 170 h 244"/>
                <a:gd name="T48" fmla="*/ 251 w 264"/>
                <a:gd name="T49" fmla="*/ 149 h 244"/>
                <a:gd name="T50" fmla="*/ 251 w 264"/>
                <a:gd name="T51" fmla="*/ 131 h 244"/>
                <a:gd name="T52" fmla="*/ 247 w 264"/>
                <a:gd name="T53" fmla="*/ 111 h 244"/>
                <a:gd name="T54" fmla="*/ 236 w 264"/>
                <a:gd name="T55" fmla="*/ 90 h 244"/>
                <a:gd name="T56" fmla="*/ 223 w 264"/>
                <a:gd name="T57" fmla="*/ 79 h 244"/>
                <a:gd name="T58" fmla="*/ 216 w 264"/>
                <a:gd name="T59" fmla="*/ 66 h 244"/>
                <a:gd name="T60" fmla="*/ 218 w 264"/>
                <a:gd name="T61" fmla="*/ 48 h 244"/>
                <a:gd name="T62" fmla="*/ 194 w 264"/>
                <a:gd name="T63" fmla="*/ 35 h 244"/>
                <a:gd name="T64" fmla="*/ 181 w 264"/>
                <a:gd name="T65" fmla="*/ 29 h 244"/>
                <a:gd name="T66" fmla="*/ 168 w 264"/>
                <a:gd name="T67" fmla="*/ 22 h 244"/>
                <a:gd name="T68" fmla="*/ 149 w 264"/>
                <a:gd name="T69" fmla="*/ 24 h 244"/>
                <a:gd name="T70" fmla="*/ 137 w 264"/>
                <a:gd name="T71" fmla="*/ 16 h 244"/>
                <a:gd name="T72" fmla="*/ 122 w 264"/>
                <a:gd name="T73" fmla="*/ 11 h 244"/>
                <a:gd name="T74" fmla="*/ 111 w 264"/>
                <a:gd name="T75" fmla="*/ 13 h 244"/>
                <a:gd name="T76" fmla="*/ 101 w 264"/>
                <a:gd name="T77" fmla="*/ 7 h 244"/>
                <a:gd name="T78" fmla="*/ 89 w 264"/>
                <a:gd name="T79" fmla="*/ 2 h 244"/>
                <a:gd name="T80" fmla="*/ 77 w 264"/>
                <a:gd name="T81" fmla="*/ 0 h 244"/>
                <a:gd name="T82" fmla="*/ 70 w 264"/>
                <a:gd name="T83" fmla="*/ 2 h 244"/>
                <a:gd name="T84" fmla="*/ 65 w 264"/>
                <a:gd name="T85" fmla="*/ 27 h 244"/>
                <a:gd name="T86" fmla="*/ 50 w 264"/>
                <a:gd name="T87" fmla="*/ 70 h 244"/>
                <a:gd name="T88" fmla="*/ 35 w 264"/>
                <a:gd name="T89" fmla="*/ 79 h 244"/>
                <a:gd name="T90" fmla="*/ 24 w 264"/>
                <a:gd name="T91" fmla="*/ 85 h 244"/>
                <a:gd name="T92" fmla="*/ 22 w 264"/>
                <a:gd name="T93" fmla="*/ 96 h 244"/>
                <a:gd name="T94" fmla="*/ 13 w 264"/>
                <a:gd name="T95" fmla="*/ 105 h 244"/>
                <a:gd name="T96" fmla="*/ 7 w 264"/>
                <a:gd name="T97" fmla="*/ 114 h 244"/>
                <a:gd name="T98" fmla="*/ 4 w 264"/>
                <a:gd name="T99" fmla="*/ 122 h 2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64"/>
                <a:gd name="T151" fmla="*/ 0 h 244"/>
                <a:gd name="T152" fmla="*/ 264 w 264"/>
                <a:gd name="T153" fmla="*/ 244 h 24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64" h="244">
                  <a:moveTo>
                    <a:pt x="0" y="124"/>
                  </a:moveTo>
                  <a:lnTo>
                    <a:pt x="5" y="124"/>
                  </a:lnTo>
                  <a:lnTo>
                    <a:pt x="11" y="125"/>
                  </a:lnTo>
                  <a:lnTo>
                    <a:pt x="18" y="131"/>
                  </a:lnTo>
                  <a:lnTo>
                    <a:pt x="26" y="138"/>
                  </a:lnTo>
                  <a:lnTo>
                    <a:pt x="37" y="144"/>
                  </a:lnTo>
                  <a:lnTo>
                    <a:pt x="50" y="144"/>
                  </a:lnTo>
                  <a:lnTo>
                    <a:pt x="63" y="153"/>
                  </a:lnTo>
                  <a:lnTo>
                    <a:pt x="76" y="160"/>
                  </a:lnTo>
                  <a:lnTo>
                    <a:pt x="90" y="159"/>
                  </a:lnTo>
                  <a:lnTo>
                    <a:pt x="103" y="159"/>
                  </a:lnTo>
                  <a:lnTo>
                    <a:pt x="114" y="168"/>
                  </a:lnTo>
                  <a:lnTo>
                    <a:pt x="125" y="175"/>
                  </a:lnTo>
                  <a:lnTo>
                    <a:pt x="133" y="175"/>
                  </a:lnTo>
                  <a:lnTo>
                    <a:pt x="140" y="173"/>
                  </a:lnTo>
                  <a:lnTo>
                    <a:pt x="146" y="172"/>
                  </a:lnTo>
                  <a:lnTo>
                    <a:pt x="149" y="168"/>
                  </a:lnTo>
                  <a:lnTo>
                    <a:pt x="153" y="166"/>
                  </a:lnTo>
                  <a:lnTo>
                    <a:pt x="155" y="162"/>
                  </a:lnTo>
                  <a:lnTo>
                    <a:pt x="155" y="160"/>
                  </a:lnTo>
                  <a:lnTo>
                    <a:pt x="155" y="157"/>
                  </a:lnTo>
                  <a:lnTo>
                    <a:pt x="153" y="151"/>
                  </a:lnTo>
                  <a:lnTo>
                    <a:pt x="155" y="148"/>
                  </a:lnTo>
                  <a:lnTo>
                    <a:pt x="166" y="155"/>
                  </a:lnTo>
                  <a:lnTo>
                    <a:pt x="179" y="168"/>
                  </a:lnTo>
                  <a:lnTo>
                    <a:pt x="185" y="168"/>
                  </a:lnTo>
                  <a:lnTo>
                    <a:pt x="192" y="170"/>
                  </a:lnTo>
                  <a:lnTo>
                    <a:pt x="190" y="177"/>
                  </a:lnTo>
                  <a:lnTo>
                    <a:pt x="188" y="186"/>
                  </a:lnTo>
                  <a:lnTo>
                    <a:pt x="188" y="194"/>
                  </a:lnTo>
                  <a:lnTo>
                    <a:pt x="190" y="203"/>
                  </a:lnTo>
                  <a:lnTo>
                    <a:pt x="196" y="203"/>
                  </a:lnTo>
                  <a:lnTo>
                    <a:pt x="203" y="203"/>
                  </a:lnTo>
                  <a:lnTo>
                    <a:pt x="207" y="207"/>
                  </a:lnTo>
                  <a:lnTo>
                    <a:pt x="216" y="212"/>
                  </a:lnTo>
                  <a:lnTo>
                    <a:pt x="223" y="210"/>
                  </a:lnTo>
                  <a:lnTo>
                    <a:pt x="236" y="214"/>
                  </a:lnTo>
                  <a:lnTo>
                    <a:pt x="246" y="227"/>
                  </a:lnTo>
                  <a:lnTo>
                    <a:pt x="253" y="242"/>
                  </a:lnTo>
                  <a:lnTo>
                    <a:pt x="258" y="244"/>
                  </a:lnTo>
                  <a:lnTo>
                    <a:pt x="264" y="242"/>
                  </a:lnTo>
                  <a:lnTo>
                    <a:pt x="264" y="220"/>
                  </a:lnTo>
                  <a:lnTo>
                    <a:pt x="262" y="201"/>
                  </a:lnTo>
                  <a:lnTo>
                    <a:pt x="255" y="194"/>
                  </a:lnTo>
                  <a:lnTo>
                    <a:pt x="251" y="190"/>
                  </a:lnTo>
                  <a:lnTo>
                    <a:pt x="249" y="184"/>
                  </a:lnTo>
                  <a:lnTo>
                    <a:pt x="247" y="179"/>
                  </a:lnTo>
                  <a:lnTo>
                    <a:pt x="251" y="170"/>
                  </a:lnTo>
                  <a:lnTo>
                    <a:pt x="257" y="159"/>
                  </a:lnTo>
                  <a:lnTo>
                    <a:pt x="251" y="149"/>
                  </a:lnTo>
                  <a:lnTo>
                    <a:pt x="251" y="140"/>
                  </a:lnTo>
                  <a:lnTo>
                    <a:pt x="251" y="131"/>
                  </a:lnTo>
                  <a:lnTo>
                    <a:pt x="253" y="122"/>
                  </a:lnTo>
                  <a:lnTo>
                    <a:pt x="247" y="111"/>
                  </a:lnTo>
                  <a:lnTo>
                    <a:pt x="238" y="101"/>
                  </a:lnTo>
                  <a:lnTo>
                    <a:pt x="236" y="90"/>
                  </a:lnTo>
                  <a:lnTo>
                    <a:pt x="234" y="79"/>
                  </a:lnTo>
                  <a:lnTo>
                    <a:pt x="223" y="79"/>
                  </a:lnTo>
                  <a:lnTo>
                    <a:pt x="216" y="75"/>
                  </a:lnTo>
                  <a:lnTo>
                    <a:pt x="216" y="66"/>
                  </a:lnTo>
                  <a:lnTo>
                    <a:pt x="218" y="59"/>
                  </a:lnTo>
                  <a:lnTo>
                    <a:pt x="218" y="48"/>
                  </a:lnTo>
                  <a:lnTo>
                    <a:pt x="214" y="31"/>
                  </a:lnTo>
                  <a:lnTo>
                    <a:pt x="194" y="35"/>
                  </a:lnTo>
                  <a:lnTo>
                    <a:pt x="181" y="37"/>
                  </a:lnTo>
                  <a:lnTo>
                    <a:pt x="181" y="29"/>
                  </a:lnTo>
                  <a:lnTo>
                    <a:pt x="179" y="18"/>
                  </a:lnTo>
                  <a:lnTo>
                    <a:pt x="168" y="22"/>
                  </a:lnTo>
                  <a:lnTo>
                    <a:pt x="157" y="24"/>
                  </a:lnTo>
                  <a:lnTo>
                    <a:pt x="149" y="24"/>
                  </a:lnTo>
                  <a:lnTo>
                    <a:pt x="144" y="20"/>
                  </a:lnTo>
                  <a:lnTo>
                    <a:pt x="137" y="16"/>
                  </a:lnTo>
                  <a:lnTo>
                    <a:pt x="129" y="11"/>
                  </a:lnTo>
                  <a:lnTo>
                    <a:pt x="122" y="11"/>
                  </a:lnTo>
                  <a:lnTo>
                    <a:pt x="114" y="11"/>
                  </a:lnTo>
                  <a:lnTo>
                    <a:pt x="111" y="13"/>
                  </a:lnTo>
                  <a:lnTo>
                    <a:pt x="105" y="11"/>
                  </a:lnTo>
                  <a:lnTo>
                    <a:pt x="101" y="7"/>
                  </a:lnTo>
                  <a:lnTo>
                    <a:pt x="96" y="2"/>
                  </a:lnTo>
                  <a:lnTo>
                    <a:pt x="89" y="2"/>
                  </a:lnTo>
                  <a:lnTo>
                    <a:pt x="81" y="0"/>
                  </a:lnTo>
                  <a:lnTo>
                    <a:pt x="77" y="0"/>
                  </a:lnTo>
                  <a:lnTo>
                    <a:pt x="74" y="0"/>
                  </a:lnTo>
                  <a:lnTo>
                    <a:pt x="70" y="2"/>
                  </a:lnTo>
                  <a:lnTo>
                    <a:pt x="68" y="3"/>
                  </a:lnTo>
                  <a:lnTo>
                    <a:pt x="65" y="27"/>
                  </a:lnTo>
                  <a:lnTo>
                    <a:pt x="63" y="57"/>
                  </a:lnTo>
                  <a:lnTo>
                    <a:pt x="50" y="70"/>
                  </a:lnTo>
                  <a:lnTo>
                    <a:pt x="42" y="79"/>
                  </a:lnTo>
                  <a:lnTo>
                    <a:pt x="35" y="79"/>
                  </a:lnTo>
                  <a:lnTo>
                    <a:pt x="26" y="81"/>
                  </a:lnTo>
                  <a:lnTo>
                    <a:pt x="24" y="85"/>
                  </a:lnTo>
                  <a:lnTo>
                    <a:pt x="24" y="90"/>
                  </a:lnTo>
                  <a:lnTo>
                    <a:pt x="22" y="96"/>
                  </a:lnTo>
                  <a:lnTo>
                    <a:pt x="18" y="99"/>
                  </a:lnTo>
                  <a:lnTo>
                    <a:pt x="13" y="105"/>
                  </a:lnTo>
                  <a:lnTo>
                    <a:pt x="9" y="109"/>
                  </a:lnTo>
                  <a:lnTo>
                    <a:pt x="7" y="114"/>
                  </a:lnTo>
                  <a:lnTo>
                    <a:pt x="5" y="120"/>
                  </a:lnTo>
                  <a:lnTo>
                    <a:pt x="4" y="122"/>
                  </a:lnTo>
                  <a:lnTo>
                    <a:pt x="0" y="12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8" name="Freeform 84"/>
            <p:cNvSpPr>
              <a:spLocks/>
            </p:cNvSpPr>
            <p:nvPr/>
          </p:nvSpPr>
          <p:spPr bwMode="auto">
            <a:xfrm>
              <a:off x="3828009" y="2247734"/>
              <a:ext cx="85574" cy="102798"/>
            </a:xfrm>
            <a:custGeom>
              <a:avLst/>
              <a:gdLst>
                <a:gd name="T0" fmla="*/ 113 w 164"/>
                <a:gd name="T1" fmla="*/ 174 h 202"/>
                <a:gd name="T2" fmla="*/ 137 w 164"/>
                <a:gd name="T3" fmla="*/ 167 h 202"/>
                <a:gd name="T4" fmla="*/ 137 w 164"/>
                <a:gd name="T5" fmla="*/ 148 h 202"/>
                <a:gd name="T6" fmla="*/ 139 w 164"/>
                <a:gd name="T7" fmla="*/ 130 h 202"/>
                <a:gd name="T8" fmla="*/ 142 w 164"/>
                <a:gd name="T9" fmla="*/ 122 h 202"/>
                <a:gd name="T10" fmla="*/ 150 w 164"/>
                <a:gd name="T11" fmla="*/ 120 h 202"/>
                <a:gd name="T12" fmla="*/ 153 w 164"/>
                <a:gd name="T13" fmla="*/ 102 h 202"/>
                <a:gd name="T14" fmla="*/ 151 w 164"/>
                <a:gd name="T15" fmla="*/ 80 h 202"/>
                <a:gd name="T16" fmla="*/ 157 w 164"/>
                <a:gd name="T17" fmla="*/ 70 h 202"/>
                <a:gd name="T18" fmla="*/ 157 w 164"/>
                <a:gd name="T19" fmla="*/ 54 h 202"/>
                <a:gd name="T20" fmla="*/ 144 w 164"/>
                <a:gd name="T21" fmla="*/ 43 h 202"/>
                <a:gd name="T22" fmla="*/ 133 w 164"/>
                <a:gd name="T23" fmla="*/ 45 h 202"/>
                <a:gd name="T24" fmla="*/ 124 w 164"/>
                <a:gd name="T25" fmla="*/ 50 h 202"/>
                <a:gd name="T26" fmla="*/ 116 w 164"/>
                <a:gd name="T27" fmla="*/ 34 h 202"/>
                <a:gd name="T28" fmla="*/ 111 w 164"/>
                <a:gd name="T29" fmla="*/ 19 h 202"/>
                <a:gd name="T30" fmla="*/ 102 w 164"/>
                <a:gd name="T31" fmla="*/ 19 h 202"/>
                <a:gd name="T32" fmla="*/ 90 w 164"/>
                <a:gd name="T33" fmla="*/ 19 h 202"/>
                <a:gd name="T34" fmla="*/ 85 w 164"/>
                <a:gd name="T35" fmla="*/ 11 h 202"/>
                <a:gd name="T36" fmla="*/ 79 w 164"/>
                <a:gd name="T37" fmla="*/ 2 h 202"/>
                <a:gd name="T38" fmla="*/ 74 w 164"/>
                <a:gd name="T39" fmla="*/ 10 h 202"/>
                <a:gd name="T40" fmla="*/ 74 w 164"/>
                <a:gd name="T41" fmla="*/ 22 h 202"/>
                <a:gd name="T42" fmla="*/ 48 w 164"/>
                <a:gd name="T43" fmla="*/ 39 h 202"/>
                <a:gd name="T44" fmla="*/ 24 w 164"/>
                <a:gd name="T45" fmla="*/ 70 h 202"/>
                <a:gd name="T46" fmla="*/ 17 w 164"/>
                <a:gd name="T47" fmla="*/ 102 h 202"/>
                <a:gd name="T48" fmla="*/ 7 w 164"/>
                <a:gd name="T49" fmla="*/ 109 h 202"/>
                <a:gd name="T50" fmla="*/ 9 w 164"/>
                <a:gd name="T51" fmla="*/ 115 h 202"/>
                <a:gd name="T52" fmla="*/ 7 w 164"/>
                <a:gd name="T53" fmla="*/ 120 h 202"/>
                <a:gd name="T54" fmla="*/ 2 w 164"/>
                <a:gd name="T55" fmla="*/ 128 h 202"/>
                <a:gd name="T56" fmla="*/ 17 w 164"/>
                <a:gd name="T57" fmla="*/ 155 h 202"/>
                <a:gd name="T58" fmla="*/ 46 w 164"/>
                <a:gd name="T59" fmla="*/ 192 h 202"/>
                <a:gd name="T60" fmla="*/ 48 w 164"/>
                <a:gd name="T61" fmla="*/ 202 h 202"/>
                <a:gd name="T62" fmla="*/ 48 w 164"/>
                <a:gd name="T63" fmla="*/ 202 h 202"/>
                <a:gd name="T64" fmla="*/ 87 w 164"/>
                <a:gd name="T65" fmla="*/ 185 h 202"/>
                <a:gd name="T66" fmla="*/ 98 w 164"/>
                <a:gd name="T67" fmla="*/ 176 h 2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4"/>
                <a:gd name="T103" fmla="*/ 0 h 202"/>
                <a:gd name="T104" fmla="*/ 164 w 164"/>
                <a:gd name="T105" fmla="*/ 202 h 2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4" h="202">
                  <a:moveTo>
                    <a:pt x="98" y="176"/>
                  </a:moveTo>
                  <a:lnTo>
                    <a:pt x="113" y="174"/>
                  </a:lnTo>
                  <a:lnTo>
                    <a:pt x="131" y="172"/>
                  </a:lnTo>
                  <a:lnTo>
                    <a:pt x="137" y="167"/>
                  </a:lnTo>
                  <a:lnTo>
                    <a:pt x="139" y="157"/>
                  </a:lnTo>
                  <a:lnTo>
                    <a:pt x="137" y="148"/>
                  </a:lnTo>
                  <a:lnTo>
                    <a:pt x="137" y="139"/>
                  </a:lnTo>
                  <a:lnTo>
                    <a:pt x="139" y="130"/>
                  </a:lnTo>
                  <a:lnTo>
                    <a:pt x="140" y="126"/>
                  </a:lnTo>
                  <a:lnTo>
                    <a:pt x="142" y="122"/>
                  </a:lnTo>
                  <a:lnTo>
                    <a:pt x="144" y="120"/>
                  </a:lnTo>
                  <a:lnTo>
                    <a:pt x="150" y="120"/>
                  </a:lnTo>
                  <a:lnTo>
                    <a:pt x="153" y="117"/>
                  </a:lnTo>
                  <a:lnTo>
                    <a:pt x="153" y="102"/>
                  </a:lnTo>
                  <a:lnTo>
                    <a:pt x="151" y="87"/>
                  </a:lnTo>
                  <a:lnTo>
                    <a:pt x="151" y="80"/>
                  </a:lnTo>
                  <a:lnTo>
                    <a:pt x="153" y="74"/>
                  </a:lnTo>
                  <a:lnTo>
                    <a:pt x="157" y="70"/>
                  </a:lnTo>
                  <a:lnTo>
                    <a:pt x="164" y="69"/>
                  </a:lnTo>
                  <a:lnTo>
                    <a:pt x="157" y="54"/>
                  </a:lnTo>
                  <a:lnTo>
                    <a:pt x="151" y="45"/>
                  </a:lnTo>
                  <a:lnTo>
                    <a:pt x="144" y="43"/>
                  </a:lnTo>
                  <a:lnTo>
                    <a:pt x="139" y="43"/>
                  </a:lnTo>
                  <a:lnTo>
                    <a:pt x="133" y="45"/>
                  </a:lnTo>
                  <a:lnTo>
                    <a:pt x="127" y="48"/>
                  </a:lnTo>
                  <a:lnTo>
                    <a:pt x="124" y="50"/>
                  </a:lnTo>
                  <a:lnTo>
                    <a:pt x="118" y="48"/>
                  </a:lnTo>
                  <a:lnTo>
                    <a:pt x="116" y="34"/>
                  </a:lnTo>
                  <a:lnTo>
                    <a:pt x="115" y="21"/>
                  </a:lnTo>
                  <a:lnTo>
                    <a:pt x="111" y="19"/>
                  </a:lnTo>
                  <a:lnTo>
                    <a:pt x="107" y="19"/>
                  </a:lnTo>
                  <a:lnTo>
                    <a:pt x="102" y="19"/>
                  </a:lnTo>
                  <a:lnTo>
                    <a:pt x="96" y="21"/>
                  </a:lnTo>
                  <a:lnTo>
                    <a:pt x="90" y="19"/>
                  </a:lnTo>
                  <a:lnTo>
                    <a:pt x="87" y="17"/>
                  </a:lnTo>
                  <a:lnTo>
                    <a:pt x="85" y="11"/>
                  </a:lnTo>
                  <a:lnTo>
                    <a:pt x="85" y="0"/>
                  </a:lnTo>
                  <a:lnTo>
                    <a:pt x="79" y="2"/>
                  </a:lnTo>
                  <a:lnTo>
                    <a:pt x="76" y="6"/>
                  </a:lnTo>
                  <a:lnTo>
                    <a:pt x="74" y="10"/>
                  </a:lnTo>
                  <a:lnTo>
                    <a:pt x="72" y="13"/>
                  </a:lnTo>
                  <a:lnTo>
                    <a:pt x="74" y="22"/>
                  </a:lnTo>
                  <a:lnTo>
                    <a:pt x="72" y="28"/>
                  </a:lnTo>
                  <a:lnTo>
                    <a:pt x="48" y="39"/>
                  </a:lnTo>
                  <a:lnTo>
                    <a:pt x="26" y="50"/>
                  </a:lnTo>
                  <a:lnTo>
                    <a:pt x="24" y="70"/>
                  </a:lnTo>
                  <a:lnTo>
                    <a:pt x="24" y="95"/>
                  </a:lnTo>
                  <a:lnTo>
                    <a:pt x="17" y="102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11"/>
                  </a:lnTo>
                  <a:lnTo>
                    <a:pt x="9" y="115"/>
                  </a:lnTo>
                  <a:lnTo>
                    <a:pt x="9" y="119"/>
                  </a:lnTo>
                  <a:lnTo>
                    <a:pt x="7" y="120"/>
                  </a:lnTo>
                  <a:lnTo>
                    <a:pt x="6" y="124"/>
                  </a:lnTo>
                  <a:lnTo>
                    <a:pt x="2" y="128"/>
                  </a:lnTo>
                  <a:lnTo>
                    <a:pt x="0" y="133"/>
                  </a:lnTo>
                  <a:lnTo>
                    <a:pt x="17" y="155"/>
                  </a:lnTo>
                  <a:lnTo>
                    <a:pt x="42" y="183"/>
                  </a:lnTo>
                  <a:lnTo>
                    <a:pt x="46" y="192"/>
                  </a:lnTo>
                  <a:lnTo>
                    <a:pt x="48" y="202"/>
                  </a:lnTo>
                  <a:lnTo>
                    <a:pt x="68" y="194"/>
                  </a:lnTo>
                  <a:lnTo>
                    <a:pt x="87" y="185"/>
                  </a:lnTo>
                  <a:lnTo>
                    <a:pt x="92" y="180"/>
                  </a:lnTo>
                  <a:lnTo>
                    <a:pt x="98" y="17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09" name="Freeform 85"/>
            <p:cNvSpPr>
              <a:spLocks/>
            </p:cNvSpPr>
            <p:nvPr/>
          </p:nvSpPr>
          <p:spPr bwMode="auto">
            <a:xfrm>
              <a:off x="3783656" y="2217708"/>
              <a:ext cx="88705" cy="84478"/>
            </a:xfrm>
            <a:custGeom>
              <a:avLst/>
              <a:gdLst>
                <a:gd name="T0" fmla="*/ 170 w 170"/>
                <a:gd name="T1" fmla="*/ 59 h 166"/>
                <a:gd name="T2" fmla="*/ 170 w 170"/>
                <a:gd name="T3" fmla="*/ 54 h 166"/>
                <a:gd name="T4" fmla="*/ 168 w 170"/>
                <a:gd name="T5" fmla="*/ 50 h 166"/>
                <a:gd name="T6" fmla="*/ 157 w 170"/>
                <a:gd name="T7" fmla="*/ 44 h 166"/>
                <a:gd name="T8" fmla="*/ 146 w 170"/>
                <a:gd name="T9" fmla="*/ 43 h 166"/>
                <a:gd name="T10" fmla="*/ 148 w 170"/>
                <a:gd name="T11" fmla="*/ 32 h 166"/>
                <a:gd name="T12" fmla="*/ 148 w 170"/>
                <a:gd name="T13" fmla="*/ 11 h 166"/>
                <a:gd name="T14" fmla="*/ 118 w 170"/>
                <a:gd name="T15" fmla="*/ 22 h 166"/>
                <a:gd name="T16" fmla="*/ 103 w 170"/>
                <a:gd name="T17" fmla="*/ 32 h 166"/>
                <a:gd name="T18" fmla="*/ 100 w 170"/>
                <a:gd name="T19" fmla="*/ 30 h 166"/>
                <a:gd name="T20" fmla="*/ 94 w 170"/>
                <a:gd name="T21" fmla="*/ 26 h 166"/>
                <a:gd name="T22" fmla="*/ 91 w 170"/>
                <a:gd name="T23" fmla="*/ 22 h 166"/>
                <a:gd name="T24" fmla="*/ 85 w 170"/>
                <a:gd name="T25" fmla="*/ 17 h 166"/>
                <a:gd name="T26" fmla="*/ 79 w 170"/>
                <a:gd name="T27" fmla="*/ 8 h 166"/>
                <a:gd name="T28" fmla="*/ 76 w 170"/>
                <a:gd name="T29" fmla="*/ 0 h 166"/>
                <a:gd name="T30" fmla="*/ 59 w 170"/>
                <a:gd name="T31" fmla="*/ 8 h 166"/>
                <a:gd name="T32" fmla="*/ 37 w 170"/>
                <a:gd name="T33" fmla="*/ 17 h 166"/>
                <a:gd name="T34" fmla="*/ 35 w 170"/>
                <a:gd name="T35" fmla="*/ 26 h 166"/>
                <a:gd name="T36" fmla="*/ 28 w 170"/>
                <a:gd name="T37" fmla="*/ 35 h 166"/>
                <a:gd name="T38" fmla="*/ 24 w 170"/>
                <a:gd name="T39" fmla="*/ 39 h 166"/>
                <a:gd name="T40" fmla="*/ 17 w 170"/>
                <a:gd name="T41" fmla="*/ 44 h 166"/>
                <a:gd name="T42" fmla="*/ 9 w 170"/>
                <a:gd name="T43" fmla="*/ 48 h 166"/>
                <a:gd name="T44" fmla="*/ 0 w 170"/>
                <a:gd name="T45" fmla="*/ 50 h 166"/>
                <a:gd name="T46" fmla="*/ 0 w 170"/>
                <a:gd name="T47" fmla="*/ 50 h 166"/>
                <a:gd name="T48" fmla="*/ 0 w 170"/>
                <a:gd name="T49" fmla="*/ 50 h 166"/>
                <a:gd name="T50" fmla="*/ 6 w 170"/>
                <a:gd name="T51" fmla="*/ 57 h 166"/>
                <a:gd name="T52" fmla="*/ 11 w 170"/>
                <a:gd name="T53" fmla="*/ 63 h 166"/>
                <a:gd name="T54" fmla="*/ 18 w 170"/>
                <a:gd name="T55" fmla="*/ 69 h 166"/>
                <a:gd name="T56" fmla="*/ 30 w 170"/>
                <a:gd name="T57" fmla="*/ 72 h 166"/>
                <a:gd name="T58" fmla="*/ 30 w 170"/>
                <a:gd name="T59" fmla="*/ 72 h 166"/>
                <a:gd name="T60" fmla="*/ 30 w 170"/>
                <a:gd name="T61" fmla="*/ 72 h 166"/>
                <a:gd name="T62" fmla="*/ 30 w 170"/>
                <a:gd name="T63" fmla="*/ 72 h 166"/>
                <a:gd name="T64" fmla="*/ 31 w 170"/>
                <a:gd name="T65" fmla="*/ 74 h 166"/>
                <a:gd name="T66" fmla="*/ 31 w 170"/>
                <a:gd name="T67" fmla="*/ 74 h 166"/>
                <a:gd name="T68" fmla="*/ 37 w 170"/>
                <a:gd name="T69" fmla="*/ 80 h 166"/>
                <a:gd name="T70" fmla="*/ 44 w 170"/>
                <a:gd name="T71" fmla="*/ 93 h 166"/>
                <a:gd name="T72" fmla="*/ 50 w 170"/>
                <a:gd name="T73" fmla="*/ 98 h 166"/>
                <a:gd name="T74" fmla="*/ 57 w 170"/>
                <a:gd name="T75" fmla="*/ 105 h 166"/>
                <a:gd name="T76" fmla="*/ 59 w 170"/>
                <a:gd name="T77" fmla="*/ 122 h 166"/>
                <a:gd name="T78" fmla="*/ 61 w 170"/>
                <a:gd name="T79" fmla="*/ 141 h 166"/>
                <a:gd name="T80" fmla="*/ 68 w 170"/>
                <a:gd name="T81" fmla="*/ 146 h 166"/>
                <a:gd name="T82" fmla="*/ 76 w 170"/>
                <a:gd name="T83" fmla="*/ 150 h 166"/>
                <a:gd name="T84" fmla="*/ 81 w 170"/>
                <a:gd name="T85" fmla="*/ 152 h 166"/>
                <a:gd name="T86" fmla="*/ 85 w 170"/>
                <a:gd name="T87" fmla="*/ 155 h 166"/>
                <a:gd name="T88" fmla="*/ 89 w 170"/>
                <a:gd name="T89" fmla="*/ 159 h 166"/>
                <a:gd name="T90" fmla="*/ 92 w 170"/>
                <a:gd name="T91" fmla="*/ 166 h 166"/>
                <a:gd name="T92" fmla="*/ 102 w 170"/>
                <a:gd name="T93" fmla="*/ 161 h 166"/>
                <a:gd name="T94" fmla="*/ 109 w 170"/>
                <a:gd name="T95" fmla="*/ 154 h 166"/>
                <a:gd name="T96" fmla="*/ 109 w 170"/>
                <a:gd name="T97" fmla="*/ 129 h 166"/>
                <a:gd name="T98" fmla="*/ 111 w 170"/>
                <a:gd name="T99" fmla="*/ 109 h 166"/>
                <a:gd name="T100" fmla="*/ 133 w 170"/>
                <a:gd name="T101" fmla="*/ 98 h 166"/>
                <a:gd name="T102" fmla="*/ 157 w 170"/>
                <a:gd name="T103" fmla="*/ 87 h 166"/>
                <a:gd name="T104" fmla="*/ 159 w 170"/>
                <a:gd name="T105" fmla="*/ 81 h 166"/>
                <a:gd name="T106" fmla="*/ 157 w 170"/>
                <a:gd name="T107" fmla="*/ 72 h 166"/>
                <a:gd name="T108" fmla="*/ 159 w 170"/>
                <a:gd name="T109" fmla="*/ 69 h 166"/>
                <a:gd name="T110" fmla="*/ 161 w 170"/>
                <a:gd name="T111" fmla="*/ 65 h 166"/>
                <a:gd name="T112" fmla="*/ 164 w 170"/>
                <a:gd name="T113" fmla="*/ 61 h 166"/>
                <a:gd name="T114" fmla="*/ 170 w 170"/>
                <a:gd name="T115" fmla="*/ 59 h 1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0"/>
                <a:gd name="T175" fmla="*/ 0 h 166"/>
                <a:gd name="T176" fmla="*/ 170 w 170"/>
                <a:gd name="T177" fmla="*/ 166 h 1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0" h="166">
                  <a:moveTo>
                    <a:pt x="170" y="59"/>
                  </a:moveTo>
                  <a:lnTo>
                    <a:pt x="170" y="54"/>
                  </a:lnTo>
                  <a:lnTo>
                    <a:pt x="168" y="50"/>
                  </a:lnTo>
                  <a:lnTo>
                    <a:pt x="157" y="44"/>
                  </a:lnTo>
                  <a:lnTo>
                    <a:pt x="146" y="43"/>
                  </a:lnTo>
                  <a:lnTo>
                    <a:pt x="148" y="32"/>
                  </a:lnTo>
                  <a:lnTo>
                    <a:pt x="148" y="11"/>
                  </a:lnTo>
                  <a:lnTo>
                    <a:pt x="118" y="22"/>
                  </a:lnTo>
                  <a:lnTo>
                    <a:pt x="103" y="32"/>
                  </a:lnTo>
                  <a:lnTo>
                    <a:pt x="100" y="30"/>
                  </a:lnTo>
                  <a:lnTo>
                    <a:pt x="94" y="26"/>
                  </a:lnTo>
                  <a:lnTo>
                    <a:pt x="91" y="22"/>
                  </a:lnTo>
                  <a:lnTo>
                    <a:pt x="85" y="17"/>
                  </a:lnTo>
                  <a:lnTo>
                    <a:pt x="79" y="8"/>
                  </a:lnTo>
                  <a:lnTo>
                    <a:pt x="76" y="0"/>
                  </a:lnTo>
                  <a:lnTo>
                    <a:pt x="59" y="8"/>
                  </a:lnTo>
                  <a:lnTo>
                    <a:pt x="37" y="17"/>
                  </a:lnTo>
                  <a:lnTo>
                    <a:pt x="35" y="26"/>
                  </a:lnTo>
                  <a:lnTo>
                    <a:pt x="28" y="35"/>
                  </a:lnTo>
                  <a:lnTo>
                    <a:pt x="24" y="39"/>
                  </a:lnTo>
                  <a:lnTo>
                    <a:pt x="17" y="44"/>
                  </a:lnTo>
                  <a:lnTo>
                    <a:pt x="9" y="48"/>
                  </a:lnTo>
                  <a:lnTo>
                    <a:pt x="0" y="50"/>
                  </a:lnTo>
                  <a:lnTo>
                    <a:pt x="6" y="57"/>
                  </a:lnTo>
                  <a:lnTo>
                    <a:pt x="11" y="63"/>
                  </a:lnTo>
                  <a:lnTo>
                    <a:pt x="18" y="69"/>
                  </a:lnTo>
                  <a:lnTo>
                    <a:pt x="30" y="72"/>
                  </a:lnTo>
                  <a:lnTo>
                    <a:pt x="31" y="74"/>
                  </a:lnTo>
                  <a:lnTo>
                    <a:pt x="37" y="80"/>
                  </a:lnTo>
                  <a:lnTo>
                    <a:pt x="44" y="93"/>
                  </a:lnTo>
                  <a:lnTo>
                    <a:pt x="50" y="98"/>
                  </a:lnTo>
                  <a:lnTo>
                    <a:pt x="57" y="105"/>
                  </a:lnTo>
                  <a:lnTo>
                    <a:pt x="59" y="122"/>
                  </a:lnTo>
                  <a:lnTo>
                    <a:pt x="61" y="141"/>
                  </a:lnTo>
                  <a:lnTo>
                    <a:pt x="68" y="146"/>
                  </a:lnTo>
                  <a:lnTo>
                    <a:pt x="76" y="150"/>
                  </a:lnTo>
                  <a:lnTo>
                    <a:pt x="81" y="152"/>
                  </a:lnTo>
                  <a:lnTo>
                    <a:pt x="85" y="155"/>
                  </a:lnTo>
                  <a:lnTo>
                    <a:pt x="89" y="159"/>
                  </a:lnTo>
                  <a:lnTo>
                    <a:pt x="92" y="166"/>
                  </a:lnTo>
                  <a:lnTo>
                    <a:pt x="102" y="161"/>
                  </a:lnTo>
                  <a:lnTo>
                    <a:pt x="109" y="154"/>
                  </a:lnTo>
                  <a:lnTo>
                    <a:pt x="109" y="129"/>
                  </a:lnTo>
                  <a:lnTo>
                    <a:pt x="111" y="109"/>
                  </a:lnTo>
                  <a:lnTo>
                    <a:pt x="133" y="98"/>
                  </a:lnTo>
                  <a:lnTo>
                    <a:pt x="157" y="87"/>
                  </a:lnTo>
                  <a:lnTo>
                    <a:pt x="159" y="81"/>
                  </a:lnTo>
                  <a:lnTo>
                    <a:pt x="157" y="72"/>
                  </a:lnTo>
                  <a:lnTo>
                    <a:pt x="159" y="69"/>
                  </a:lnTo>
                  <a:lnTo>
                    <a:pt x="161" y="65"/>
                  </a:lnTo>
                  <a:lnTo>
                    <a:pt x="164" y="61"/>
                  </a:lnTo>
                  <a:lnTo>
                    <a:pt x="170" y="5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0" name="Freeform 86"/>
            <p:cNvSpPr>
              <a:spLocks/>
            </p:cNvSpPr>
            <p:nvPr/>
          </p:nvSpPr>
          <p:spPr bwMode="auto">
            <a:xfrm>
              <a:off x="3748174" y="2152060"/>
              <a:ext cx="75138" cy="91094"/>
            </a:xfrm>
            <a:custGeom>
              <a:avLst/>
              <a:gdLst>
                <a:gd name="T0" fmla="*/ 75 w 144"/>
                <a:gd name="T1" fmla="*/ 0 h 179"/>
                <a:gd name="T2" fmla="*/ 90 w 144"/>
                <a:gd name="T3" fmla="*/ 7 h 179"/>
                <a:gd name="T4" fmla="*/ 107 w 144"/>
                <a:gd name="T5" fmla="*/ 15 h 179"/>
                <a:gd name="T6" fmla="*/ 109 w 144"/>
                <a:gd name="T7" fmla="*/ 20 h 179"/>
                <a:gd name="T8" fmla="*/ 112 w 144"/>
                <a:gd name="T9" fmla="*/ 26 h 179"/>
                <a:gd name="T10" fmla="*/ 114 w 144"/>
                <a:gd name="T11" fmla="*/ 29 h 179"/>
                <a:gd name="T12" fmla="*/ 120 w 144"/>
                <a:gd name="T13" fmla="*/ 33 h 179"/>
                <a:gd name="T14" fmla="*/ 118 w 144"/>
                <a:gd name="T15" fmla="*/ 52 h 179"/>
                <a:gd name="T16" fmla="*/ 116 w 144"/>
                <a:gd name="T17" fmla="*/ 70 h 179"/>
                <a:gd name="T18" fmla="*/ 120 w 144"/>
                <a:gd name="T19" fmla="*/ 79 h 179"/>
                <a:gd name="T20" fmla="*/ 123 w 144"/>
                <a:gd name="T21" fmla="*/ 87 h 179"/>
                <a:gd name="T22" fmla="*/ 129 w 144"/>
                <a:gd name="T23" fmla="*/ 94 h 179"/>
                <a:gd name="T24" fmla="*/ 136 w 144"/>
                <a:gd name="T25" fmla="*/ 101 h 179"/>
                <a:gd name="T26" fmla="*/ 140 w 144"/>
                <a:gd name="T27" fmla="*/ 114 h 179"/>
                <a:gd name="T28" fmla="*/ 144 w 144"/>
                <a:gd name="T29" fmla="*/ 129 h 179"/>
                <a:gd name="T30" fmla="*/ 127 w 144"/>
                <a:gd name="T31" fmla="*/ 137 h 179"/>
                <a:gd name="T32" fmla="*/ 105 w 144"/>
                <a:gd name="T33" fmla="*/ 146 h 179"/>
                <a:gd name="T34" fmla="*/ 103 w 144"/>
                <a:gd name="T35" fmla="*/ 155 h 179"/>
                <a:gd name="T36" fmla="*/ 96 w 144"/>
                <a:gd name="T37" fmla="*/ 164 h 179"/>
                <a:gd name="T38" fmla="*/ 92 w 144"/>
                <a:gd name="T39" fmla="*/ 168 h 179"/>
                <a:gd name="T40" fmla="*/ 85 w 144"/>
                <a:gd name="T41" fmla="*/ 173 h 179"/>
                <a:gd name="T42" fmla="*/ 77 w 144"/>
                <a:gd name="T43" fmla="*/ 177 h 179"/>
                <a:gd name="T44" fmla="*/ 68 w 144"/>
                <a:gd name="T45" fmla="*/ 179 h 179"/>
                <a:gd name="T46" fmla="*/ 62 w 144"/>
                <a:gd name="T47" fmla="*/ 177 h 179"/>
                <a:gd name="T48" fmla="*/ 57 w 144"/>
                <a:gd name="T49" fmla="*/ 175 h 179"/>
                <a:gd name="T50" fmla="*/ 51 w 144"/>
                <a:gd name="T51" fmla="*/ 170 h 179"/>
                <a:gd name="T52" fmla="*/ 48 w 144"/>
                <a:gd name="T53" fmla="*/ 164 h 179"/>
                <a:gd name="T54" fmla="*/ 46 w 144"/>
                <a:gd name="T55" fmla="*/ 151 h 179"/>
                <a:gd name="T56" fmla="*/ 46 w 144"/>
                <a:gd name="T57" fmla="*/ 137 h 179"/>
                <a:gd name="T58" fmla="*/ 48 w 144"/>
                <a:gd name="T59" fmla="*/ 122 h 179"/>
                <a:gd name="T60" fmla="*/ 51 w 144"/>
                <a:gd name="T61" fmla="*/ 107 h 179"/>
                <a:gd name="T62" fmla="*/ 50 w 144"/>
                <a:gd name="T63" fmla="*/ 101 h 179"/>
                <a:gd name="T64" fmla="*/ 48 w 144"/>
                <a:gd name="T65" fmla="*/ 96 h 179"/>
                <a:gd name="T66" fmla="*/ 42 w 144"/>
                <a:gd name="T67" fmla="*/ 90 h 179"/>
                <a:gd name="T68" fmla="*/ 37 w 144"/>
                <a:gd name="T69" fmla="*/ 88 h 179"/>
                <a:gd name="T70" fmla="*/ 27 w 144"/>
                <a:gd name="T71" fmla="*/ 83 h 179"/>
                <a:gd name="T72" fmla="*/ 24 w 144"/>
                <a:gd name="T73" fmla="*/ 77 h 179"/>
                <a:gd name="T74" fmla="*/ 24 w 144"/>
                <a:gd name="T75" fmla="*/ 74 h 179"/>
                <a:gd name="T76" fmla="*/ 24 w 144"/>
                <a:gd name="T77" fmla="*/ 70 h 179"/>
                <a:gd name="T78" fmla="*/ 24 w 144"/>
                <a:gd name="T79" fmla="*/ 66 h 179"/>
                <a:gd name="T80" fmla="*/ 22 w 144"/>
                <a:gd name="T81" fmla="*/ 64 h 179"/>
                <a:gd name="T82" fmla="*/ 20 w 144"/>
                <a:gd name="T83" fmla="*/ 61 h 179"/>
                <a:gd name="T84" fmla="*/ 16 w 144"/>
                <a:gd name="T85" fmla="*/ 57 h 179"/>
                <a:gd name="T86" fmla="*/ 9 w 144"/>
                <a:gd name="T87" fmla="*/ 52 h 179"/>
                <a:gd name="T88" fmla="*/ 0 w 144"/>
                <a:gd name="T89" fmla="*/ 44 h 179"/>
                <a:gd name="T90" fmla="*/ 0 w 144"/>
                <a:gd name="T91" fmla="*/ 39 h 179"/>
                <a:gd name="T92" fmla="*/ 2 w 144"/>
                <a:gd name="T93" fmla="*/ 33 h 179"/>
                <a:gd name="T94" fmla="*/ 11 w 144"/>
                <a:gd name="T95" fmla="*/ 31 h 179"/>
                <a:gd name="T96" fmla="*/ 22 w 144"/>
                <a:gd name="T97" fmla="*/ 29 h 179"/>
                <a:gd name="T98" fmla="*/ 26 w 144"/>
                <a:gd name="T99" fmla="*/ 20 h 179"/>
                <a:gd name="T100" fmla="*/ 27 w 144"/>
                <a:gd name="T101" fmla="*/ 13 h 179"/>
                <a:gd name="T102" fmla="*/ 31 w 144"/>
                <a:gd name="T103" fmla="*/ 13 h 179"/>
                <a:gd name="T104" fmla="*/ 38 w 144"/>
                <a:gd name="T105" fmla="*/ 18 h 179"/>
                <a:gd name="T106" fmla="*/ 42 w 144"/>
                <a:gd name="T107" fmla="*/ 20 h 179"/>
                <a:gd name="T108" fmla="*/ 48 w 144"/>
                <a:gd name="T109" fmla="*/ 22 h 179"/>
                <a:gd name="T110" fmla="*/ 51 w 144"/>
                <a:gd name="T111" fmla="*/ 22 h 179"/>
                <a:gd name="T112" fmla="*/ 57 w 144"/>
                <a:gd name="T113" fmla="*/ 22 h 179"/>
                <a:gd name="T114" fmla="*/ 66 w 144"/>
                <a:gd name="T115" fmla="*/ 11 h 179"/>
                <a:gd name="T116" fmla="*/ 75 w 144"/>
                <a:gd name="T117" fmla="*/ 0 h 17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4"/>
                <a:gd name="T178" fmla="*/ 0 h 179"/>
                <a:gd name="T179" fmla="*/ 144 w 144"/>
                <a:gd name="T180" fmla="*/ 179 h 17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4" h="179">
                  <a:moveTo>
                    <a:pt x="75" y="0"/>
                  </a:moveTo>
                  <a:lnTo>
                    <a:pt x="90" y="7"/>
                  </a:lnTo>
                  <a:lnTo>
                    <a:pt x="107" y="15"/>
                  </a:lnTo>
                  <a:lnTo>
                    <a:pt x="109" y="20"/>
                  </a:lnTo>
                  <a:lnTo>
                    <a:pt x="112" y="26"/>
                  </a:lnTo>
                  <a:lnTo>
                    <a:pt x="114" y="29"/>
                  </a:lnTo>
                  <a:lnTo>
                    <a:pt x="120" y="33"/>
                  </a:lnTo>
                  <a:lnTo>
                    <a:pt x="118" y="52"/>
                  </a:lnTo>
                  <a:lnTo>
                    <a:pt x="116" y="70"/>
                  </a:lnTo>
                  <a:lnTo>
                    <a:pt x="120" y="79"/>
                  </a:lnTo>
                  <a:lnTo>
                    <a:pt x="123" y="87"/>
                  </a:lnTo>
                  <a:lnTo>
                    <a:pt x="129" y="94"/>
                  </a:lnTo>
                  <a:lnTo>
                    <a:pt x="136" y="101"/>
                  </a:lnTo>
                  <a:lnTo>
                    <a:pt x="140" y="114"/>
                  </a:lnTo>
                  <a:lnTo>
                    <a:pt x="144" y="129"/>
                  </a:lnTo>
                  <a:lnTo>
                    <a:pt x="127" y="137"/>
                  </a:lnTo>
                  <a:lnTo>
                    <a:pt x="105" y="146"/>
                  </a:lnTo>
                  <a:lnTo>
                    <a:pt x="103" y="155"/>
                  </a:lnTo>
                  <a:lnTo>
                    <a:pt x="96" y="164"/>
                  </a:lnTo>
                  <a:lnTo>
                    <a:pt x="92" y="168"/>
                  </a:lnTo>
                  <a:lnTo>
                    <a:pt x="85" y="173"/>
                  </a:lnTo>
                  <a:lnTo>
                    <a:pt x="77" y="177"/>
                  </a:lnTo>
                  <a:lnTo>
                    <a:pt x="68" y="179"/>
                  </a:lnTo>
                  <a:lnTo>
                    <a:pt x="62" y="177"/>
                  </a:lnTo>
                  <a:lnTo>
                    <a:pt x="57" y="175"/>
                  </a:lnTo>
                  <a:lnTo>
                    <a:pt x="51" y="170"/>
                  </a:lnTo>
                  <a:lnTo>
                    <a:pt x="48" y="164"/>
                  </a:lnTo>
                  <a:lnTo>
                    <a:pt x="46" y="151"/>
                  </a:lnTo>
                  <a:lnTo>
                    <a:pt x="46" y="137"/>
                  </a:lnTo>
                  <a:lnTo>
                    <a:pt x="48" y="122"/>
                  </a:lnTo>
                  <a:lnTo>
                    <a:pt x="51" y="107"/>
                  </a:lnTo>
                  <a:lnTo>
                    <a:pt x="50" y="101"/>
                  </a:lnTo>
                  <a:lnTo>
                    <a:pt x="48" y="96"/>
                  </a:lnTo>
                  <a:lnTo>
                    <a:pt x="42" y="90"/>
                  </a:lnTo>
                  <a:lnTo>
                    <a:pt x="37" y="88"/>
                  </a:lnTo>
                  <a:lnTo>
                    <a:pt x="27" y="83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4" y="70"/>
                  </a:lnTo>
                  <a:lnTo>
                    <a:pt x="24" y="66"/>
                  </a:lnTo>
                  <a:lnTo>
                    <a:pt x="22" y="64"/>
                  </a:lnTo>
                  <a:lnTo>
                    <a:pt x="20" y="61"/>
                  </a:lnTo>
                  <a:lnTo>
                    <a:pt x="16" y="57"/>
                  </a:lnTo>
                  <a:lnTo>
                    <a:pt x="9" y="52"/>
                  </a:lnTo>
                  <a:lnTo>
                    <a:pt x="0" y="44"/>
                  </a:lnTo>
                  <a:lnTo>
                    <a:pt x="0" y="39"/>
                  </a:lnTo>
                  <a:lnTo>
                    <a:pt x="2" y="33"/>
                  </a:lnTo>
                  <a:lnTo>
                    <a:pt x="11" y="31"/>
                  </a:lnTo>
                  <a:lnTo>
                    <a:pt x="22" y="29"/>
                  </a:lnTo>
                  <a:lnTo>
                    <a:pt x="26" y="20"/>
                  </a:lnTo>
                  <a:lnTo>
                    <a:pt x="27" y="13"/>
                  </a:lnTo>
                  <a:lnTo>
                    <a:pt x="31" y="13"/>
                  </a:lnTo>
                  <a:lnTo>
                    <a:pt x="38" y="18"/>
                  </a:lnTo>
                  <a:lnTo>
                    <a:pt x="42" y="20"/>
                  </a:lnTo>
                  <a:lnTo>
                    <a:pt x="48" y="22"/>
                  </a:lnTo>
                  <a:lnTo>
                    <a:pt x="51" y="22"/>
                  </a:lnTo>
                  <a:lnTo>
                    <a:pt x="57" y="22"/>
                  </a:lnTo>
                  <a:lnTo>
                    <a:pt x="66" y="11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1" name="Freeform 87"/>
            <p:cNvSpPr>
              <a:spLocks/>
            </p:cNvSpPr>
            <p:nvPr/>
          </p:nvSpPr>
          <p:spPr bwMode="auto">
            <a:xfrm>
              <a:off x="3826965" y="1993282"/>
              <a:ext cx="181062" cy="138930"/>
            </a:xfrm>
            <a:custGeom>
              <a:avLst/>
              <a:gdLst>
                <a:gd name="T0" fmla="*/ 142 w 347"/>
                <a:gd name="T1" fmla="*/ 186 h 273"/>
                <a:gd name="T2" fmla="*/ 153 w 347"/>
                <a:gd name="T3" fmla="*/ 197 h 273"/>
                <a:gd name="T4" fmla="*/ 159 w 347"/>
                <a:gd name="T5" fmla="*/ 221 h 273"/>
                <a:gd name="T6" fmla="*/ 174 w 347"/>
                <a:gd name="T7" fmla="*/ 223 h 273"/>
                <a:gd name="T8" fmla="*/ 189 w 347"/>
                <a:gd name="T9" fmla="*/ 230 h 273"/>
                <a:gd name="T10" fmla="*/ 216 w 347"/>
                <a:gd name="T11" fmla="*/ 242 h 273"/>
                <a:gd name="T12" fmla="*/ 233 w 347"/>
                <a:gd name="T13" fmla="*/ 247 h 273"/>
                <a:gd name="T14" fmla="*/ 244 w 347"/>
                <a:gd name="T15" fmla="*/ 260 h 273"/>
                <a:gd name="T16" fmla="*/ 264 w 347"/>
                <a:gd name="T17" fmla="*/ 258 h 273"/>
                <a:gd name="T18" fmla="*/ 285 w 347"/>
                <a:gd name="T19" fmla="*/ 230 h 273"/>
                <a:gd name="T20" fmla="*/ 294 w 347"/>
                <a:gd name="T21" fmla="*/ 206 h 273"/>
                <a:gd name="T22" fmla="*/ 299 w 347"/>
                <a:gd name="T23" fmla="*/ 192 h 273"/>
                <a:gd name="T24" fmla="*/ 303 w 347"/>
                <a:gd name="T25" fmla="*/ 182 h 273"/>
                <a:gd name="T26" fmla="*/ 316 w 347"/>
                <a:gd name="T27" fmla="*/ 171 h 273"/>
                <a:gd name="T28" fmla="*/ 333 w 347"/>
                <a:gd name="T29" fmla="*/ 160 h 273"/>
                <a:gd name="T30" fmla="*/ 344 w 347"/>
                <a:gd name="T31" fmla="*/ 144 h 273"/>
                <a:gd name="T32" fmla="*/ 347 w 347"/>
                <a:gd name="T33" fmla="*/ 131 h 273"/>
                <a:gd name="T34" fmla="*/ 342 w 347"/>
                <a:gd name="T35" fmla="*/ 123 h 273"/>
                <a:gd name="T36" fmla="*/ 327 w 347"/>
                <a:gd name="T37" fmla="*/ 118 h 273"/>
                <a:gd name="T38" fmla="*/ 316 w 347"/>
                <a:gd name="T39" fmla="*/ 118 h 273"/>
                <a:gd name="T40" fmla="*/ 305 w 347"/>
                <a:gd name="T41" fmla="*/ 118 h 273"/>
                <a:gd name="T42" fmla="*/ 288 w 347"/>
                <a:gd name="T43" fmla="*/ 90 h 273"/>
                <a:gd name="T44" fmla="*/ 268 w 347"/>
                <a:gd name="T45" fmla="*/ 88 h 273"/>
                <a:gd name="T46" fmla="*/ 255 w 347"/>
                <a:gd name="T47" fmla="*/ 79 h 273"/>
                <a:gd name="T48" fmla="*/ 242 w 347"/>
                <a:gd name="T49" fmla="*/ 79 h 273"/>
                <a:gd name="T50" fmla="*/ 240 w 347"/>
                <a:gd name="T51" fmla="*/ 62 h 273"/>
                <a:gd name="T52" fmla="*/ 244 w 347"/>
                <a:gd name="T53" fmla="*/ 46 h 273"/>
                <a:gd name="T54" fmla="*/ 231 w 347"/>
                <a:gd name="T55" fmla="*/ 44 h 273"/>
                <a:gd name="T56" fmla="*/ 207 w 347"/>
                <a:gd name="T57" fmla="*/ 24 h 273"/>
                <a:gd name="T58" fmla="*/ 207 w 347"/>
                <a:gd name="T59" fmla="*/ 33 h 273"/>
                <a:gd name="T60" fmla="*/ 207 w 347"/>
                <a:gd name="T61" fmla="*/ 38 h 273"/>
                <a:gd name="T62" fmla="*/ 201 w 347"/>
                <a:gd name="T63" fmla="*/ 44 h 273"/>
                <a:gd name="T64" fmla="*/ 192 w 347"/>
                <a:gd name="T65" fmla="*/ 49 h 273"/>
                <a:gd name="T66" fmla="*/ 177 w 347"/>
                <a:gd name="T67" fmla="*/ 51 h 273"/>
                <a:gd name="T68" fmla="*/ 155 w 347"/>
                <a:gd name="T69" fmla="*/ 35 h 273"/>
                <a:gd name="T70" fmla="*/ 128 w 347"/>
                <a:gd name="T71" fmla="*/ 36 h 273"/>
                <a:gd name="T72" fmla="*/ 102 w 347"/>
                <a:gd name="T73" fmla="*/ 20 h 273"/>
                <a:gd name="T74" fmla="*/ 78 w 347"/>
                <a:gd name="T75" fmla="*/ 14 h 273"/>
                <a:gd name="T76" fmla="*/ 63 w 347"/>
                <a:gd name="T77" fmla="*/ 1 h 273"/>
                <a:gd name="T78" fmla="*/ 52 w 347"/>
                <a:gd name="T79" fmla="*/ 0 h 273"/>
                <a:gd name="T80" fmla="*/ 37 w 347"/>
                <a:gd name="T81" fmla="*/ 11 h 273"/>
                <a:gd name="T82" fmla="*/ 35 w 347"/>
                <a:gd name="T83" fmla="*/ 22 h 273"/>
                <a:gd name="T84" fmla="*/ 39 w 347"/>
                <a:gd name="T85" fmla="*/ 36 h 273"/>
                <a:gd name="T86" fmla="*/ 39 w 347"/>
                <a:gd name="T87" fmla="*/ 44 h 273"/>
                <a:gd name="T88" fmla="*/ 32 w 347"/>
                <a:gd name="T89" fmla="*/ 55 h 273"/>
                <a:gd name="T90" fmla="*/ 19 w 347"/>
                <a:gd name="T91" fmla="*/ 64 h 273"/>
                <a:gd name="T92" fmla="*/ 0 w 347"/>
                <a:gd name="T93" fmla="*/ 72 h 273"/>
                <a:gd name="T94" fmla="*/ 13 w 347"/>
                <a:gd name="T95" fmla="*/ 101 h 273"/>
                <a:gd name="T96" fmla="*/ 30 w 347"/>
                <a:gd name="T97" fmla="*/ 131 h 273"/>
                <a:gd name="T98" fmla="*/ 72 w 347"/>
                <a:gd name="T99" fmla="*/ 138 h 273"/>
                <a:gd name="T100" fmla="*/ 83 w 347"/>
                <a:gd name="T101" fmla="*/ 158 h 273"/>
                <a:gd name="T102" fmla="*/ 92 w 347"/>
                <a:gd name="T103" fmla="*/ 171 h 273"/>
                <a:gd name="T104" fmla="*/ 104 w 347"/>
                <a:gd name="T105" fmla="*/ 182 h 273"/>
                <a:gd name="T106" fmla="*/ 124 w 347"/>
                <a:gd name="T107" fmla="*/ 194 h 27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7"/>
                <a:gd name="T163" fmla="*/ 0 h 273"/>
                <a:gd name="T164" fmla="*/ 347 w 347"/>
                <a:gd name="T165" fmla="*/ 273 h 27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7" h="273">
                  <a:moveTo>
                    <a:pt x="124" y="194"/>
                  </a:moveTo>
                  <a:lnTo>
                    <a:pt x="142" y="186"/>
                  </a:lnTo>
                  <a:lnTo>
                    <a:pt x="152" y="182"/>
                  </a:lnTo>
                  <a:lnTo>
                    <a:pt x="153" y="197"/>
                  </a:lnTo>
                  <a:lnTo>
                    <a:pt x="153" y="218"/>
                  </a:lnTo>
                  <a:lnTo>
                    <a:pt x="159" y="221"/>
                  </a:lnTo>
                  <a:lnTo>
                    <a:pt x="166" y="223"/>
                  </a:lnTo>
                  <a:lnTo>
                    <a:pt x="174" y="223"/>
                  </a:lnTo>
                  <a:lnTo>
                    <a:pt x="179" y="225"/>
                  </a:lnTo>
                  <a:lnTo>
                    <a:pt x="189" y="230"/>
                  </a:lnTo>
                  <a:lnTo>
                    <a:pt x="209" y="236"/>
                  </a:lnTo>
                  <a:lnTo>
                    <a:pt x="216" y="242"/>
                  </a:lnTo>
                  <a:lnTo>
                    <a:pt x="222" y="249"/>
                  </a:lnTo>
                  <a:lnTo>
                    <a:pt x="233" y="247"/>
                  </a:lnTo>
                  <a:lnTo>
                    <a:pt x="242" y="247"/>
                  </a:lnTo>
                  <a:lnTo>
                    <a:pt x="244" y="260"/>
                  </a:lnTo>
                  <a:lnTo>
                    <a:pt x="246" y="273"/>
                  </a:lnTo>
                  <a:lnTo>
                    <a:pt x="264" y="258"/>
                  </a:lnTo>
                  <a:lnTo>
                    <a:pt x="283" y="243"/>
                  </a:lnTo>
                  <a:lnTo>
                    <a:pt x="285" y="230"/>
                  </a:lnTo>
                  <a:lnTo>
                    <a:pt x="286" y="218"/>
                  </a:lnTo>
                  <a:lnTo>
                    <a:pt x="294" y="206"/>
                  </a:lnTo>
                  <a:lnTo>
                    <a:pt x="298" y="197"/>
                  </a:lnTo>
                  <a:lnTo>
                    <a:pt x="299" y="192"/>
                  </a:lnTo>
                  <a:lnTo>
                    <a:pt x="301" y="186"/>
                  </a:lnTo>
                  <a:lnTo>
                    <a:pt x="303" y="182"/>
                  </a:lnTo>
                  <a:lnTo>
                    <a:pt x="307" y="177"/>
                  </a:lnTo>
                  <a:lnTo>
                    <a:pt x="316" y="171"/>
                  </a:lnTo>
                  <a:lnTo>
                    <a:pt x="327" y="164"/>
                  </a:lnTo>
                  <a:lnTo>
                    <a:pt x="333" y="160"/>
                  </a:lnTo>
                  <a:lnTo>
                    <a:pt x="340" y="157"/>
                  </a:lnTo>
                  <a:lnTo>
                    <a:pt x="344" y="144"/>
                  </a:lnTo>
                  <a:lnTo>
                    <a:pt x="347" y="131"/>
                  </a:lnTo>
                  <a:lnTo>
                    <a:pt x="342" y="123"/>
                  </a:lnTo>
                  <a:lnTo>
                    <a:pt x="336" y="120"/>
                  </a:lnTo>
                  <a:lnTo>
                    <a:pt x="327" y="118"/>
                  </a:lnTo>
                  <a:lnTo>
                    <a:pt x="316" y="118"/>
                  </a:lnTo>
                  <a:lnTo>
                    <a:pt x="310" y="120"/>
                  </a:lnTo>
                  <a:lnTo>
                    <a:pt x="305" y="118"/>
                  </a:lnTo>
                  <a:lnTo>
                    <a:pt x="298" y="103"/>
                  </a:lnTo>
                  <a:lnTo>
                    <a:pt x="288" y="90"/>
                  </a:lnTo>
                  <a:lnTo>
                    <a:pt x="275" y="86"/>
                  </a:lnTo>
                  <a:lnTo>
                    <a:pt x="268" y="88"/>
                  </a:lnTo>
                  <a:lnTo>
                    <a:pt x="259" y="83"/>
                  </a:lnTo>
                  <a:lnTo>
                    <a:pt x="255" y="79"/>
                  </a:lnTo>
                  <a:lnTo>
                    <a:pt x="248" y="79"/>
                  </a:lnTo>
                  <a:lnTo>
                    <a:pt x="242" y="79"/>
                  </a:lnTo>
                  <a:lnTo>
                    <a:pt x="240" y="70"/>
                  </a:lnTo>
                  <a:lnTo>
                    <a:pt x="240" y="62"/>
                  </a:lnTo>
                  <a:lnTo>
                    <a:pt x="242" y="53"/>
                  </a:lnTo>
                  <a:lnTo>
                    <a:pt x="244" y="46"/>
                  </a:lnTo>
                  <a:lnTo>
                    <a:pt x="237" y="44"/>
                  </a:lnTo>
                  <a:lnTo>
                    <a:pt x="231" y="44"/>
                  </a:lnTo>
                  <a:lnTo>
                    <a:pt x="218" y="31"/>
                  </a:lnTo>
                  <a:lnTo>
                    <a:pt x="207" y="24"/>
                  </a:lnTo>
                  <a:lnTo>
                    <a:pt x="205" y="27"/>
                  </a:lnTo>
                  <a:lnTo>
                    <a:pt x="207" y="33"/>
                  </a:lnTo>
                  <a:lnTo>
                    <a:pt x="207" y="36"/>
                  </a:lnTo>
                  <a:lnTo>
                    <a:pt x="207" y="38"/>
                  </a:lnTo>
                  <a:lnTo>
                    <a:pt x="205" y="42"/>
                  </a:lnTo>
                  <a:lnTo>
                    <a:pt x="201" y="44"/>
                  </a:lnTo>
                  <a:lnTo>
                    <a:pt x="198" y="48"/>
                  </a:lnTo>
                  <a:lnTo>
                    <a:pt x="192" y="49"/>
                  </a:lnTo>
                  <a:lnTo>
                    <a:pt x="185" y="51"/>
                  </a:lnTo>
                  <a:lnTo>
                    <a:pt x="177" y="51"/>
                  </a:lnTo>
                  <a:lnTo>
                    <a:pt x="166" y="44"/>
                  </a:lnTo>
                  <a:lnTo>
                    <a:pt x="155" y="35"/>
                  </a:lnTo>
                  <a:lnTo>
                    <a:pt x="142" y="35"/>
                  </a:lnTo>
                  <a:lnTo>
                    <a:pt x="128" y="36"/>
                  </a:lnTo>
                  <a:lnTo>
                    <a:pt x="115" y="29"/>
                  </a:lnTo>
                  <a:lnTo>
                    <a:pt x="102" y="20"/>
                  </a:lnTo>
                  <a:lnTo>
                    <a:pt x="89" y="20"/>
                  </a:lnTo>
                  <a:lnTo>
                    <a:pt x="78" y="14"/>
                  </a:lnTo>
                  <a:lnTo>
                    <a:pt x="70" y="7"/>
                  </a:lnTo>
                  <a:lnTo>
                    <a:pt x="63" y="1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3" y="5"/>
                  </a:lnTo>
                  <a:lnTo>
                    <a:pt x="37" y="11"/>
                  </a:lnTo>
                  <a:lnTo>
                    <a:pt x="35" y="16"/>
                  </a:lnTo>
                  <a:lnTo>
                    <a:pt x="35" y="22"/>
                  </a:lnTo>
                  <a:lnTo>
                    <a:pt x="37" y="29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5" y="49"/>
                  </a:lnTo>
                  <a:lnTo>
                    <a:pt x="32" y="55"/>
                  </a:lnTo>
                  <a:lnTo>
                    <a:pt x="26" y="60"/>
                  </a:lnTo>
                  <a:lnTo>
                    <a:pt x="19" y="64"/>
                  </a:lnTo>
                  <a:lnTo>
                    <a:pt x="9" y="68"/>
                  </a:lnTo>
                  <a:lnTo>
                    <a:pt x="0" y="72"/>
                  </a:lnTo>
                  <a:lnTo>
                    <a:pt x="8" y="86"/>
                  </a:lnTo>
                  <a:lnTo>
                    <a:pt x="13" y="101"/>
                  </a:lnTo>
                  <a:lnTo>
                    <a:pt x="20" y="116"/>
                  </a:lnTo>
                  <a:lnTo>
                    <a:pt x="30" y="131"/>
                  </a:lnTo>
                  <a:lnTo>
                    <a:pt x="59" y="138"/>
                  </a:lnTo>
                  <a:lnTo>
                    <a:pt x="72" y="138"/>
                  </a:lnTo>
                  <a:lnTo>
                    <a:pt x="78" y="145"/>
                  </a:lnTo>
                  <a:lnTo>
                    <a:pt x="83" y="158"/>
                  </a:lnTo>
                  <a:lnTo>
                    <a:pt x="87" y="164"/>
                  </a:lnTo>
                  <a:lnTo>
                    <a:pt x="92" y="171"/>
                  </a:lnTo>
                  <a:lnTo>
                    <a:pt x="98" y="177"/>
                  </a:lnTo>
                  <a:lnTo>
                    <a:pt x="104" y="182"/>
                  </a:lnTo>
                  <a:lnTo>
                    <a:pt x="115" y="190"/>
                  </a:lnTo>
                  <a:lnTo>
                    <a:pt x="124" y="19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2" name="Freeform 88"/>
            <p:cNvSpPr>
              <a:spLocks/>
            </p:cNvSpPr>
            <p:nvPr/>
          </p:nvSpPr>
          <p:spPr bwMode="auto">
            <a:xfrm>
              <a:off x="3879144" y="2282848"/>
              <a:ext cx="112707" cy="119083"/>
            </a:xfrm>
            <a:custGeom>
              <a:avLst/>
              <a:gdLst>
                <a:gd name="T0" fmla="*/ 170 w 216"/>
                <a:gd name="T1" fmla="*/ 223 h 234"/>
                <a:gd name="T2" fmla="*/ 185 w 216"/>
                <a:gd name="T3" fmla="*/ 212 h 234"/>
                <a:gd name="T4" fmla="*/ 198 w 216"/>
                <a:gd name="T5" fmla="*/ 207 h 234"/>
                <a:gd name="T6" fmla="*/ 203 w 216"/>
                <a:gd name="T7" fmla="*/ 175 h 234"/>
                <a:gd name="T8" fmla="*/ 209 w 216"/>
                <a:gd name="T9" fmla="*/ 144 h 234"/>
                <a:gd name="T10" fmla="*/ 216 w 216"/>
                <a:gd name="T11" fmla="*/ 136 h 234"/>
                <a:gd name="T12" fmla="*/ 212 w 216"/>
                <a:gd name="T13" fmla="*/ 129 h 234"/>
                <a:gd name="T14" fmla="*/ 194 w 216"/>
                <a:gd name="T15" fmla="*/ 120 h 234"/>
                <a:gd name="T16" fmla="*/ 174 w 216"/>
                <a:gd name="T17" fmla="*/ 101 h 234"/>
                <a:gd name="T18" fmla="*/ 166 w 216"/>
                <a:gd name="T19" fmla="*/ 85 h 234"/>
                <a:gd name="T20" fmla="*/ 161 w 216"/>
                <a:gd name="T21" fmla="*/ 86 h 234"/>
                <a:gd name="T22" fmla="*/ 155 w 216"/>
                <a:gd name="T23" fmla="*/ 90 h 234"/>
                <a:gd name="T24" fmla="*/ 142 w 216"/>
                <a:gd name="T25" fmla="*/ 88 h 234"/>
                <a:gd name="T26" fmla="*/ 133 w 216"/>
                <a:gd name="T27" fmla="*/ 75 h 234"/>
                <a:gd name="T28" fmla="*/ 131 w 216"/>
                <a:gd name="T29" fmla="*/ 62 h 234"/>
                <a:gd name="T30" fmla="*/ 127 w 216"/>
                <a:gd name="T31" fmla="*/ 48 h 234"/>
                <a:gd name="T32" fmla="*/ 107 w 216"/>
                <a:gd name="T33" fmla="*/ 31 h 234"/>
                <a:gd name="T34" fmla="*/ 87 w 216"/>
                <a:gd name="T35" fmla="*/ 14 h 234"/>
                <a:gd name="T36" fmla="*/ 76 w 216"/>
                <a:gd name="T37" fmla="*/ 3 h 234"/>
                <a:gd name="T38" fmla="*/ 59 w 216"/>
                <a:gd name="T39" fmla="*/ 1 h 234"/>
                <a:gd name="T40" fmla="*/ 53 w 216"/>
                <a:gd name="T41" fmla="*/ 13 h 234"/>
                <a:gd name="T42" fmla="*/ 55 w 216"/>
                <a:gd name="T43" fmla="*/ 33 h 234"/>
                <a:gd name="T44" fmla="*/ 52 w 216"/>
                <a:gd name="T45" fmla="*/ 51 h 234"/>
                <a:gd name="T46" fmla="*/ 44 w 216"/>
                <a:gd name="T47" fmla="*/ 53 h 234"/>
                <a:gd name="T48" fmla="*/ 41 w 216"/>
                <a:gd name="T49" fmla="*/ 61 h 234"/>
                <a:gd name="T50" fmla="*/ 39 w 216"/>
                <a:gd name="T51" fmla="*/ 79 h 234"/>
                <a:gd name="T52" fmla="*/ 39 w 216"/>
                <a:gd name="T53" fmla="*/ 98 h 234"/>
                <a:gd name="T54" fmla="*/ 15 w 216"/>
                <a:gd name="T55" fmla="*/ 105 h 234"/>
                <a:gd name="T56" fmla="*/ 0 w 216"/>
                <a:gd name="T57" fmla="*/ 107 h 234"/>
                <a:gd name="T58" fmla="*/ 5 w 216"/>
                <a:gd name="T59" fmla="*/ 122 h 234"/>
                <a:gd name="T60" fmla="*/ 17 w 216"/>
                <a:gd name="T61" fmla="*/ 140 h 234"/>
                <a:gd name="T62" fmla="*/ 35 w 216"/>
                <a:gd name="T63" fmla="*/ 147 h 234"/>
                <a:gd name="T64" fmla="*/ 46 w 216"/>
                <a:gd name="T65" fmla="*/ 157 h 234"/>
                <a:gd name="T66" fmla="*/ 57 w 216"/>
                <a:gd name="T67" fmla="*/ 160 h 234"/>
                <a:gd name="T68" fmla="*/ 70 w 216"/>
                <a:gd name="T69" fmla="*/ 173 h 234"/>
                <a:gd name="T70" fmla="*/ 87 w 216"/>
                <a:gd name="T71" fmla="*/ 188 h 234"/>
                <a:gd name="T72" fmla="*/ 107 w 216"/>
                <a:gd name="T73" fmla="*/ 203 h 234"/>
                <a:gd name="T74" fmla="*/ 129 w 216"/>
                <a:gd name="T75" fmla="*/ 208 h 234"/>
                <a:gd name="T76" fmla="*/ 150 w 216"/>
                <a:gd name="T77" fmla="*/ 212 h 234"/>
                <a:gd name="T78" fmla="*/ 159 w 216"/>
                <a:gd name="T79" fmla="*/ 225 h 23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16"/>
                <a:gd name="T121" fmla="*/ 0 h 234"/>
                <a:gd name="T122" fmla="*/ 216 w 216"/>
                <a:gd name="T123" fmla="*/ 234 h 23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16" h="234">
                  <a:moveTo>
                    <a:pt x="162" y="234"/>
                  </a:moveTo>
                  <a:lnTo>
                    <a:pt x="170" y="223"/>
                  </a:lnTo>
                  <a:lnTo>
                    <a:pt x="179" y="212"/>
                  </a:lnTo>
                  <a:lnTo>
                    <a:pt x="185" y="212"/>
                  </a:lnTo>
                  <a:lnTo>
                    <a:pt x="192" y="210"/>
                  </a:lnTo>
                  <a:lnTo>
                    <a:pt x="198" y="207"/>
                  </a:lnTo>
                  <a:lnTo>
                    <a:pt x="203" y="201"/>
                  </a:lnTo>
                  <a:lnTo>
                    <a:pt x="203" y="175"/>
                  </a:lnTo>
                  <a:lnTo>
                    <a:pt x="203" y="149"/>
                  </a:lnTo>
                  <a:lnTo>
                    <a:pt x="209" y="144"/>
                  </a:lnTo>
                  <a:lnTo>
                    <a:pt x="216" y="140"/>
                  </a:lnTo>
                  <a:lnTo>
                    <a:pt x="216" y="136"/>
                  </a:lnTo>
                  <a:lnTo>
                    <a:pt x="216" y="133"/>
                  </a:lnTo>
                  <a:lnTo>
                    <a:pt x="212" y="129"/>
                  </a:lnTo>
                  <a:lnTo>
                    <a:pt x="209" y="123"/>
                  </a:lnTo>
                  <a:lnTo>
                    <a:pt x="194" y="120"/>
                  </a:lnTo>
                  <a:lnTo>
                    <a:pt x="179" y="118"/>
                  </a:lnTo>
                  <a:lnTo>
                    <a:pt x="174" y="101"/>
                  </a:lnTo>
                  <a:lnTo>
                    <a:pt x="172" y="86"/>
                  </a:lnTo>
                  <a:lnTo>
                    <a:pt x="166" y="85"/>
                  </a:lnTo>
                  <a:lnTo>
                    <a:pt x="162" y="85"/>
                  </a:lnTo>
                  <a:lnTo>
                    <a:pt x="161" y="86"/>
                  </a:lnTo>
                  <a:lnTo>
                    <a:pt x="159" y="86"/>
                  </a:lnTo>
                  <a:lnTo>
                    <a:pt x="155" y="90"/>
                  </a:lnTo>
                  <a:lnTo>
                    <a:pt x="151" y="92"/>
                  </a:lnTo>
                  <a:lnTo>
                    <a:pt x="142" y="88"/>
                  </a:lnTo>
                  <a:lnTo>
                    <a:pt x="137" y="83"/>
                  </a:lnTo>
                  <a:lnTo>
                    <a:pt x="133" y="75"/>
                  </a:lnTo>
                  <a:lnTo>
                    <a:pt x="131" y="68"/>
                  </a:lnTo>
                  <a:lnTo>
                    <a:pt x="131" y="62"/>
                  </a:lnTo>
                  <a:lnTo>
                    <a:pt x="129" y="55"/>
                  </a:lnTo>
                  <a:lnTo>
                    <a:pt x="127" y="48"/>
                  </a:lnTo>
                  <a:lnTo>
                    <a:pt x="124" y="42"/>
                  </a:lnTo>
                  <a:lnTo>
                    <a:pt x="107" y="31"/>
                  </a:lnTo>
                  <a:lnTo>
                    <a:pt x="90" y="22"/>
                  </a:lnTo>
                  <a:lnTo>
                    <a:pt x="87" y="14"/>
                  </a:lnTo>
                  <a:lnTo>
                    <a:pt x="81" y="9"/>
                  </a:lnTo>
                  <a:lnTo>
                    <a:pt x="76" y="3"/>
                  </a:lnTo>
                  <a:lnTo>
                    <a:pt x="66" y="0"/>
                  </a:lnTo>
                  <a:lnTo>
                    <a:pt x="59" y="1"/>
                  </a:lnTo>
                  <a:lnTo>
                    <a:pt x="55" y="5"/>
                  </a:lnTo>
                  <a:lnTo>
                    <a:pt x="53" y="13"/>
                  </a:lnTo>
                  <a:lnTo>
                    <a:pt x="53" y="18"/>
                  </a:lnTo>
                  <a:lnTo>
                    <a:pt x="55" y="33"/>
                  </a:lnTo>
                  <a:lnTo>
                    <a:pt x="55" y="48"/>
                  </a:lnTo>
                  <a:lnTo>
                    <a:pt x="52" y="51"/>
                  </a:lnTo>
                  <a:lnTo>
                    <a:pt x="46" y="51"/>
                  </a:lnTo>
                  <a:lnTo>
                    <a:pt x="44" y="53"/>
                  </a:lnTo>
                  <a:lnTo>
                    <a:pt x="42" y="57"/>
                  </a:lnTo>
                  <a:lnTo>
                    <a:pt x="41" y="61"/>
                  </a:lnTo>
                  <a:lnTo>
                    <a:pt x="39" y="70"/>
                  </a:lnTo>
                  <a:lnTo>
                    <a:pt x="39" y="79"/>
                  </a:lnTo>
                  <a:lnTo>
                    <a:pt x="41" y="88"/>
                  </a:lnTo>
                  <a:lnTo>
                    <a:pt x="39" y="98"/>
                  </a:lnTo>
                  <a:lnTo>
                    <a:pt x="33" y="103"/>
                  </a:lnTo>
                  <a:lnTo>
                    <a:pt x="15" y="105"/>
                  </a:lnTo>
                  <a:lnTo>
                    <a:pt x="0" y="107"/>
                  </a:lnTo>
                  <a:lnTo>
                    <a:pt x="5" y="122"/>
                  </a:lnTo>
                  <a:lnTo>
                    <a:pt x="7" y="138"/>
                  </a:lnTo>
                  <a:lnTo>
                    <a:pt x="17" y="140"/>
                  </a:lnTo>
                  <a:lnTo>
                    <a:pt x="28" y="142"/>
                  </a:lnTo>
                  <a:lnTo>
                    <a:pt x="35" y="147"/>
                  </a:lnTo>
                  <a:lnTo>
                    <a:pt x="42" y="153"/>
                  </a:lnTo>
                  <a:lnTo>
                    <a:pt x="46" y="157"/>
                  </a:lnTo>
                  <a:lnTo>
                    <a:pt x="50" y="159"/>
                  </a:lnTo>
                  <a:lnTo>
                    <a:pt x="57" y="160"/>
                  </a:lnTo>
                  <a:lnTo>
                    <a:pt x="63" y="160"/>
                  </a:lnTo>
                  <a:lnTo>
                    <a:pt x="70" y="173"/>
                  </a:lnTo>
                  <a:lnTo>
                    <a:pt x="77" y="184"/>
                  </a:lnTo>
                  <a:lnTo>
                    <a:pt x="87" y="188"/>
                  </a:lnTo>
                  <a:lnTo>
                    <a:pt x="100" y="190"/>
                  </a:lnTo>
                  <a:lnTo>
                    <a:pt x="107" y="203"/>
                  </a:lnTo>
                  <a:lnTo>
                    <a:pt x="114" y="212"/>
                  </a:lnTo>
                  <a:lnTo>
                    <a:pt x="129" y="208"/>
                  </a:lnTo>
                  <a:lnTo>
                    <a:pt x="144" y="207"/>
                  </a:lnTo>
                  <a:lnTo>
                    <a:pt x="150" y="212"/>
                  </a:lnTo>
                  <a:lnTo>
                    <a:pt x="155" y="218"/>
                  </a:lnTo>
                  <a:lnTo>
                    <a:pt x="159" y="225"/>
                  </a:lnTo>
                  <a:lnTo>
                    <a:pt x="162" y="23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3" name="Freeform 89"/>
            <p:cNvSpPr>
              <a:spLocks/>
            </p:cNvSpPr>
            <p:nvPr/>
          </p:nvSpPr>
          <p:spPr bwMode="auto">
            <a:xfrm>
              <a:off x="3963674" y="2340863"/>
              <a:ext cx="117925" cy="84987"/>
            </a:xfrm>
            <a:custGeom>
              <a:avLst/>
              <a:gdLst>
                <a:gd name="T0" fmla="*/ 126 w 226"/>
                <a:gd name="T1" fmla="*/ 17 h 167"/>
                <a:gd name="T2" fmla="*/ 122 w 226"/>
                <a:gd name="T3" fmla="*/ 4 h 167"/>
                <a:gd name="T4" fmla="*/ 111 w 226"/>
                <a:gd name="T5" fmla="*/ 0 h 167"/>
                <a:gd name="T6" fmla="*/ 104 w 226"/>
                <a:gd name="T7" fmla="*/ 2 h 167"/>
                <a:gd name="T8" fmla="*/ 95 w 226"/>
                <a:gd name="T9" fmla="*/ 13 h 167"/>
                <a:gd name="T10" fmla="*/ 84 w 226"/>
                <a:gd name="T11" fmla="*/ 22 h 167"/>
                <a:gd name="T12" fmla="*/ 61 w 226"/>
                <a:gd name="T13" fmla="*/ 17 h 167"/>
                <a:gd name="T14" fmla="*/ 54 w 226"/>
                <a:gd name="T15" fmla="*/ 21 h 167"/>
                <a:gd name="T16" fmla="*/ 47 w 226"/>
                <a:gd name="T17" fmla="*/ 30 h 167"/>
                <a:gd name="T18" fmla="*/ 41 w 226"/>
                <a:gd name="T19" fmla="*/ 61 h 167"/>
                <a:gd name="T20" fmla="*/ 36 w 226"/>
                <a:gd name="T21" fmla="*/ 93 h 167"/>
                <a:gd name="T22" fmla="*/ 23 w 226"/>
                <a:gd name="T23" fmla="*/ 98 h 167"/>
                <a:gd name="T24" fmla="*/ 8 w 226"/>
                <a:gd name="T25" fmla="*/ 109 h 167"/>
                <a:gd name="T26" fmla="*/ 2 w 226"/>
                <a:gd name="T27" fmla="*/ 128 h 167"/>
                <a:gd name="T28" fmla="*/ 10 w 226"/>
                <a:gd name="T29" fmla="*/ 139 h 167"/>
                <a:gd name="T30" fmla="*/ 24 w 226"/>
                <a:gd name="T31" fmla="*/ 142 h 167"/>
                <a:gd name="T32" fmla="*/ 39 w 226"/>
                <a:gd name="T33" fmla="*/ 148 h 167"/>
                <a:gd name="T34" fmla="*/ 54 w 226"/>
                <a:gd name="T35" fmla="*/ 159 h 167"/>
                <a:gd name="T36" fmla="*/ 63 w 226"/>
                <a:gd name="T37" fmla="*/ 163 h 167"/>
                <a:gd name="T38" fmla="*/ 69 w 226"/>
                <a:gd name="T39" fmla="*/ 163 h 167"/>
                <a:gd name="T40" fmla="*/ 72 w 226"/>
                <a:gd name="T41" fmla="*/ 155 h 167"/>
                <a:gd name="T42" fmla="*/ 76 w 226"/>
                <a:gd name="T43" fmla="*/ 130 h 167"/>
                <a:gd name="T44" fmla="*/ 87 w 226"/>
                <a:gd name="T45" fmla="*/ 111 h 167"/>
                <a:gd name="T46" fmla="*/ 97 w 226"/>
                <a:gd name="T47" fmla="*/ 111 h 167"/>
                <a:gd name="T48" fmla="*/ 104 w 226"/>
                <a:gd name="T49" fmla="*/ 117 h 167"/>
                <a:gd name="T50" fmla="*/ 121 w 226"/>
                <a:gd name="T51" fmla="*/ 115 h 167"/>
                <a:gd name="T52" fmla="*/ 139 w 226"/>
                <a:gd name="T53" fmla="*/ 117 h 167"/>
                <a:gd name="T54" fmla="*/ 167 w 226"/>
                <a:gd name="T55" fmla="*/ 146 h 167"/>
                <a:gd name="T56" fmla="*/ 185 w 226"/>
                <a:gd name="T57" fmla="*/ 157 h 167"/>
                <a:gd name="T58" fmla="*/ 193 w 226"/>
                <a:gd name="T59" fmla="*/ 146 h 167"/>
                <a:gd name="T60" fmla="*/ 209 w 226"/>
                <a:gd name="T61" fmla="*/ 133 h 167"/>
                <a:gd name="T62" fmla="*/ 222 w 226"/>
                <a:gd name="T63" fmla="*/ 113 h 167"/>
                <a:gd name="T64" fmla="*/ 222 w 226"/>
                <a:gd name="T65" fmla="*/ 91 h 167"/>
                <a:gd name="T66" fmla="*/ 207 w 226"/>
                <a:gd name="T67" fmla="*/ 76 h 167"/>
                <a:gd name="T68" fmla="*/ 185 w 226"/>
                <a:gd name="T69" fmla="*/ 70 h 167"/>
                <a:gd name="T70" fmla="*/ 176 w 226"/>
                <a:gd name="T71" fmla="*/ 61 h 167"/>
                <a:gd name="T72" fmla="*/ 169 w 226"/>
                <a:gd name="T73" fmla="*/ 57 h 167"/>
                <a:gd name="T74" fmla="*/ 157 w 226"/>
                <a:gd name="T75" fmla="*/ 57 h 167"/>
                <a:gd name="T76" fmla="*/ 152 w 226"/>
                <a:gd name="T77" fmla="*/ 48 h 167"/>
                <a:gd name="T78" fmla="*/ 139 w 226"/>
                <a:gd name="T79" fmla="*/ 39 h 167"/>
                <a:gd name="T80" fmla="*/ 130 w 226"/>
                <a:gd name="T81" fmla="*/ 33 h 167"/>
                <a:gd name="T82" fmla="*/ 128 w 226"/>
                <a:gd name="T83" fmla="*/ 28 h 16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6"/>
                <a:gd name="T127" fmla="*/ 0 h 167"/>
                <a:gd name="T128" fmla="*/ 226 w 226"/>
                <a:gd name="T129" fmla="*/ 167 h 16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6" h="167">
                  <a:moveTo>
                    <a:pt x="128" y="24"/>
                  </a:moveTo>
                  <a:lnTo>
                    <a:pt x="126" y="17"/>
                  </a:lnTo>
                  <a:lnTo>
                    <a:pt x="126" y="11"/>
                  </a:lnTo>
                  <a:lnTo>
                    <a:pt x="122" y="4"/>
                  </a:lnTo>
                  <a:lnTo>
                    <a:pt x="119" y="0"/>
                  </a:lnTo>
                  <a:lnTo>
                    <a:pt x="111" y="0"/>
                  </a:lnTo>
                  <a:lnTo>
                    <a:pt x="108" y="0"/>
                  </a:lnTo>
                  <a:lnTo>
                    <a:pt x="104" y="2"/>
                  </a:lnTo>
                  <a:lnTo>
                    <a:pt x="100" y="6"/>
                  </a:lnTo>
                  <a:lnTo>
                    <a:pt x="95" y="13"/>
                  </a:lnTo>
                  <a:lnTo>
                    <a:pt x="91" y="21"/>
                  </a:lnTo>
                  <a:lnTo>
                    <a:pt x="84" y="22"/>
                  </a:lnTo>
                  <a:lnTo>
                    <a:pt x="72" y="21"/>
                  </a:lnTo>
                  <a:lnTo>
                    <a:pt x="61" y="17"/>
                  </a:lnTo>
                  <a:lnTo>
                    <a:pt x="50" y="13"/>
                  </a:lnTo>
                  <a:lnTo>
                    <a:pt x="54" y="21"/>
                  </a:lnTo>
                  <a:lnTo>
                    <a:pt x="54" y="26"/>
                  </a:lnTo>
                  <a:lnTo>
                    <a:pt x="47" y="30"/>
                  </a:lnTo>
                  <a:lnTo>
                    <a:pt x="41" y="35"/>
                  </a:lnTo>
                  <a:lnTo>
                    <a:pt x="41" y="61"/>
                  </a:lnTo>
                  <a:lnTo>
                    <a:pt x="41" y="87"/>
                  </a:lnTo>
                  <a:lnTo>
                    <a:pt x="36" y="93"/>
                  </a:lnTo>
                  <a:lnTo>
                    <a:pt x="30" y="96"/>
                  </a:lnTo>
                  <a:lnTo>
                    <a:pt x="23" y="98"/>
                  </a:lnTo>
                  <a:lnTo>
                    <a:pt x="17" y="98"/>
                  </a:lnTo>
                  <a:lnTo>
                    <a:pt x="8" y="109"/>
                  </a:lnTo>
                  <a:lnTo>
                    <a:pt x="0" y="120"/>
                  </a:lnTo>
                  <a:lnTo>
                    <a:pt x="2" y="128"/>
                  </a:lnTo>
                  <a:lnTo>
                    <a:pt x="6" y="133"/>
                  </a:lnTo>
                  <a:lnTo>
                    <a:pt x="10" y="139"/>
                  </a:lnTo>
                  <a:lnTo>
                    <a:pt x="15" y="142"/>
                  </a:lnTo>
                  <a:lnTo>
                    <a:pt x="24" y="142"/>
                  </a:lnTo>
                  <a:lnTo>
                    <a:pt x="34" y="142"/>
                  </a:lnTo>
                  <a:lnTo>
                    <a:pt x="39" y="148"/>
                  </a:lnTo>
                  <a:lnTo>
                    <a:pt x="45" y="157"/>
                  </a:lnTo>
                  <a:lnTo>
                    <a:pt x="54" y="159"/>
                  </a:lnTo>
                  <a:lnTo>
                    <a:pt x="61" y="161"/>
                  </a:lnTo>
                  <a:lnTo>
                    <a:pt x="63" y="163"/>
                  </a:lnTo>
                  <a:lnTo>
                    <a:pt x="65" y="167"/>
                  </a:lnTo>
                  <a:lnTo>
                    <a:pt x="69" y="163"/>
                  </a:lnTo>
                  <a:lnTo>
                    <a:pt x="72" y="159"/>
                  </a:lnTo>
                  <a:lnTo>
                    <a:pt x="72" y="155"/>
                  </a:lnTo>
                  <a:lnTo>
                    <a:pt x="72" y="152"/>
                  </a:lnTo>
                  <a:lnTo>
                    <a:pt x="76" y="130"/>
                  </a:lnTo>
                  <a:lnTo>
                    <a:pt x="80" y="113"/>
                  </a:lnTo>
                  <a:lnTo>
                    <a:pt x="87" y="111"/>
                  </a:lnTo>
                  <a:lnTo>
                    <a:pt x="93" y="111"/>
                  </a:lnTo>
                  <a:lnTo>
                    <a:pt x="97" y="111"/>
                  </a:lnTo>
                  <a:lnTo>
                    <a:pt x="98" y="113"/>
                  </a:lnTo>
                  <a:lnTo>
                    <a:pt x="104" y="117"/>
                  </a:lnTo>
                  <a:lnTo>
                    <a:pt x="111" y="118"/>
                  </a:lnTo>
                  <a:lnTo>
                    <a:pt x="121" y="115"/>
                  </a:lnTo>
                  <a:lnTo>
                    <a:pt x="130" y="111"/>
                  </a:lnTo>
                  <a:lnTo>
                    <a:pt x="139" y="117"/>
                  </a:lnTo>
                  <a:lnTo>
                    <a:pt x="150" y="128"/>
                  </a:lnTo>
                  <a:lnTo>
                    <a:pt x="167" y="146"/>
                  </a:lnTo>
                  <a:lnTo>
                    <a:pt x="180" y="159"/>
                  </a:lnTo>
                  <a:lnTo>
                    <a:pt x="185" y="157"/>
                  </a:lnTo>
                  <a:lnTo>
                    <a:pt x="191" y="152"/>
                  </a:lnTo>
                  <a:lnTo>
                    <a:pt x="193" y="146"/>
                  </a:lnTo>
                  <a:lnTo>
                    <a:pt x="196" y="141"/>
                  </a:lnTo>
                  <a:lnTo>
                    <a:pt x="209" y="133"/>
                  </a:lnTo>
                  <a:lnTo>
                    <a:pt x="226" y="120"/>
                  </a:lnTo>
                  <a:lnTo>
                    <a:pt x="222" y="113"/>
                  </a:lnTo>
                  <a:lnTo>
                    <a:pt x="220" y="104"/>
                  </a:lnTo>
                  <a:lnTo>
                    <a:pt x="222" y="91"/>
                  </a:lnTo>
                  <a:lnTo>
                    <a:pt x="222" y="80"/>
                  </a:lnTo>
                  <a:lnTo>
                    <a:pt x="207" y="76"/>
                  </a:lnTo>
                  <a:lnTo>
                    <a:pt x="193" y="76"/>
                  </a:lnTo>
                  <a:lnTo>
                    <a:pt x="185" y="70"/>
                  </a:lnTo>
                  <a:lnTo>
                    <a:pt x="180" y="65"/>
                  </a:lnTo>
                  <a:lnTo>
                    <a:pt x="176" y="61"/>
                  </a:lnTo>
                  <a:lnTo>
                    <a:pt x="172" y="59"/>
                  </a:lnTo>
                  <a:lnTo>
                    <a:pt x="169" y="57"/>
                  </a:lnTo>
                  <a:lnTo>
                    <a:pt x="163" y="59"/>
                  </a:lnTo>
                  <a:lnTo>
                    <a:pt x="157" y="57"/>
                  </a:lnTo>
                  <a:lnTo>
                    <a:pt x="156" y="54"/>
                  </a:lnTo>
                  <a:lnTo>
                    <a:pt x="152" y="48"/>
                  </a:lnTo>
                  <a:lnTo>
                    <a:pt x="148" y="39"/>
                  </a:lnTo>
                  <a:lnTo>
                    <a:pt x="139" y="39"/>
                  </a:lnTo>
                  <a:lnTo>
                    <a:pt x="132" y="35"/>
                  </a:lnTo>
                  <a:lnTo>
                    <a:pt x="130" y="33"/>
                  </a:lnTo>
                  <a:lnTo>
                    <a:pt x="128" y="32"/>
                  </a:lnTo>
                  <a:lnTo>
                    <a:pt x="128" y="28"/>
                  </a:lnTo>
                  <a:lnTo>
                    <a:pt x="128" y="2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4" name="Freeform 90"/>
            <p:cNvSpPr>
              <a:spLocks/>
            </p:cNvSpPr>
            <p:nvPr/>
          </p:nvSpPr>
          <p:spPr bwMode="auto">
            <a:xfrm>
              <a:off x="3786787" y="2099134"/>
              <a:ext cx="98097" cy="69720"/>
            </a:xfrm>
            <a:custGeom>
              <a:avLst/>
              <a:gdLst>
                <a:gd name="T0" fmla="*/ 155 w 188"/>
                <a:gd name="T1" fmla="*/ 28 h 137"/>
                <a:gd name="T2" fmla="*/ 155 w 188"/>
                <a:gd name="T3" fmla="*/ 39 h 137"/>
                <a:gd name="T4" fmla="*/ 157 w 188"/>
                <a:gd name="T5" fmla="*/ 50 h 137"/>
                <a:gd name="T6" fmla="*/ 169 w 188"/>
                <a:gd name="T7" fmla="*/ 58 h 137"/>
                <a:gd name="T8" fmla="*/ 181 w 188"/>
                <a:gd name="T9" fmla="*/ 63 h 137"/>
                <a:gd name="T10" fmla="*/ 184 w 188"/>
                <a:gd name="T11" fmla="*/ 69 h 137"/>
                <a:gd name="T12" fmla="*/ 186 w 188"/>
                <a:gd name="T13" fmla="*/ 72 h 137"/>
                <a:gd name="T14" fmla="*/ 188 w 188"/>
                <a:gd name="T15" fmla="*/ 78 h 137"/>
                <a:gd name="T16" fmla="*/ 188 w 188"/>
                <a:gd name="T17" fmla="*/ 83 h 137"/>
                <a:gd name="T18" fmla="*/ 171 w 188"/>
                <a:gd name="T19" fmla="*/ 107 h 137"/>
                <a:gd name="T20" fmla="*/ 160 w 188"/>
                <a:gd name="T21" fmla="*/ 132 h 137"/>
                <a:gd name="T22" fmla="*/ 145 w 188"/>
                <a:gd name="T23" fmla="*/ 124 h 137"/>
                <a:gd name="T24" fmla="*/ 133 w 188"/>
                <a:gd name="T25" fmla="*/ 120 h 137"/>
                <a:gd name="T26" fmla="*/ 121 w 188"/>
                <a:gd name="T27" fmla="*/ 115 h 137"/>
                <a:gd name="T28" fmla="*/ 110 w 188"/>
                <a:gd name="T29" fmla="*/ 115 h 137"/>
                <a:gd name="T30" fmla="*/ 101 w 188"/>
                <a:gd name="T31" fmla="*/ 111 h 137"/>
                <a:gd name="T32" fmla="*/ 92 w 188"/>
                <a:gd name="T33" fmla="*/ 109 h 137"/>
                <a:gd name="T34" fmla="*/ 83 w 188"/>
                <a:gd name="T35" fmla="*/ 117 h 137"/>
                <a:gd name="T36" fmla="*/ 81 w 188"/>
                <a:gd name="T37" fmla="*/ 124 h 137"/>
                <a:gd name="T38" fmla="*/ 72 w 188"/>
                <a:gd name="T39" fmla="*/ 122 h 137"/>
                <a:gd name="T40" fmla="*/ 62 w 188"/>
                <a:gd name="T41" fmla="*/ 120 h 137"/>
                <a:gd name="T42" fmla="*/ 55 w 188"/>
                <a:gd name="T43" fmla="*/ 128 h 137"/>
                <a:gd name="T44" fmla="*/ 46 w 188"/>
                <a:gd name="T45" fmla="*/ 137 h 137"/>
                <a:gd name="T46" fmla="*/ 46 w 188"/>
                <a:gd name="T47" fmla="*/ 137 h 137"/>
                <a:gd name="T48" fmla="*/ 46 w 188"/>
                <a:gd name="T49" fmla="*/ 137 h 137"/>
                <a:gd name="T50" fmla="*/ 40 w 188"/>
                <a:gd name="T51" fmla="*/ 133 h 137"/>
                <a:gd name="T52" fmla="*/ 38 w 188"/>
                <a:gd name="T53" fmla="*/ 130 h 137"/>
                <a:gd name="T54" fmla="*/ 35 w 188"/>
                <a:gd name="T55" fmla="*/ 124 h 137"/>
                <a:gd name="T56" fmla="*/ 33 w 188"/>
                <a:gd name="T57" fmla="*/ 119 h 137"/>
                <a:gd name="T58" fmla="*/ 16 w 188"/>
                <a:gd name="T59" fmla="*/ 111 h 137"/>
                <a:gd name="T60" fmla="*/ 1 w 188"/>
                <a:gd name="T61" fmla="*/ 104 h 137"/>
                <a:gd name="T62" fmla="*/ 1 w 188"/>
                <a:gd name="T63" fmla="*/ 104 h 137"/>
                <a:gd name="T64" fmla="*/ 1 w 188"/>
                <a:gd name="T65" fmla="*/ 104 h 137"/>
                <a:gd name="T66" fmla="*/ 5 w 188"/>
                <a:gd name="T67" fmla="*/ 98 h 137"/>
                <a:gd name="T68" fmla="*/ 5 w 188"/>
                <a:gd name="T69" fmla="*/ 95 h 137"/>
                <a:gd name="T70" fmla="*/ 5 w 188"/>
                <a:gd name="T71" fmla="*/ 91 h 137"/>
                <a:gd name="T72" fmla="*/ 5 w 188"/>
                <a:gd name="T73" fmla="*/ 87 h 137"/>
                <a:gd name="T74" fmla="*/ 1 w 188"/>
                <a:gd name="T75" fmla="*/ 80 h 137"/>
                <a:gd name="T76" fmla="*/ 0 w 188"/>
                <a:gd name="T77" fmla="*/ 72 h 137"/>
                <a:gd name="T78" fmla="*/ 7 w 188"/>
                <a:gd name="T79" fmla="*/ 61 h 137"/>
                <a:gd name="T80" fmla="*/ 14 w 188"/>
                <a:gd name="T81" fmla="*/ 48 h 137"/>
                <a:gd name="T82" fmla="*/ 14 w 188"/>
                <a:gd name="T83" fmla="*/ 35 h 137"/>
                <a:gd name="T84" fmla="*/ 12 w 188"/>
                <a:gd name="T85" fmla="*/ 24 h 137"/>
                <a:gd name="T86" fmla="*/ 11 w 188"/>
                <a:gd name="T87" fmla="*/ 22 h 137"/>
                <a:gd name="T88" fmla="*/ 11 w 188"/>
                <a:gd name="T89" fmla="*/ 21 h 137"/>
                <a:gd name="T90" fmla="*/ 11 w 188"/>
                <a:gd name="T91" fmla="*/ 21 h 137"/>
                <a:gd name="T92" fmla="*/ 12 w 188"/>
                <a:gd name="T93" fmla="*/ 21 h 137"/>
                <a:gd name="T94" fmla="*/ 29 w 188"/>
                <a:gd name="T95" fmla="*/ 8 h 137"/>
                <a:gd name="T96" fmla="*/ 42 w 188"/>
                <a:gd name="T97" fmla="*/ 0 h 137"/>
                <a:gd name="T98" fmla="*/ 51 w 188"/>
                <a:gd name="T99" fmla="*/ 8 h 137"/>
                <a:gd name="T100" fmla="*/ 57 w 188"/>
                <a:gd name="T101" fmla="*/ 19 h 137"/>
                <a:gd name="T102" fmla="*/ 61 w 188"/>
                <a:gd name="T103" fmla="*/ 24 h 137"/>
                <a:gd name="T104" fmla="*/ 66 w 188"/>
                <a:gd name="T105" fmla="*/ 28 h 137"/>
                <a:gd name="T106" fmla="*/ 72 w 188"/>
                <a:gd name="T107" fmla="*/ 32 h 137"/>
                <a:gd name="T108" fmla="*/ 77 w 188"/>
                <a:gd name="T109" fmla="*/ 34 h 137"/>
                <a:gd name="T110" fmla="*/ 88 w 188"/>
                <a:gd name="T111" fmla="*/ 34 h 137"/>
                <a:gd name="T112" fmla="*/ 97 w 188"/>
                <a:gd name="T113" fmla="*/ 34 h 137"/>
                <a:gd name="T114" fmla="*/ 105 w 188"/>
                <a:gd name="T115" fmla="*/ 32 h 137"/>
                <a:gd name="T116" fmla="*/ 114 w 188"/>
                <a:gd name="T117" fmla="*/ 30 h 137"/>
                <a:gd name="T118" fmla="*/ 131 w 188"/>
                <a:gd name="T119" fmla="*/ 24 h 137"/>
                <a:gd name="T120" fmla="*/ 144 w 188"/>
                <a:gd name="T121" fmla="*/ 22 h 137"/>
                <a:gd name="T122" fmla="*/ 149 w 188"/>
                <a:gd name="T123" fmla="*/ 24 h 137"/>
                <a:gd name="T124" fmla="*/ 155 w 188"/>
                <a:gd name="T125" fmla="*/ 28 h 13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8"/>
                <a:gd name="T190" fmla="*/ 0 h 137"/>
                <a:gd name="T191" fmla="*/ 188 w 188"/>
                <a:gd name="T192" fmla="*/ 137 h 13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8" h="137">
                  <a:moveTo>
                    <a:pt x="155" y="28"/>
                  </a:moveTo>
                  <a:lnTo>
                    <a:pt x="155" y="39"/>
                  </a:lnTo>
                  <a:lnTo>
                    <a:pt x="157" y="50"/>
                  </a:lnTo>
                  <a:lnTo>
                    <a:pt x="169" y="58"/>
                  </a:lnTo>
                  <a:lnTo>
                    <a:pt x="181" y="63"/>
                  </a:lnTo>
                  <a:lnTo>
                    <a:pt x="184" y="69"/>
                  </a:lnTo>
                  <a:lnTo>
                    <a:pt x="186" y="72"/>
                  </a:lnTo>
                  <a:lnTo>
                    <a:pt x="188" y="78"/>
                  </a:lnTo>
                  <a:lnTo>
                    <a:pt x="188" y="83"/>
                  </a:lnTo>
                  <a:lnTo>
                    <a:pt x="171" y="107"/>
                  </a:lnTo>
                  <a:lnTo>
                    <a:pt x="160" y="132"/>
                  </a:lnTo>
                  <a:lnTo>
                    <a:pt x="145" y="124"/>
                  </a:lnTo>
                  <a:lnTo>
                    <a:pt x="133" y="120"/>
                  </a:lnTo>
                  <a:lnTo>
                    <a:pt x="121" y="115"/>
                  </a:lnTo>
                  <a:lnTo>
                    <a:pt x="110" y="115"/>
                  </a:lnTo>
                  <a:lnTo>
                    <a:pt x="101" y="111"/>
                  </a:lnTo>
                  <a:lnTo>
                    <a:pt x="92" y="109"/>
                  </a:lnTo>
                  <a:lnTo>
                    <a:pt x="83" y="117"/>
                  </a:lnTo>
                  <a:lnTo>
                    <a:pt x="81" y="124"/>
                  </a:lnTo>
                  <a:lnTo>
                    <a:pt x="72" y="122"/>
                  </a:lnTo>
                  <a:lnTo>
                    <a:pt x="62" y="120"/>
                  </a:lnTo>
                  <a:lnTo>
                    <a:pt x="55" y="128"/>
                  </a:lnTo>
                  <a:lnTo>
                    <a:pt x="46" y="137"/>
                  </a:lnTo>
                  <a:lnTo>
                    <a:pt x="40" y="133"/>
                  </a:lnTo>
                  <a:lnTo>
                    <a:pt x="38" y="130"/>
                  </a:lnTo>
                  <a:lnTo>
                    <a:pt x="35" y="124"/>
                  </a:lnTo>
                  <a:lnTo>
                    <a:pt x="33" y="119"/>
                  </a:lnTo>
                  <a:lnTo>
                    <a:pt x="16" y="111"/>
                  </a:lnTo>
                  <a:lnTo>
                    <a:pt x="1" y="104"/>
                  </a:lnTo>
                  <a:lnTo>
                    <a:pt x="5" y="98"/>
                  </a:lnTo>
                  <a:lnTo>
                    <a:pt x="5" y="95"/>
                  </a:lnTo>
                  <a:lnTo>
                    <a:pt x="5" y="91"/>
                  </a:lnTo>
                  <a:lnTo>
                    <a:pt x="5" y="87"/>
                  </a:lnTo>
                  <a:lnTo>
                    <a:pt x="1" y="80"/>
                  </a:lnTo>
                  <a:lnTo>
                    <a:pt x="0" y="72"/>
                  </a:lnTo>
                  <a:lnTo>
                    <a:pt x="7" y="61"/>
                  </a:lnTo>
                  <a:lnTo>
                    <a:pt x="14" y="48"/>
                  </a:lnTo>
                  <a:lnTo>
                    <a:pt x="14" y="35"/>
                  </a:lnTo>
                  <a:lnTo>
                    <a:pt x="12" y="24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29" y="8"/>
                  </a:lnTo>
                  <a:lnTo>
                    <a:pt x="42" y="0"/>
                  </a:lnTo>
                  <a:lnTo>
                    <a:pt x="51" y="8"/>
                  </a:lnTo>
                  <a:lnTo>
                    <a:pt x="57" y="19"/>
                  </a:lnTo>
                  <a:lnTo>
                    <a:pt x="61" y="24"/>
                  </a:lnTo>
                  <a:lnTo>
                    <a:pt x="66" y="28"/>
                  </a:lnTo>
                  <a:lnTo>
                    <a:pt x="72" y="32"/>
                  </a:lnTo>
                  <a:lnTo>
                    <a:pt x="77" y="34"/>
                  </a:lnTo>
                  <a:lnTo>
                    <a:pt x="88" y="34"/>
                  </a:lnTo>
                  <a:lnTo>
                    <a:pt x="97" y="34"/>
                  </a:lnTo>
                  <a:lnTo>
                    <a:pt x="105" y="32"/>
                  </a:lnTo>
                  <a:lnTo>
                    <a:pt x="114" y="30"/>
                  </a:lnTo>
                  <a:lnTo>
                    <a:pt x="131" y="24"/>
                  </a:lnTo>
                  <a:lnTo>
                    <a:pt x="144" y="22"/>
                  </a:lnTo>
                  <a:lnTo>
                    <a:pt x="149" y="24"/>
                  </a:lnTo>
                  <a:lnTo>
                    <a:pt x="155" y="2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5" name="Freeform 91"/>
            <p:cNvSpPr>
              <a:spLocks/>
            </p:cNvSpPr>
            <p:nvPr/>
          </p:nvSpPr>
          <p:spPr bwMode="auto">
            <a:xfrm>
              <a:off x="3808702" y="2154604"/>
              <a:ext cx="75138" cy="79389"/>
            </a:xfrm>
            <a:custGeom>
              <a:avLst/>
              <a:gdLst>
                <a:gd name="T0" fmla="*/ 28 w 144"/>
                <a:gd name="T1" fmla="*/ 124 h 156"/>
                <a:gd name="T2" fmla="*/ 28 w 144"/>
                <a:gd name="T3" fmla="*/ 124 h 156"/>
                <a:gd name="T4" fmla="*/ 28 w 144"/>
                <a:gd name="T5" fmla="*/ 124 h 156"/>
                <a:gd name="T6" fmla="*/ 31 w 144"/>
                <a:gd name="T7" fmla="*/ 132 h 156"/>
                <a:gd name="T8" fmla="*/ 37 w 144"/>
                <a:gd name="T9" fmla="*/ 141 h 156"/>
                <a:gd name="T10" fmla="*/ 43 w 144"/>
                <a:gd name="T11" fmla="*/ 146 h 156"/>
                <a:gd name="T12" fmla="*/ 46 w 144"/>
                <a:gd name="T13" fmla="*/ 150 h 156"/>
                <a:gd name="T14" fmla="*/ 52 w 144"/>
                <a:gd name="T15" fmla="*/ 154 h 156"/>
                <a:gd name="T16" fmla="*/ 55 w 144"/>
                <a:gd name="T17" fmla="*/ 156 h 156"/>
                <a:gd name="T18" fmla="*/ 70 w 144"/>
                <a:gd name="T19" fmla="*/ 146 h 156"/>
                <a:gd name="T20" fmla="*/ 100 w 144"/>
                <a:gd name="T21" fmla="*/ 135 h 156"/>
                <a:gd name="T22" fmla="*/ 105 w 144"/>
                <a:gd name="T23" fmla="*/ 130 h 156"/>
                <a:gd name="T24" fmla="*/ 111 w 144"/>
                <a:gd name="T25" fmla="*/ 124 h 156"/>
                <a:gd name="T26" fmla="*/ 122 w 144"/>
                <a:gd name="T27" fmla="*/ 106 h 156"/>
                <a:gd name="T28" fmla="*/ 129 w 144"/>
                <a:gd name="T29" fmla="*/ 83 h 156"/>
                <a:gd name="T30" fmla="*/ 135 w 144"/>
                <a:gd name="T31" fmla="*/ 78 h 156"/>
                <a:gd name="T32" fmla="*/ 140 w 144"/>
                <a:gd name="T33" fmla="*/ 71 h 156"/>
                <a:gd name="T34" fmla="*/ 142 w 144"/>
                <a:gd name="T35" fmla="*/ 63 h 156"/>
                <a:gd name="T36" fmla="*/ 144 w 144"/>
                <a:gd name="T37" fmla="*/ 56 h 156"/>
                <a:gd name="T38" fmla="*/ 139 w 144"/>
                <a:gd name="T39" fmla="*/ 47 h 156"/>
                <a:gd name="T40" fmla="*/ 133 w 144"/>
                <a:gd name="T41" fmla="*/ 37 h 156"/>
                <a:gd name="T42" fmla="*/ 126 w 144"/>
                <a:gd name="T43" fmla="*/ 28 h 156"/>
                <a:gd name="T44" fmla="*/ 118 w 144"/>
                <a:gd name="T45" fmla="*/ 21 h 156"/>
                <a:gd name="T46" fmla="*/ 118 w 144"/>
                <a:gd name="T47" fmla="*/ 21 h 156"/>
                <a:gd name="T48" fmla="*/ 118 w 144"/>
                <a:gd name="T49" fmla="*/ 23 h 156"/>
                <a:gd name="T50" fmla="*/ 103 w 144"/>
                <a:gd name="T51" fmla="*/ 15 h 156"/>
                <a:gd name="T52" fmla="*/ 91 w 144"/>
                <a:gd name="T53" fmla="*/ 11 h 156"/>
                <a:gd name="T54" fmla="*/ 79 w 144"/>
                <a:gd name="T55" fmla="*/ 6 h 156"/>
                <a:gd name="T56" fmla="*/ 68 w 144"/>
                <a:gd name="T57" fmla="*/ 6 h 156"/>
                <a:gd name="T58" fmla="*/ 59 w 144"/>
                <a:gd name="T59" fmla="*/ 2 h 156"/>
                <a:gd name="T60" fmla="*/ 50 w 144"/>
                <a:gd name="T61" fmla="*/ 0 h 156"/>
                <a:gd name="T62" fmla="*/ 41 w 144"/>
                <a:gd name="T63" fmla="*/ 8 h 156"/>
                <a:gd name="T64" fmla="*/ 39 w 144"/>
                <a:gd name="T65" fmla="*/ 15 h 156"/>
                <a:gd name="T66" fmla="*/ 30 w 144"/>
                <a:gd name="T67" fmla="*/ 13 h 156"/>
                <a:gd name="T68" fmla="*/ 20 w 144"/>
                <a:gd name="T69" fmla="*/ 11 h 156"/>
                <a:gd name="T70" fmla="*/ 13 w 144"/>
                <a:gd name="T71" fmla="*/ 19 h 156"/>
                <a:gd name="T72" fmla="*/ 4 w 144"/>
                <a:gd name="T73" fmla="*/ 28 h 156"/>
                <a:gd name="T74" fmla="*/ 2 w 144"/>
                <a:gd name="T75" fmla="*/ 47 h 156"/>
                <a:gd name="T76" fmla="*/ 0 w 144"/>
                <a:gd name="T77" fmla="*/ 65 h 156"/>
                <a:gd name="T78" fmla="*/ 4 w 144"/>
                <a:gd name="T79" fmla="*/ 74 h 156"/>
                <a:gd name="T80" fmla="*/ 7 w 144"/>
                <a:gd name="T81" fmla="*/ 82 h 156"/>
                <a:gd name="T82" fmla="*/ 13 w 144"/>
                <a:gd name="T83" fmla="*/ 89 h 156"/>
                <a:gd name="T84" fmla="*/ 20 w 144"/>
                <a:gd name="T85" fmla="*/ 96 h 156"/>
                <a:gd name="T86" fmla="*/ 24 w 144"/>
                <a:gd name="T87" fmla="*/ 109 h 156"/>
                <a:gd name="T88" fmla="*/ 28 w 144"/>
                <a:gd name="T89" fmla="*/ 124 h 1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156"/>
                <a:gd name="T137" fmla="*/ 144 w 144"/>
                <a:gd name="T138" fmla="*/ 156 h 1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156">
                  <a:moveTo>
                    <a:pt x="28" y="124"/>
                  </a:moveTo>
                  <a:lnTo>
                    <a:pt x="28" y="124"/>
                  </a:lnTo>
                  <a:lnTo>
                    <a:pt x="31" y="132"/>
                  </a:lnTo>
                  <a:lnTo>
                    <a:pt x="37" y="141"/>
                  </a:lnTo>
                  <a:lnTo>
                    <a:pt x="43" y="146"/>
                  </a:lnTo>
                  <a:lnTo>
                    <a:pt x="46" y="150"/>
                  </a:lnTo>
                  <a:lnTo>
                    <a:pt x="52" y="154"/>
                  </a:lnTo>
                  <a:lnTo>
                    <a:pt x="55" y="156"/>
                  </a:lnTo>
                  <a:lnTo>
                    <a:pt x="70" y="146"/>
                  </a:lnTo>
                  <a:lnTo>
                    <a:pt x="100" y="135"/>
                  </a:lnTo>
                  <a:lnTo>
                    <a:pt x="105" y="130"/>
                  </a:lnTo>
                  <a:lnTo>
                    <a:pt x="111" y="124"/>
                  </a:lnTo>
                  <a:lnTo>
                    <a:pt x="122" y="106"/>
                  </a:lnTo>
                  <a:lnTo>
                    <a:pt x="129" y="83"/>
                  </a:lnTo>
                  <a:lnTo>
                    <a:pt x="135" y="78"/>
                  </a:lnTo>
                  <a:lnTo>
                    <a:pt x="140" y="71"/>
                  </a:lnTo>
                  <a:lnTo>
                    <a:pt x="142" y="63"/>
                  </a:lnTo>
                  <a:lnTo>
                    <a:pt x="144" y="56"/>
                  </a:lnTo>
                  <a:lnTo>
                    <a:pt x="139" y="47"/>
                  </a:lnTo>
                  <a:lnTo>
                    <a:pt x="133" y="37"/>
                  </a:lnTo>
                  <a:lnTo>
                    <a:pt x="126" y="28"/>
                  </a:lnTo>
                  <a:lnTo>
                    <a:pt x="118" y="21"/>
                  </a:lnTo>
                  <a:lnTo>
                    <a:pt x="118" y="23"/>
                  </a:lnTo>
                  <a:lnTo>
                    <a:pt x="103" y="15"/>
                  </a:lnTo>
                  <a:lnTo>
                    <a:pt x="91" y="11"/>
                  </a:lnTo>
                  <a:lnTo>
                    <a:pt x="79" y="6"/>
                  </a:lnTo>
                  <a:lnTo>
                    <a:pt x="68" y="6"/>
                  </a:lnTo>
                  <a:lnTo>
                    <a:pt x="59" y="2"/>
                  </a:lnTo>
                  <a:lnTo>
                    <a:pt x="50" y="0"/>
                  </a:lnTo>
                  <a:lnTo>
                    <a:pt x="41" y="8"/>
                  </a:lnTo>
                  <a:lnTo>
                    <a:pt x="39" y="15"/>
                  </a:lnTo>
                  <a:lnTo>
                    <a:pt x="30" y="13"/>
                  </a:lnTo>
                  <a:lnTo>
                    <a:pt x="20" y="11"/>
                  </a:lnTo>
                  <a:lnTo>
                    <a:pt x="13" y="19"/>
                  </a:lnTo>
                  <a:lnTo>
                    <a:pt x="4" y="28"/>
                  </a:lnTo>
                  <a:lnTo>
                    <a:pt x="2" y="47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7" y="82"/>
                  </a:lnTo>
                  <a:lnTo>
                    <a:pt x="13" y="89"/>
                  </a:lnTo>
                  <a:lnTo>
                    <a:pt x="20" y="96"/>
                  </a:lnTo>
                  <a:lnTo>
                    <a:pt x="24" y="109"/>
                  </a:lnTo>
                  <a:lnTo>
                    <a:pt x="28" y="12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6" name="Freeform 92"/>
            <p:cNvSpPr>
              <a:spLocks/>
            </p:cNvSpPr>
            <p:nvPr/>
          </p:nvSpPr>
          <p:spPr bwMode="auto">
            <a:xfrm>
              <a:off x="3920366" y="2259947"/>
              <a:ext cx="105402" cy="92111"/>
            </a:xfrm>
            <a:custGeom>
              <a:avLst/>
              <a:gdLst>
                <a:gd name="T0" fmla="*/ 2 w 202"/>
                <a:gd name="T1" fmla="*/ 52 h 181"/>
                <a:gd name="T2" fmla="*/ 6 w 202"/>
                <a:gd name="T3" fmla="*/ 45 h 181"/>
                <a:gd name="T4" fmla="*/ 21 w 202"/>
                <a:gd name="T5" fmla="*/ 43 h 181"/>
                <a:gd name="T6" fmla="*/ 32 w 202"/>
                <a:gd name="T7" fmla="*/ 41 h 181"/>
                <a:gd name="T8" fmla="*/ 39 w 202"/>
                <a:gd name="T9" fmla="*/ 34 h 181"/>
                <a:gd name="T10" fmla="*/ 52 w 202"/>
                <a:gd name="T11" fmla="*/ 24 h 181"/>
                <a:gd name="T12" fmla="*/ 63 w 202"/>
                <a:gd name="T13" fmla="*/ 8 h 181"/>
                <a:gd name="T14" fmla="*/ 76 w 202"/>
                <a:gd name="T15" fmla="*/ 8 h 181"/>
                <a:gd name="T16" fmla="*/ 96 w 202"/>
                <a:gd name="T17" fmla="*/ 22 h 181"/>
                <a:gd name="T18" fmla="*/ 109 w 202"/>
                <a:gd name="T19" fmla="*/ 39 h 181"/>
                <a:gd name="T20" fmla="*/ 109 w 202"/>
                <a:gd name="T21" fmla="*/ 56 h 181"/>
                <a:gd name="T22" fmla="*/ 113 w 202"/>
                <a:gd name="T23" fmla="*/ 71 h 181"/>
                <a:gd name="T24" fmla="*/ 113 w 202"/>
                <a:gd name="T25" fmla="*/ 83 h 181"/>
                <a:gd name="T26" fmla="*/ 126 w 202"/>
                <a:gd name="T27" fmla="*/ 96 h 181"/>
                <a:gd name="T28" fmla="*/ 146 w 202"/>
                <a:gd name="T29" fmla="*/ 100 h 181"/>
                <a:gd name="T30" fmla="*/ 163 w 202"/>
                <a:gd name="T31" fmla="*/ 96 h 181"/>
                <a:gd name="T32" fmla="*/ 176 w 202"/>
                <a:gd name="T33" fmla="*/ 87 h 181"/>
                <a:gd name="T34" fmla="*/ 185 w 202"/>
                <a:gd name="T35" fmla="*/ 87 h 181"/>
                <a:gd name="T36" fmla="*/ 187 w 202"/>
                <a:gd name="T37" fmla="*/ 91 h 181"/>
                <a:gd name="T38" fmla="*/ 183 w 202"/>
                <a:gd name="T39" fmla="*/ 102 h 181"/>
                <a:gd name="T40" fmla="*/ 187 w 202"/>
                <a:gd name="T41" fmla="*/ 109 h 181"/>
                <a:gd name="T42" fmla="*/ 196 w 202"/>
                <a:gd name="T43" fmla="*/ 113 h 181"/>
                <a:gd name="T44" fmla="*/ 202 w 202"/>
                <a:gd name="T45" fmla="*/ 119 h 181"/>
                <a:gd name="T46" fmla="*/ 198 w 202"/>
                <a:gd name="T47" fmla="*/ 143 h 181"/>
                <a:gd name="T48" fmla="*/ 185 w 202"/>
                <a:gd name="T49" fmla="*/ 163 h 181"/>
                <a:gd name="T50" fmla="*/ 178 w 202"/>
                <a:gd name="T51" fmla="*/ 174 h 181"/>
                <a:gd name="T52" fmla="*/ 167 w 202"/>
                <a:gd name="T53" fmla="*/ 181 h 181"/>
                <a:gd name="T54" fmla="*/ 144 w 202"/>
                <a:gd name="T55" fmla="*/ 176 h 181"/>
                <a:gd name="T56" fmla="*/ 131 w 202"/>
                <a:gd name="T57" fmla="*/ 170 h 181"/>
                <a:gd name="T58" fmla="*/ 115 w 202"/>
                <a:gd name="T59" fmla="*/ 165 h 181"/>
                <a:gd name="T60" fmla="*/ 95 w 202"/>
                <a:gd name="T61" fmla="*/ 146 h 181"/>
                <a:gd name="T62" fmla="*/ 87 w 202"/>
                <a:gd name="T63" fmla="*/ 130 h 181"/>
                <a:gd name="T64" fmla="*/ 82 w 202"/>
                <a:gd name="T65" fmla="*/ 131 h 181"/>
                <a:gd name="T66" fmla="*/ 76 w 202"/>
                <a:gd name="T67" fmla="*/ 135 h 181"/>
                <a:gd name="T68" fmla="*/ 63 w 202"/>
                <a:gd name="T69" fmla="*/ 133 h 181"/>
                <a:gd name="T70" fmla="*/ 54 w 202"/>
                <a:gd name="T71" fmla="*/ 120 h 181"/>
                <a:gd name="T72" fmla="*/ 52 w 202"/>
                <a:gd name="T73" fmla="*/ 107 h 181"/>
                <a:gd name="T74" fmla="*/ 48 w 202"/>
                <a:gd name="T75" fmla="*/ 93 h 181"/>
                <a:gd name="T76" fmla="*/ 28 w 202"/>
                <a:gd name="T77" fmla="*/ 76 h 181"/>
                <a:gd name="T78" fmla="*/ 6 w 202"/>
                <a:gd name="T79" fmla="*/ 59 h 18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2"/>
                <a:gd name="T121" fmla="*/ 0 h 181"/>
                <a:gd name="T122" fmla="*/ 202 w 202"/>
                <a:gd name="T123" fmla="*/ 181 h 18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2" h="181">
                  <a:moveTo>
                    <a:pt x="0" y="52"/>
                  </a:moveTo>
                  <a:lnTo>
                    <a:pt x="2" y="52"/>
                  </a:lnTo>
                  <a:lnTo>
                    <a:pt x="2" y="50"/>
                  </a:lnTo>
                  <a:lnTo>
                    <a:pt x="6" y="45"/>
                  </a:lnTo>
                  <a:lnTo>
                    <a:pt x="11" y="39"/>
                  </a:lnTo>
                  <a:lnTo>
                    <a:pt x="21" y="43"/>
                  </a:lnTo>
                  <a:lnTo>
                    <a:pt x="30" y="46"/>
                  </a:lnTo>
                  <a:lnTo>
                    <a:pt x="32" y="41"/>
                  </a:lnTo>
                  <a:lnTo>
                    <a:pt x="35" y="35"/>
                  </a:lnTo>
                  <a:lnTo>
                    <a:pt x="39" y="34"/>
                  </a:lnTo>
                  <a:lnTo>
                    <a:pt x="45" y="32"/>
                  </a:lnTo>
                  <a:lnTo>
                    <a:pt x="52" y="24"/>
                  </a:lnTo>
                  <a:lnTo>
                    <a:pt x="58" y="17"/>
                  </a:lnTo>
                  <a:lnTo>
                    <a:pt x="63" y="8"/>
                  </a:lnTo>
                  <a:lnTo>
                    <a:pt x="71" y="0"/>
                  </a:lnTo>
                  <a:lnTo>
                    <a:pt x="76" y="8"/>
                  </a:lnTo>
                  <a:lnTo>
                    <a:pt x="80" y="19"/>
                  </a:lnTo>
                  <a:lnTo>
                    <a:pt x="96" y="22"/>
                  </a:lnTo>
                  <a:lnTo>
                    <a:pt x="109" y="28"/>
                  </a:lnTo>
                  <a:lnTo>
                    <a:pt x="109" y="39"/>
                  </a:lnTo>
                  <a:lnTo>
                    <a:pt x="106" y="52"/>
                  </a:lnTo>
                  <a:lnTo>
                    <a:pt x="109" y="56"/>
                  </a:lnTo>
                  <a:lnTo>
                    <a:pt x="113" y="61"/>
                  </a:lnTo>
                  <a:lnTo>
                    <a:pt x="113" y="71"/>
                  </a:lnTo>
                  <a:lnTo>
                    <a:pt x="111" y="78"/>
                  </a:lnTo>
                  <a:lnTo>
                    <a:pt x="113" y="83"/>
                  </a:lnTo>
                  <a:lnTo>
                    <a:pt x="119" y="91"/>
                  </a:lnTo>
                  <a:lnTo>
                    <a:pt x="126" y="96"/>
                  </a:lnTo>
                  <a:lnTo>
                    <a:pt x="135" y="100"/>
                  </a:lnTo>
                  <a:lnTo>
                    <a:pt x="146" y="100"/>
                  </a:lnTo>
                  <a:lnTo>
                    <a:pt x="155" y="98"/>
                  </a:lnTo>
                  <a:lnTo>
                    <a:pt x="163" y="96"/>
                  </a:lnTo>
                  <a:lnTo>
                    <a:pt x="168" y="93"/>
                  </a:lnTo>
                  <a:lnTo>
                    <a:pt x="176" y="87"/>
                  </a:lnTo>
                  <a:lnTo>
                    <a:pt x="183" y="85"/>
                  </a:lnTo>
                  <a:lnTo>
                    <a:pt x="185" y="87"/>
                  </a:lnTo>
                  <a:lnTo>
                    <a:pt x="187" y="89"/>
                  </a:lnTo>
                  <a:lnTo>
                    <a:pt x="187" y="91"/>
                  </a:lnTo>
                  <a:lnTo>
                    <a:pt x="185" y="95"/>
                  </a:lnTo>
                  <a:lnTo>
                    <a:pt x="183" y="102"/>
                  </a:lnTo>
                  <a:lnTo>
                    <a:pt x="183" y="107"/>
                  </a:lnTo>
                  <a:lnTo>
                    <a:pt x="187" y="109"/>
                  </a:lnTo>
                  <a:lnTo>
                    <a:pt x="192" y="111"/>
                  </a:lnTo>
                  <a:lnTo>
                    <a:pt x="196" y="113"/>
                  </a:lnTo>
                  <a:lnTo>
                    <a:pt x="200" y="115"/>
                  </a:lnTo>
                  <a:lnTo>
                    <a:pt x="202" y="119"/>
                  </a:lnTo>
                  <a:lnTo>
                    <a:pt x="202" y="126"/>
                  </a:lnTo>
                  <a:lnTo>
                    <a:pt x="198" y="143"/>
                  </a:lnTo>
                  <a:lnTo>
                    <a:pt x="191" y="159"/>
                  </a:lnTo>
                  <a:lnTo>
                    <a:pt x="185" y="163"/>
                  </a:lnTo>
                  <a:lnTo>
                    <a:pt x="181" y="168"/>
                  </a:lnTo>
                  <a:lnTo>
                    <a:pt x="178" y="174"/>
                  </a:lnTo>
                  <a:lnTo>
                    <a:pt x="174" y="180"/>
                  </a:lnTo>
                  <a:lnTo>
                    <a:pt x="167" y="181"/>
                  </a:lnTo>
                  <a:lnTo>
                    <a:pt x="155" y="180"/>
                  </a:lnTo>
                  <a:lnTo>
                    <a:pt x="144" y="176"/>
                  </a:lnTo>
                  <a:lnTo>
                    <a:pt x="133" y="172"/>
                  </a:lnTo>
                  <a:lnTo>
                    <a:pt x="131" y="170"/>
                  </a:lnTo>
                  <a:lnTo>
                    <a:pt x="130" y="168"/>
                  </a:lnTo>
                  <a:lnTo>
                    <a:pt x="115" y="165"/>
                  </a:lnTo>
                  <a:lnTo>
                    <a:pt x="100" y="163"/>
                  </a:lnTo>
                  <a:lnTo>
                    <a:pt x="95" y="146"/>
                  </a:lnTo>
                  <a:lnTo>
                    <a:pt x="93" y="131"/>
                  </a:lnTo>
                  <a:lnTo>
                    <a:pt x="87" y="130"/>
                  </a:lnTo>
                  <a:lnTo>
                    <a:pt x="83" y="130"/>
                  </a:lnTo>
                  <a:lnTo>
                    <a:pt x="82" y="131"/>
                  </a:lnTo>
                  <a:lnTo>
                    <a:pt x="80" y="131"/>
                  </a:lnTo>
                  <a:lnTo>
                    <a:pt x="76" y="135"/>
                  </a:lnTo>
                  <a:lnTo>
                    <a:pt x="72" y="137"/>
                  </a:lnTo>
                  <a:lnTo>
                    <a:pt x="63" y="133"/>
                  </a:lnTo>
                  <a:lnTo>
                    <a:pt x="58" y="128"/>
                  </a:lnTo>
                  <a:lnTo>
                    <a:pt x="54" y="120"/>
                  </a:lnTo>
                  <a:lnTo>
                    <a:pt x="52" y="113"/>
                  </a:lnTo>
                  <a:lnTo>
                    <a:pt x="52" y="107"/>
                  </a:lnTo>
                  <a:lnTo>
                    <a:pt x="50" y="100"/>
                  </a:lnTo>
                  <a:lnTo>
                    <a:pt x="48" y="93"/>
                  </a:lnTo>
                  <a:lnTo>
                    <a:pt x="45" y="87"/>
                  </a:lnTo>
                  <a:lnTo>
                    <a:pt x="28" y="76"/>
                  </a:lnTo>
                  <a:lnTo>
                    <a:pt x="11" y="67"/>
                  </a:lnTo>
                  <a:lnTo>
                    <a:pt x="6" y="59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7" name="Freeform 93"/>
            <p:cNvSpPr>
              <a:spLocks/>
            </p:cNvSpPr>
            <p:nvPr/>
          </p:nvSpPr>
          <p:spPr bwMode="auto">
            <a:xfrm>
              <a:off x="4058119" y="2259947"/>
              <a:ext cx="88183" cy="74300"/>
            </a:xfrm>
            <a:custGeom>
              <a:avLst/>
              <a:gdLst>
                <a:gd name="T0" fmla="*/ 4 w 169"/>
                <a:gd name="T1" fmla="*/ 63 h 146"/>
                <a:gd name="T2" fmla="*/ 2 w 169"/>
                <a:gd name="T3" fmla="*/ 46 h 146"/>
                <a:gd name="T4" fmla="*/ 2 w 169"/>
                <a:gd name="T5" fmla="*/ 30 h 146"/>
                <a:gd name="T6" fmla="*/ 0 w 169"/>
                <a:gd name="T7" fmla="*/ 22 h 146"/>
                <a:gd name="T8" fmla="*/ 2 w 169"/>
                <a:gd name="T9" fmla="*/ 15 h 146"/>
                <a:gd name="T10" fmla="*/ 2 w 169"/>
                <a:gd name="T11" fmla="*/ 8 h 146"/>
                <a:gd name="T12" fmla="*/ 6 w 169"/>
                <a:gd name="T13" fmla="*/ 2 h 146"/>
                <a:gd name="T14" fmla="*/ 21 w 169"/>
                <a:gd name="T15" fmla="*/ 0 h 146"/>
                <a:gd name="T16" fmla="*/ 36 w 169"/>
                <a:gd name="T17" fmla="*/ 2 h 146"/>
                <a:gd name="T18" fmla="*/ 45 w 169"/>
                <a:gd name="T19" fmla="*/ 4 h 146"/>
                <a:gd name="T20" fmla="*/ 54 w 169"/>
                <a:gd name="T21" fmla="*/ 10 h 146"/>
                <a:gd name="T22" fmla="*/ 63 w 169"/>
                <a:gd name="T23" fmla="*/ 15 h 146"/>
                <a:gd name="T24" fmla="*/ 73 w 169"/>
                <a:gd name="T25" fmla="*/ 22 h 146"/>
                <a:gd name="T26" fmla="*/ 73 w 169"/>
                <a:gd name="T27" fmla="*/ 22 h 146"/>
                <a:gd name="T28" fmla="*/ 80 w 169"/>
                <a:gd name="T29" fmla="*/ 34 h 146"/>
                <a:gd name="T30" fmla="*/ 89 w 169"/>
                <a:gd name="T31" fmla="*/ 43 h 146"/>
                <a:gd name="T32" fmla="*/ 97 w 169"/>
                <a:gd name="T33" fmla="*/ 50 h 146"/>
                <a:gd name="T34" fmla="*/ 104 w 169"/>
                <a:gd name="T35" fmla="*/ 56 h 146"/>
                <a:gd name="T36" fmla="*/ 111 w 169"/>
                <a:gd name="T37" fmla="*/ 59 h 146"/>
                <a:gd name="T38" fmla="*/ 119 w 169"/>
                <a:gd name="T39" fmla="*/ 61 h 146"/>
                <a:gd name="T40" fmla="*/ 126 w 169"/>
                <a:gd name="T41" fmla="*/ 61 h 146"/>
                <a:gd name="T42" fmla="*/ 133 w 169"/>
                <a:gd name="T43" fmla="*/ 61 h 146"/>
                <a:gd name="T44" fmla="*/ 141 w 169"/>
                <a:gd name="T45" fmla="*/ 63 h 146"/>
                <a:gd name="T46" fmla="*/ 146 w 169"/>
                <a:gd name="T47" fmla="*/ 67 h 146"/>
                <a:gd name="T48" fmla="*/ 150 w 169"/>
                <a:gd name="T49" fmla="*/ 72 h 146"/>
                <a:gd name="T50" fmla="*/ 154 w 169"/>
                <a:gd name="T51" fmla="*/ 80 h 146"/>
                <a:gd name="T52" fmla="*/ 159 w 169"/>
                <a:gd name="T53" fmla="*/ 74 h 146"/>
                <a:gd name="T54" fmla="*/ 165 w 169"/>
                <a:gd name="T55" fmla="*/ 71 h 146"/>
                <a:gd name="T56" fmla="*/ 165 w 169"/>
                <a:gd name="T57" fmla="*/ 80 h 146"/>
                <a:gd name="T58" fmla="*/ 161 w 169"/>
                <a:gd name="T59" fmla="*/ 91 h 146"/>
                <a:gd name="T60" fmla="*/ 165 w 169"/>
                <a:gd name="T61" fmla="*/ 95 h 146"/>
                <a:gd name="T62" fmla="*/ 169 w 169"/>
                <a:gd name="T63" fmla="*/ 102 h 146"/>
                <a:gd name="T64" fmla="*/ 167 w 169"/>
                <a:gd name="T65" fmla="*/ 117 h 146"/>
                <a:gd name="T66" fmla="*/ 163 w 169"/>
                <a:gd name="T67" fmla="*/ 133 h 146"/>
                <a:gd name="T68" fmla="*/ 159 w 169"/>
                <a:gd name="T69" fmla="*/ 139 h 146"/>
                <a:gd name="T70" fmla="*/ 154 w 169"/>
                <a:gd name="T71" fmla="*/ 143 h 146"/>
                <a:gd name="T72" fmla="*/ 148 w 169"/>
                <a:gd name="T73" fmla="*/ 146 h 146"/>
                <a:gd name="T74" fmla="*/ 141 w 169"/>
                <a:gd name="T75" fmla="*/ 146 h 146"/>
                <a:gd name="T76" fmla="*/ 141 w 169"/>
                <a:gd name="T77" fmla="*/ 139 h 146"/>
                <a:gd name="T78" fmla="*/ 137 w 169"/>
                <a:gd name="T79" fmla="*/ 133 h 146"/>
                <a:gd name="T80" fmla="*/ 130 w 169"/>
                <a:gd name="T81" fmla="*/ 135 h 146"/>
                <a:gd name="T82" fmla="*/ 122 w 169"/>
                <a:gd name="T83" fmla="*/ 135 h 146"/>
                <a:gd name="T84" fmla="*/ 121 w 169"/>
                <a:gd name="T85" fmla="*/ 130 h 146"/>
                <a:gd name="T86" fmla="*/ 121 w 169"/>
                <a:gd name="T87" fmla="*/ 126 h 146"/>
                <a:gd name="T88" fmla="*/ 109 w 169"/>
                <a:gd name="T89" fmla="*/ 126 h 146"/>
                <a:gd name="T90" fmla="*/ 102 w 169"/>
                <a:gd name="T91" fmla="*/ 130 h 146"/>
                <a:gd name="T92" fmla="*/ 98 w 169"/>
                <a:gd name="T93" fmla="*/ 133 h 146"/>
                <a:gd name="T94" fmla="*/ 93 w 169"/>
                <a:gd name="T95" fmla="*/ 137 h 146"/>
                <a:gd name="T96" fmla="*/ 76 w 169"/>
                <a:gd name="T97" fmla="*/ 137 h 146"/>
                <a:gd name="T98" fmla="*/ 60 w 169"/>
                <a:gd name="T99" fmla="*/ 133 h 146"/>
                <a:gd name="T100" fmla="*/ 49 w 169"/>
                <a:gd name="T101" fmla="*/ 111 h 146"/>
                <a:gd name="T102" fmla="*/ 50 w 169"/>
                <a:gd name="T103" fmla="*/ 91 h 146"/>
                <a:gd name="T104" fmla="*/ 50 w 169"/>
                <a:gd name="T105" fmla="*/ 72 h 146"/>
                <a:gd name="T106" fmla="*/ 32 w 169"/>
                <a:gd name="T107" fmla="*/ 67 h 146"/>
                <a:gd name="T108" fmla="*/ 6 w 169"/>
                <a:gd name="T109" fmla="*/ 63 h 146"/>
                <a:gd name="T110" fmla="*/ 4 w 169"/>
                <a:gd name="T111" fmla="*/ 63 h 146"/>
                <a:gd name="T112" fmla="*/ 4 w 169"/>
                <a:gd name="T113" fmla="*/ 63 h 1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"/>
                <a:gd name="T172" fmla="*/ 0 h 146"/>
                <a:gd name="T173" fmla="*/ 169 w 169"/>
                <a:gd name="T174" fmla="*/ 146 h 1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" h="146">
                  <a:moveTo>
                    <a:pt x="4" y="63"/>
                  </a:moveTo>
                  <a:lnTo>
                    <a:pt x="2" y="46"/>
                  </a:lnTo>
                  <a:lnTo>
                    <a:pt x="2" y="30"/>
                  </a:lnTo>
                  <a:lnTo>
                    <a:pt x="0" y="22"/>
                  </a:lnTo>
                  <a:lnTo>
                    <a:pt x="2" y="15"/>
                  </a:lnTo>
                  <a:lnTo>
                    <a:pt x="2" y="8"/>
                  </a:lnTo>
                  <a:lnTo>
                    <a:pt x="6" y="2"/>
                  </a:lnTo>
                  <a:lnTo>
                    <a:pt x="21" y="0"/>
                  </a:lnTo>
                  <a:lnTo>
                    <a:pt x="36" y="2"/>
                  </a:lnTo>
                  <a:lnTo>
                    <a:pt x="45" y="4"/>
                  </a:lnTo>
                  <a:lnTo>
                    <a:pt x="54" y="10"/>
                  </a:lnTo>
                  <a:lnTo>
                    <a:pt x="63" y="15"/>
                  </a:lnTo>
                  <a:lnTo>
                    <a:pt x="73" y="22"/>
                  </a:lnTo>
                  <a:lnTo>
                    <a:pt x="80" y="34"/>
                  </a:lnTo>
                  <a:lnTo>
                    <a:pt x="89" y="43"/>
                  </a:lnTo>
                  <a:lnTo>
                    <a:pt x="97" y="50"/>
                  </a:lnTo>
                  <a:lnTo>
                    <a:pt x="104" y="56"/>
                  </a:lnTo>
                  <a:lnTo>
                    <a:pt x="111" y="59"/>
                  </a:lnTo>
                  <a:lnTo>
                    <a:pt x="119" y="61"/>
                  </a:lnTo>
                  <a:lnTo>
                    <a:pt x="126" y="61"/>
                  </a:lnTo>
                  <a:lnTo>
                    <a:pt x="133" y="61"/>
                  </a:lnTo>
                  <a:lnTo>
                    <a:pt x="141" y="63"/>
                  </a:lnTo>
                  <a:lnTo>
                    <a:pt x="146" y="67"/>
                  </a:lnTo>
                  <a:lnTo>
                    <a:pt x="150" y="72"/>
                  </a:lnTo>
                  <a:lnTo>
                    <a:pt x="154" y="80"/>
                  </a:lnTo>
                  <a:lnTo>
                    <a:pt x="159" y="74"/>
                  </a:lnTo>
                  <a:lnTo>
                    <a:pt x="165" y="71"/>
                  </a:lnTo>
                  <a:lnTo>
                    <a:pt x="165" y="80"/>
                  </a:lnTo>
                  <a:lnTo>
                    <a:pt x="161" y="91"/>
                  </a:lnTo>
                  <a:lnTo>
                    <a:pt x="165" y="95"/>
                  </a:lnTo>
                  <a:lnTo>
                    <a:pt x="169" y="102"/>
                  </a:lnTo>
                  <a:lnTo>
                    <a:pt x="167" y="117"/>
                  </a:lnTo>
                  <a:lnTo>
                    <a:pt x="163" y="133"/>
                  </a:lnTo>
                  <a:lnTo>
                    <a:pt x="159" y="139"/>
                  </a:lnTo>
                  <a:lnTo>
                    <a:pt x="154" y="143"/>
                  </a:lnTo>
                  <a:lnTo>
                    <a:pt x="148" y="146"/>
                  </a:lnTo>
                  <a:lnTo>
                    <a:pt x="141" y="146"/>
                  </a:lnTo>
                  <a:lnTo>
                    <a:pt x="141" y="139"/>
                  </a:lnTo>
                  <a:lnTo>
                    <a:pt x="137" y="133"/>
                  </a:lnTo>
                  <a:lnTo>
                    <a:pt x="130" y="135"/>
                  </a:lnTo>
                  <a:lnTo>
                    <a:pt x="122" y="135"/>
                  </a:lnTo>
                  <a:lnTo>
                    <a:pt x="121" y="130"/>
                  </a:lnTo>
                  <a:lnTo>
                    <a:pt x="121" y="126"/>
                  </a:lnTo>
                  <a:lnTo>
                    <a:pt x="109" y="126"/>
                  </a:lnTo>
                  <a:lnTo>
                    <a:pt x="102" y="130"/>
                  </a:lnTo>
                  <a:lnTo>
                    <a:pt x="98" y="133"/>
                  </a:lnTo>
                  <a:lnTo>
                    <a:pt x="93" y="137"/>
                  </a:lnTo>
                  <a:lnTo>
                    <a:pt x="76" y="137"/>
                  </a:lnTo>
                  <a:lnTo>
                    <a:pt x="60" y="133"/>
                  </a:lnTo>
                  <a:lnTo>
                    <a:pt x="49" y="111"/>
                  </a:lnTo>
                  <a:lnTo>
                    <a:pt x="50" y="91"/>
                  </a:lnTo>
                  <a:lnTo>
                    <a:pt x="50" y="72"/>
                  </a:lnTo>
                  <a:lnTo>
                    <a:pt x="32" y="67"/>
                  </a:lnTo>
                  <a:lnTo>
                    <a:pt x="6" y="63"/>
                  </a:lnTo>
                  <a:lnTo>
                    <a:pt x="4" y="6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8" name="Freeform 94"/>
            <p:cNvSpPr>
              <a:spLocks/>
            </p:cNvSpPr>
            <p:nvPr/>
          </p:nvSpPr>
          <p:spPr bwMode="auto">
            <a:xfrm>
              <a:off x="4020028" y="2292008"/>
              <a:ext cx="69398" cy="62086"/>
            </a:xfrm>
            <a:custGeom>
              <a:avLst/>
              <a:gdLst>
                <a:gd name="T0" fmla="*/ 1 w 133"/>
                <a:gd name="T1" fmla="*/ 48 h 122"/>
                <a:gd name="T2" fmla="*/ 14 w 133"/>
                <a:gd name="T3" fmla="*/ 44 h 122"/>
                <a:gd name="T4" fmla="*/ 29 w 133"/>
                <a:gd name="T5" fmla="*/ 43 h 122"/>
                <a:gd name="T6" fmla="*/ 38 w 133"/>
                <a:gd name="T7" fmla="*/ 46 h 122"/>
                <a:gd name="T8" fmla="*/ 46 w 133"/>
                <a:gd name="T9" fmla="*/ 44 h 122"/>
                <a:gd name="T10" fmla="*/ 49 w 133"/>
                <a:gd name="T11" fmla="*/ 37 h 122"/>
                <a:gd name="T12" fmla="*/ 49 w 133"/>
                <a:gd name="T13" fmla="*/ 26 h 122"/>
                <a:gd name="T14" fmla="*/ 59 w 133"/>
                <a:gd name="T15" fmla="*/ 20 h 122"/>
                <a:gd name="T16" fmla="*/ 66 w 133"/>
                <a:gd name="T17" fmla="*/ 17 h 122"/>
                <a:gd name="T18" fmla="*/ 73 w 133"/>
                <a:gd name="T19" fmla="*/ 6 h 122"/>
                <a:gd name="T20" fmla="*/ 79 w 133"/>
                <a:gd name="T21" fmla="*/ 0 h 122"/>
                <a:gd name="T22" fmla="*/ 105 w 133"/>
                <a:gd name="T23" fmla="*/ 4 h 122"/>
                <a:gd name="T24" fmla="*/ 123 w 133"/>
                <a:gd name="T25" fmla="*/ 9 h 122"/>
                <a:gd name="T26" fmla="*/ 123 w 133"/>
                <a:gd name="T27" fmla="*/ 28 h 122"/>
                <a:gd name="T28" fmla="*/ 122 w 133"/>
                <a:gd name="T29" fmla="*/ 48 h 122"/>
                <a:gd name="T30" fmla="*/ 133 w 133"/>
                <a:gd name="T31" fmla="*/ 70 h 122"/>
                <a:gd name="T32" fmla="*/ 125 w 133"/>
                <a:gd name="T33" fmla="*/ 70 h 122"/>
                <a:gd name="T34" fmla="*/ 118 w 133"/>
                <a:gd name="T35" fmla="*/ 68 h 122"/>
                <a:gd name="T36" fmla="*/ 105 w 133"/>
                <a:gd name="T37" fmla="*/ 68 h 122"/>
                <a:gd name="T38" fmla="*/ 92 w 133"/>
                <a:gd name="T39" fmla="*/ 70 h 122"/>
                <a:gd name="T40" fmla="*/ 88 w 133"/>
                <a:gd name="T41" fmla="*/ 72 h 122"/>
                <a:gd name="T42" fmla="*/ 85 w 133"/>
                <a:gd name="T43" fmla="*/ 74 h 122"/>
                <a:gd name="T44" fmla="*/ 81 w 133"/>
                <a:gd name="T45" fmla="*/ 78 h 122"/>
                <a:gd name="T46" fmla="*/ 79 w 133"/>
                <a:gd name="T47" fmla="*/ 81 h 122"/>
                <a:gd name="T48" fmla="*/ 79 w 133"/>
                <a:gd name="T49" fmla="*/ 83 h 122"/>
                <a:gd name="T50" fmla="*/ 83 w 133"/>
                <a:gd name="T51" fmla="*/ 87 h 122"/>
                <a:gd name="T52" fmla="*/ 85 w 133"/>
                <a:gd name="T53" fmla="*/ 87 h 122"/>
                <a:gd name="T54" fmla="*/ 86 w 133"/>
                <a:gd name="T55" fmla="*/ 89 h 122"/>
                <a:gd name="T56" fmla="*/ 86 w 133"/>
                <a:gd name="T57" fmla="*/ 93 h 122"/>
                <a:gd name="T58" fmla="*/ 86 w 133"/>
                <a:gd name="T59" fmla="*/ 96 h 122"/>
                <a:gd name="T60" fmla="*/ 79 w 133"/>
                <a:gd name="T61" fmla="*/ 105 h 122"/>
                <a:gd name="T62" fmla="*/ 72 w 133"/>
                <a:gd name="T63" fmla="*/ 113 h 122"/>
                <a:gd name="T64" fmla="*/ 61 w 133"/>
                <a:gd name="T65" fmla="*/ 117 h 122"/>
                <a:gd name="T66" fmla="*/ 49 w 133"/>
                <a:gd name="T67" fmla="*/ 122 h 122"/>
                <a:gd name="T68" fmla="*/ 48 w 133"/>
                <a:gd name="T69" fmla="*/ 122 h 122"/>
                <a:gd name="T70" fmla="*/ 46 w 133"/>
                <a:gd name="T71" fmla="*/ 120 h 122"/>
                <a:gd name="T72" fmla="*/ 44 w 133"/>
                <a:gd name="T73" fmla="*/ 120 h 122"/>
                <a:gd name="T74" fmla="*/ 42 w 133"/>
                <a:gd name="T75" fmla="*/ 117 h 122"/>
                <a:gd name="T76" fmla="*/ 40 w 133"/>
                <a:gd name="T77" fmla="*/ 113 h 122"/>
                <a:gd name="T78" fmla="*/ 38 w 133"/>
                <a:gd name="T79" fmla="*/ 109 h 122"/>
                <a:gd name="T80" fmla="*/ 35 w 133"/>
                <a:gd name="T81" fmla="*/ 109 h 122"/>
                <a:gd name="T82" fmla="*/ 29 w 133"/>
                <a:gd name="T83" fmla="*/ 109 h 122"/>
                <a:gd name="T84" fmla="*/ 24 w 133"/>
                <a:gd name="T85" fmla="*/ 111 h 122"/>
                <a:gd name="T86" fmla="*/ 20 w 133"/>
                <a:gd name="T87" fmla="*/ 117 h 122"/>
                <a:gd name="T88" fmla="*/ 20 w 133"/>
                <a:gd name="T89" fmla="*/ 118 h 122"/>
                <a:gd name="T90" fmla="*/ 20 w 133"/>
                <a:gd name="T91" fmla="*/ 120 h 122"/>
                <a:gd name="T92" fmla="*/ 18 w 133"/>
                <a:gd name="T93" fmla="*/ 113 h 122"/>
                <a:gd name="T94" fmla="*/ 18 w 133"/>
                <a:gd name="T95" fmla="*/ 107 h 122"/>
                <a:gd name="T96" fmla="*/ 14 w 133"/>
                <a:gd name="T97" fmla="*/ 100 h 122"/>
                <a:gd name="T98" fmla="*/ 11 w 133"/>
                <a:gd name="T99" fmla="*/ 96 h 122"/>
                <a:gd name="T100" fmla="*/ 5 w 133"/>
                <a:gd name="T101" fmla="*/ 96 h 122"/>
                <a:gd name="T102" fmla="*/ 0 w 133"/>
                <a:gd name="T103" fmla="*/ 96 h 122"/>
                <a:gd name="T104" fmla="*/ 7 w 133"/>
                <a:gd name="T105" fmla="*/ 80 h 122"/>
                <a:gd name="T106" fmla="*/ 11 w 133"/>
                <a:gd name="T107" fmla="*/ 63 h 122"/>
                <a:gd name="T108" fmla="*/ 11 w 133"/>
                <a:gd name="T109" fmla="*/ 56 h 122"/>
                <a:gd name="T110" fmla="*/ 7 w 133"/>
                <a:gd name="T111" fmla="*/ 52 h 122"/>
                <a:gd name="T112" fmla="*/ 5 w 133"/>
                <a:gd name="T113" fmla="*/ 48 h 122"/>
                <a:gd name="T114" fmla="*/ 1 w 133"/>
                <a:gd name="T115" fmla="*/ 48 h 12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"/>
                <a:gd name="T175" fmla="*/ 0 h 122"/>
                <a:gd name="T176" fmla="*/ 133 w 133"/>
                <a:gd name="T177" fmla="*/ 122 h 12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" h="122">
                  <a:moveTo>
                    <a:pt x="1" y="48"/>
                  </a:moveTo>
                  <a:lnTo>
                    <a:pt x="14" y="44"/>
                  </a:lnTo>
                  <a:lnTo>
                    <a:pt x="29" y="43"/>
                  </a:lnTo>
                  <a:lnTo>
                    <a:pt x="38" y="46"/>
                  </a:lnTo>
                  <a:lnTo>
                    <a:pt x="46" y="44"/>
                  </a:lnTo>
                  <a:lnTo>
                    <a:pt x="49" y="37"/>
                  </a:lnTo>
                  <a:lnTo>
                    <a:pt x="49" y="26"/>
                  </a:lnTo>
                  <a:lnTo>
                    <a:pt x="59" y="20"/>
                  </a:lnTo>
                  <a:lnTo>
                    <a:pt x="66" y="17"/>
                  </a:lnTo>
                  <a:lnTo>
                    <a:pt x="73" y="6"/>
                  </a:lnTo>
                  <a:lnTo>
                    <a:pt x="79" y="0"/>
                  </a:lnTo>
                  <a:lnTo>
                    <a:pt x="105" y="4"/>
                  </a:lnTo>
                  <a:lnTo>
                    <a:pt x="123" y="9"/>
                  </a:lnTo>
                  <a:lnTo>
                    <a:pt x="123" y="28"/>
                  </a:lnTo>
                  <a:lnTo>
                    <a:pt x="122" y="48"/>
                  </a:lnTo>
                  <a:lnTo>
                    <a:pt x="133" y="70"/>
                  </a:lnTo>
                  <a:lnTo>
                    <a:pt x="125" y="70"/>
                  </a:lnTo>
                  <a:lnTo>
                    <a:pt x="118" y="68"/>
                  </a:lnTo>
                  <a:lnTo>
                    <a:pt x="105" y="68"/>
                  </a:lnTo>
                  <a:lnTo>
                    <a:pt x="92" y="70"/>
                  </a:lnTo>
                  <a:lnTo>
                    <a:pt x="88" y="72"/>
                  </a:lnTo>
                  <a:lnTo>
                    <a:pt x="85" y="74"/>
                  </a:lnTo>
                  <a:lnTo>
                    <a:pt x="81" y="78"/>
                  </a:lnTo>
                  <a:lnTo>
                    <a:pt x="79" y="81"/>
                  </a:lnTo>
                  <a:lnTo>
                    <a:pt x="79" y="83"/>
                  </a:lnTo>
                  <a:lnTo>
                    <a:pt x="83" y="87"/>
                  </a:lnTo>
                  <a:lnTo>
                    <a:pt x="85" y="87"/>
                  </a:lnTo>
                  <a:lnTo>
                    <a:pt x="86" y="89"/>
                  </a:lnTo>
                  <a:lnTo>
                    <a:pt x="86" y="93"/>
                  </a:lnTo>
                  <a:lnTo>
                    <a:pt x="86" y="96"/>
                  </a:lnTo>
                  <a:lnTo>
                    <a:pt x="79" y="105"/>
                  </a:lnTo>
                  <a:lnTo>
                    <a:pt x="72" y="113"/>
                  </a:lnTo>
                  <a:lnTo>
                    <a:pt x="61" y="117"/>
                  </a:lnTo>
                  <a:lnTo>
                    <a:pt x="49" y="122"/>
                  </a:lnTo>
                  <a:lnTo>
                    <a:pt x="48" y="122"/>
                  </a:lnTo>
                  <a:lnTo>
                    <a:pt x="46" y="120"/>
                  </a:lnTo>
                  <a:lnTo>
                    <a:pt x="44" y="120"/>
                  </a:lnTo>
                  <a:lnTo>
                    <a:pt x="42" y="117"/>
                  </a:lnTo>
                  <a:lnTo>
                    <a:pt x="40" y="113"/>
                  </a:lnTo>
                  <a:lnTo>
                    <a:pt x="38" y="109"/>
                  </a:lnTo>
                  <a:lnTo>
                    <a:pt x="35" y="109"/>
                  </a:lnTo>
                  <a:lnTo>
                    <a:pt x="29" y="109"/>
                  </a:lnTo>
                  <a:lnTo>
                    <a:pt x="24" y="111"/>
                  </a:lnTo>
                  <a:lnTo>
                    <a:pt x="20" y="117"/>
                  </a:lnTo>
                  <a:lnTo>
                    <a:pt x="20" y="118"/>
                  </a:lnTo>
                  <a:lnTo>
                    <a:pt x="20" y="120"/>
                  </a:lnTo>
                  <a:lnTo>
                    <a:pt x="18" y="113"/>
                  </a:lnTo>
                  <a:lnTo>
                    <a:pt x="18" y="107"/>
                  </a:lnTo>
                  <a:lnTo>
                    <a:pt x="14" y="100"/>
                  </a:lnTo>
                  <a:lnTo>
                    <a:pt x="11" y="96"/>
                  </a:lnTo>
                  <a:lnTo>
                    <a:pt x="5" y="96"/>
                  </a:lnTo>
                  <a:lnTo>
                    <a:pt x="0" y="96"/>
                  </a:lnTo>
                  <a:lnTo>
                    <a:pt x="7" y="80"/>
                  </a:lnTo>
                  <a:lnTo>
                    <a:pt x="11" y="63"/>
                  </a:lnTo>
                  <a:lnTo>
                    <a:pt x="11" y="56"/>
                  </a:lnTo>
                  <a:lnTo>
                    <a:pt x="7" y="52"/>
                  </a:lnTo>
                  <a:lnTo>
                    <a:pt x="5" y="48"/>
                  </a:lnTo>
                  <a:lnTo>
                    <a:pt x="1" y="4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19" name="Freeform 95"/>
            <p:cNvSpPr>
              <a:spLocks/>
            </p:cNvSpPr>
            <p:nvPr/>
          </p:nvSpPr>
          <p:spPr bwMode="auto">
            <a:xfrm>
              <a:off x="3957935" y="2204477"/>
              <a:ext cx="177409" cy="111959"/>
            </a:xfrm>
            <a:custGeom>
              <a:avLst/>
              <a:gdLst>
                <a:gd name="T0" fmla="*/ 11 w 340"/>
                <a:gd name="T1" fmla="*/ 69 h 220"/>
                <a:gd name="T2" fmla="*/ 34 w 340"/>
                <a:gd name="T3" fmla="*/ 63 h 220"/>
                <a:gd name="T4" fmla="*/ 58 w 340"/>
                <a:gd name="T5" fmla="*/ 63 h 220"/>
                <a:gd name="T6" fmla="*/ 78 w 340"/>
                <a:gd name="T7" fmla="*/ 67 h 220"/>
                <a:gd name="T8" fmla="*/ 95 w 340"/>
                <a:gd name="T9" fmla="*/ 70 h 220"/>
                <a:gd name="T10" fmla="*/ 106 w 340"/>
                <a:gd name="T11" fmla="*/ 69 h 220"/>
                <a:gd name="T12" fmla="*/ 106 w 340"/>
                <a:gd name="T13" fmla="*/ 58 h 220"/>
                <a:gd name="T14" fmla="*/ 102 w 340"/>
                <a:gd name="T15" fmla="*/ 41 h 220"/>
                <a:gd name="T16" fmla="*/ 119 w 340"/>
                <a:gd name="T17" fmla="*/ 32 h 220"/>
                <a:gd name="T18" fmla="*/ 139 w 340"/>
                <a:gd name="T19" fmla="*/ 22 h 220"/>
                <a:gd name="T20" fmla="*/ 172 w 340"/>
                <a:gd name="T21" fmla="*/ 11 h 220"/>
                <a:gd name="T22" fmla="*/ 200 w 340"/>
                <a:gd name="T23" fmla="*/ 4 h 220"/>
                <a:gd name="T24" fmla="*/ 207 w 340"/>
                <a:gd name="T25" fmla="*/ 10 h 220"/>
                <a:gd name="T26" fmla="*/ 224 w 340"/>
                <a:gd name="T27" fmla="*/ 21 h 220"/>
                <a:gd name="T28" fmla="*/ 244 w 340"/>
                <a:gd name="T29" fmla="*/ 21 h 220"/>
                <a:gd name="T30" fmla="*/ 259 w 340"/>
                <a:gd name="T31" fmla="*/ 15 h 220"/>
                <a:gd name="T32" fmla="*/ 272 w 340"/>
                <a:gd name="T33" fmla="*/ 13 h 220"/>
                <a:gd name="T34" fmla="*/ 279 w 340"/>
                <a:gd name="T35" fmla="*/ 17 h 220"/>
                <a:gd name="T36" fmla="*/ 283 w 340"/>
                <a:gd name="T37" fmla="*/ 26 h 220"/>
                <a:gd name="T38" fmla="*/ 287 w 340"/>
                <a:gd name="T39" fmla="*/ 37 h 220"/>
                <a:gd name="T40" fmla="*/ 309 w 340"/>
                <a:gd name="T41" fmla="*/ 45 h 220"/>
                <a:gd name="T42" fmla="*/ 324 w 340"/>
                <a:gd name="T43" fmla="*/ 52 h 220"/>
                <a:gd name="T44" fmla="*/ 333 w 340"/>
                <a:gd name="T45" fmla="*/ 72 h 220"/>
                <a:gd name="T46" fmla="*/ 331 w 340"/>
                <a:gd name="T47" fmla="*/ 104 h 220"/>
                <a:gd name="T48" fmla="*/ 316 w 340"/>
                <a:gd name="T49" fmla="*/ 111 h 220"/>
                <a:gd name="T50" fmla="*/ 300 w 340"/>
                <a:gd name="T51" fmla="*/ 104 h 220"/>
                <a:gd name="T52" fmla="*/ 281 w 340"/>
                <a:gd name="T53" fmla="*/ 111 h 220"/>
                <a:gd name="T54" fmla="*/ 265 w 340"/>
                <a:gd name="T55" fmla="*/ 131 h 220"/>
                <a:gd name="T56" fmla="*/ 255 w 340"/>
                <a:gd name="T57" fmla="*/ 124 h 220"/>
                <a:gd name="T58" fmla="*/ 237 w 340"/>
                <a:gd name="T59" fmla="*/ 113 h 220"/>
                <a:gd name="T60" fmla="*/ 213 w 340"/>
                <a:gd name="T61" fmla="*/ 109 h 220"/>
                <a:gd name="T62" fmla="*/ 194 w 340"/>
                <a:gd name="T63" fmla="*/ 117 h 220"/>
                <a:gd name="T64" fmla="*/ 192 w 340"/>
                <a:gd name="T65" fmla="*/ 131 h 220"/>
                <a:gd name="T66" fmla="*/ 194 w 340"/>
                <a:gd name="T67" fmla="*/ 155 h 220"/>
                <a:gd name="T68" fmla="*/ 192 w 340"/>
                <a:gd name="T69" fmla="*/ 180 h 220"/>
                <a:gd name="T70" fmla="*/ 178 w 340"/>
                <a:gd name="T71" fmla="*/ 192 h 220"/>
                <a:gd name="T72" fmla="*/ 168 w 340"/>
                <a:gd name="T73" fmla="*/ 209 h 220"/>
                <a:gd name="T74" fmla="*/ 157 w 340"/>
                <a:gd name="T75" fmla="*/ 218 h 220"/>
                <a:gd name="T76" fmla="*/ 133 w 340"/>
                <a:gd name="T77" fmla="*/ 216 h 220"/>
                <a:gd name="T78" fmla="*/ 115 w 340"/>
                <a:gd name="T79" fmla="*/ 218 h 220"/>
                <a:gd name="T80" fmla="*/ 111 w 340"/>
                <a:gd name="T81" fmla="*/ 211 h 220"/>
                <a:gd name="T82" fmla="*/ 115 w 340"/>
                <a:gd name="T83" fmla="*/ 200 h 220"/>
                <a:gd name="T84" fmla="*/ 113 w 340"/>
                <a:gd name="T85" fmla="*/ 196 h 220"/>
                <a:gd name="T86" fmla="*/ 104 w 340"/>
                <a:gd name="T87" fmla="*/ 196 h 220"/>
                <a:gd name="T88" fmla="*/ 91 w 340"/>
                <a:gd name="T89" fmla="*/ 205 h 220"/>
                <a:gd name="T90" fmla="*/ 74 w 340"/>
                <a:gd name="T91" fmla="*/ 209 h 220"/>
                <a:gd name="T92" fmla="*/ 54 w 340"/>
                <a:gd name="T93" fmla="*/ 205 h 220"/>
                <a:gd name="T94" fmla="*/ 41 w 340"/>
                <a:gd name="T95" fmla="*/ 192 h 220"/>
                <a:gd name="T96" fmla="*/ 41 w 340"/>
                <a:gd name="T97" fmla="*/ 180 h 220"/>
                <a:gd name="T98" fmla="*/ 37 w 340"/>
                <a:gd name="T99" fmla="*/ 165 h 220"/>
                <a:gd name="T100" fmla="*/ 37 w 340"/>
                <a:gd name="T101" fmla="*/ 148 h 220"/>
                <a:gd name="T102" fmla="*/ 24 w 340"/>
                <a:gd name="T103" fmla="*/ 131 h 220"/>
                <a:gd name="T104" fmla="*/ 4 w 340"/>
                <a:gd name="T105" fmla="*/ 119 h 220"/>
                <a:gd name="T106" fmla="*/ 0 w 340"/>
                <a:gd name="T107" fmla="*/ 109 h 220"/>
                <a:gd name="T108" fmla="*/ 2 w 340"/>
                <a:gd name="T109" fmla="*/ 102 h 220"/>
                <a:gd name="T110" fmla="*/ 10 w 340"/>
                <a:gd name="T111" fmla="*/ 93 h 220"/>
                <a:gd name="T112" fmla="*/ 2 w 340"/>
                <a:gd name="T113" fmla="*/ 83 h 220"/>
                <a:gd name="T114" fmla="*/ 0 w 340"/>
                <a:gd name="T115" fmla="*/ 70 h 22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0"/>
                <a:gd name="T175" fmla="*/ 0 h 220"/>
                <a:gd name="T176" fmla="*/ 340 w 340"/>
                <a:gd name="T177" fmla="*/ 220 h 22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0" h="220">
                  <a:moveTo>
                    <a:pt x="0" y="70"/>
                  </a:moveTo>
                  <a:lnTo>
                    <a:pt x="11" y="69"/>
                  </a:lnTo>
                  <a:lnTo>
                    <a:pt x="23" y="65"/>
                  </a:lnTo>
                  <a:lnTo>
                    <a:pt x="34" y="63"/>
                  </a:lnTo>
                  <a:lnTo>
                    <a:pt x="47" y="63"/>
                  </a:lnTo>
                  <a:lnTo>
                    <a:pt x="58" y="63"/>
                  </a:lnTo>
                  <a:lnTo>
                    <a:pt x="67" y="65"/>
                  </a:lnTo>
                  <a:lnTo>
                    <a:pt x="78" y="67"/>
                  </a:lnTo>
                  <a:lnTo>
                    <a:pt x="89" y="70"/>
                  </a:lnTo>
                  <a:lnTo>
                    <a:pt x="95" y="70"/>
                  </a:lnTo>
                  <a:lnTo>
                    <a:pt x="100" y="70"/>
                  </a:lnTo>
                  <a:lnTo>
                    <a:pt x="106" y="69"/>
                  </a:lnTo>
                  <a:lnTo>
                    <a:pt x="109" y="67"/>
                  </a:lnTo>
                  <a:lnTo>
                    <a:pt x="106" y="58"/>
                  </a:lnTo>
                  <a:lnTo>
                    <a:pt x="100" y="48"/>
                  </a:lnTo>
                  <a:lnTo>
                    <a:pt x="102" y="41"/>
                  </a:lnTo>
                  <a:lnTo>
                    <a:pt x="108" y="32"/>
                  </a:lnTo>
                  <a:lnTo>
                    <a:pt x="119" y="32"/>
                  </a:lnTo>
                  <a:lnTo>
                    <a:pt x="128" y="28"/>
                  </a:lnTo>
                  <a:lnTo>
                    <a:pt x="139" y="22"/>
                  </a:lnTo>
                  <a:lnTo>
                    <a:pt x="150" y="17"/>
                  </a:lnTo>
                  <a:lnTo>
                    <a:pt x="172" y="11"/>
                  </a:lnTo>
                  <a:lnTo>
                    <a:pt x="194" y="6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7" y="10"/>
                  </a:lnTo>
                  <a:lnTo>
                    <a:pt x="211" y="17"/>
                  </a:lnTo>
                  <a:lnTo>
                    <a:pt x="224" y="21"/>
                  </a:lnTo>
                  <a:lnTo>
                    <a:pt x="235" y="21"/>
                  </a:lnTo>
                  <a:lnTo>
                    <a:pt x="244" y="21"/>
                  </a:lnTo>
                  <a:lnTo>
                    <a:pt x="252" y="19"/>
                  </a:lnTo>
                  <a:lnTo>
                    <a:pt x="259" y="15"/>
                  </a:lnTo>
                  <a:lnTo>
                    <a:pt x="266" y="13"/>
                  </a:lnTo>
                  <a:lnTo>
                    <a:pt x="272" y="13"/>
                  </a:lnTo>
                  <a:lnTo>
                    <a:pt x="276" y="15"/>
                  </a:lnTo>
                  <a:lnTo>
                    <a:pt x="279" y="17"/>
                  </a:lnTo>
                  <a:lnTo>
                    <a:pt x="281" y="22"/>
                  </a:lnTo>
                  <a:lnTo>
                    <a:pt x="283" y="26"/>
                  </a:lnTo>
                  <a:lnTo>
                    <a:pt x="283" y="34"/>
                  </a:lnTo>
                  <a:lnTo>
                    <a:pt x="287" y="37"/>
                  </a:lnTo>
                  <a:lnTo>
                    <a:pt x="296" y="41"/>
                  </a:lnTo>
                  <a:lnTo>
                    <a:pt x="309" y="45"/>
                  </a:lnTo>
                  <a:lnTo>
                    <a:pt x="325" y="50"/>
                  </a:lnTo>
                  <a:lnTo>
                    <a:pt x="324" y="52"/>
                  </a:lnTo>
                  <a:lnTo>
                    <a:pt x="333" y="72"/>
                  </a:lnTo>
                  <a:lnTo>
                    <a:pt x="340" y="102"/>
                  </a:lnTo>
                  <a:lnTo>
                    <a:pt x="331" y="104"/>
                  </a:lnTo>
                  <a:lnTo>
                    <a:pt x="322" y="106"/>
                  </a:lnTo>
                  <a:lnTo>
                    <a:pt x="316" y="111"/>
                  </a:lnTo>
                  <a:lnTo>
                    <a:pt x="311" y="113"/>
                  </a:lnTo>
                  <a:lnTo>
                    <a:pt x="300" y="104"/>
                  </a:lnTo>
                  <a:lnTo>
                    <a:pt x="290" y="98"/>
                  </a:lnTo>
                  <a:lnTo>
                    <a:pt x="281" y="111"/>
                  </a:lnTo>
                  <a:lnTo>
                    <a:pt x="265" y="131"/>
                  </a:lnTo>
                  <a:lnTo>
                    <a:pt x="255" y="124"/>
                  </a:lnTo>
                  <a:lnTo>
                    <a:pt x="246" y="119"/>
                  </a:lnTo>
                  <a:lnTo>
                    <a:pt x="237" y="113"/>
                  </a:lnTo>
                  <a:lnTo>
                    <a:pt x="228" y="111"/>
                  </a:lnTo>
                  <a:lnTo>
                    <a:pt x="213" y="109"/>
                  </a:lnTo>
                  <a:lnTo>
                    <a:pt x="198" y="111"/>
                  </a:lnTo>
                  <a:lnTo>
                    <a:pt x="194" y="117"/>
                  </a:lnTo>
                  <a:lnTo>
                    <a:pt x="194" y="124"/>
                  </a:lnTo>
                  <a:lnTo>
                    <a:pt x="192" y="131"/>
                  </a:lnTo>
                  <a:lnTo>
                    <a:pt x="194" y="139"/>
                  </a:lnTo>
                  <a:lnTo>
                    <a:pt x="194" y="155"/>
                  </a:lnTo>
                  <a:lnTo>
                    <a:pt x="196" y="172"/>
                  </a:lnTo>
                  <a:lnTo>
                    <a:pt x="192" y="180"/>
                  </a:lnTo>
                  <a:lnTo>
                    <a:pt x="185" y="189"/>
                  </a:lnTo>
                  <a:lnTo>
                    <a:pt x="178" y="192"/>
                  </a:lnTo>
                  <a:lnTo>
                    <a:pt x="168" y="198"/>
                  </a:lnTo>
                  <a:lnTo>
                    <a:pt x="168" y="209"/>
                  </a:lnTo>
                  <a:lnTo>
                    <a:pt x="165" y="216"/>
                  </a:lnTo>
                  <a:lnTo>
                    <a:pt x="157" y="218"/>
                  </a:lnTo>
                  <a:lnTo>
                    <a:pt x="148" y="215"/>
                  </a:lnTo>
                  <a:lnTo>
                    <a:pt x="133" y="216"/>
                  </a:lnTo>
                  <a:lnTo>
                    <a:pt x="120" y="220"/>
                  </a:lnTo>
                  <a:lnTo>
                    <a:pt x="115" y="218"/>
                  </a:lnTo>
                  <a:lnTo>
                    <a:pt x="111" y="216"/>
                  </a:lnTo>
                  <a:lnTo>
                    <a:pt x="111" y="211"/>
                  </a:lnTo>
                  <a:lnTo>
                    <a:pt x="113" y="204"/>
                  </a:lnTo>
                  <a:lnTo>
                    <a:pt x="115" y="200"/>
                  </a:lnTo>
                  <a:lnTo>
                    <a:pt x="115" y="198"/>
                  </a:lnTo>
                  <a:lnTo>
                    <a:pt x="113" y="196"/>
                  </a:lnTo>
                  <a:lnTo>
                    <a:pt x="111" y="194"/>
                  </a:lnTo>
                  <a:lnTo>
                    <a:pt x="104" y="196"/>
                  </a:lnTo>
                  <a:lnTo>
                    <a:pt x="96" y="202"/>
                  </a:lnTo>
                  <a:lnTo>
                    <a:pt x="91" y="205"/>
                  </a:lnTo>
                  <a:lnTo>
                    <a:pt x="83" y="207"/>
                  </a:lnTo>
                  <a:lnTo>
                    <a:pt x="74" y="209"/>
                  </a:lnTo>
                  <a:lnTo>
                    <a:pt x="63" y="209"/>
                  </a:lnTo>
                  <a:lnTo>
                    <a:pt x="54" y="205"/>
                  </a:lnTo>
                  <a:lnTo>
                    <a:pt x="47" y="200"/>
                  </a:lnTo>
                  <a:lnTo>
                    <a:pt x="41" y="192"/>
                  </a:lnTo>
                  <a:lnTo>
                    <a:pt x="39" y="187"/>
                  </a:lnTo>
                  <a:lnTo>
                    <a:pt x="41" y="180"/>
                  </a:lnTo>
                  <a:lnTo>
                    <a:pt x="41" y="170"/>
                  </a:lnTo>
                  <a:lnTo>
                    <a:pt x="37" y="165"/>
                  </a:lnTo>
                  <a:lnTo>
                    <a:pt x="34" y="161"/>
                  </a:lnTo>
                  <a:lnTo>
                    <a:pt x="37" y="148"/>
                  </a:lnTo>
                  <a:lnTo>
                    <a:pt x="37" y="137"/>
                  </a:lnTo>
                  <a:lnTo>
                    <a:pt x="24" y="131"/>
                  </a:lnTo>
                  <a:lnTo>
                    <a:pt x="8" y="128"/>
                  </a:lnTo>
                  <a:lnTo>
                    <a:pt x="4" y="11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2" y="102"/>
                  </a:lnTo>
                  <a:lnTo>
                    <a:pt x="6" y="98"/>
                  </a:lnTo>
                  <a:lnTo>
                    <a:pt x="10" y="93"/>
                  </a:lnTo>
                  <a:lnTo>
                    <a:pt x="8" y="89"/>
                  </a:lnTo>
                  <a:lnTo>
                    <a:pt x="2" y="83"/>
                  </a:lnTo>
                  <a:lnTo>
                    <a:pt x="0" y="7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20" name="Freeform 96"/>
            <p:cNvSpPr>
              <a:spLocks/>
            </p:cNvSpPr>
            <p:nvPr/>
          </p:nvSpPr>
          <p:spPr bwMode="auto">
            <a:xfrm>
              <a:off x="3859838" y="2193281"/>
              <a:ext cx="103315" cy="93129"/>
            </a:xfrm>
            <a:custGeom>
              <a:avLst/>
              <a:gdLst>
                <a:gd name="T0" fmla="*/ 41 w 198"/>
                <a:gd name="T1" fmla="*/ 17 h 183"/>
                <a:gd name="T2" fmla="*/ 57 w 198"/>
                <a:gd name="T3" fmla="*/ 9 h 183"/>
                <a:gd name="T4" fmla="*/ 70 w 198"/>
                <a:gd name="T5" fmla="*/ 0 h 183"/>
                <a:gd name="T6" fmla="*/ 78 w 198"/>
                <a:gd name="T7" fmla="*/ 6 h 183"/>
                <a:gd name="T8" fmla="*/ 87 w 198"/>
                <a:gd name="T9" fmla="*/ 13 h 183"/>
                <a:gd name="T10" fmla="*/ 102 w 198"/>
                <a:gd name="T11" fmla="*/ 19 h 183"/>
                <a:gd name="T12" fmla="*/ 126 w 198"/>
                <a:gd name="T13" fmla="*/ 15 h 183"/>
                <a:gd name="T14" fmla="*/ 142 w 198"/>
                <a:gd name="T15" fmla="*/ 13 h 183"/>
                <a:gd name="T16" fmla="*/ 157 w 198"/>
                <a:gd name="T17" fmla="*/ 22 h 183"/>
                <a:gd name="T18" fmla="*/ 164 w 198"/>
                <a:gd name="T19" fmla="*/ 39 h 183"/>
                <a:gd name="T20" fmla="*/ 175 w 198"/>
                <a:gd name="T21" fmla="*/ 65 h 183"/>
                <a:gd name="T22" fmla="*/ 188 w 198"/>
                <a:gd name="T23" fmla="*/ 92 h 183"/>
                <a:gd name="T24" fmla="*/ 196 w 198"/>
                <a:gd name="T25" fmla="*/ 111 h 183"/>
                <a:gd name="T26" fmla="*/ 194 w 198"/>
                <a:gd name="T27" fmla="*/ 120 h 183"/>
                <a:gd name="T28" fmla="*/ 188 w 198"/>
                <a:gd name="T29" fmla="*/ 128 h 183"/>
                <a:gd name="T30" fmla="*/ 188 w 198"/>
                <a:gd name="T31" fmla="*/ 131 h 183"/>
                <a:gd name="T32" fmla="*/ 179 w 198"/>
                <a:gd name="T33" fmla="*/ 139 h 183"/>
                <a:gd name="T34" fmla="*/ 168 w 198"/>
                <a:gd name="T35" fmla="*/ 155 h 183"/>
                <a:gd name="T36" fmla="*/ 155 w 198"/>
                <a:gd name="T37" fmla="*/ 165 h 183"/>
                <a:gd name="T38" fmla="*/ 148 w 198"/>
                <a:gd name="T39" fmla="*/ 172 h 183"/>
                <a:gd name="T40" fmla="*/ 137 w 198"/>
                <a:gd name="T41" fmla="*/ 174 h 183"/>
                <a:gd name="T42" fmla="*/ 122 w 198"/>
                <a:gd name="T43" fmla="*/ 176 h 183"/>
                <a:gd name="T44" fmla="*/ 118 w 198"/>
                <a:gd name="T45" fmla="*/ 183 h 183"/>
                <a:gd name="T46" fmla="*/ 111 w 198"/>
                <a:gd name="T47" fmla="*/ 179 h 183"/>
                <a:gd name="T48" fmla="*/ 103 w 198"/>
                <a:gd name="T49" fmla="*/ 176 h 183"/>
                <a:gd name="T50" fmla="*/ 96 w 198"/>
                <a:gd name="T51" fmla="*/ 161 h 183"/>
                <a:gd name="T52" fmla="*/ 83 w 198"/>
                <a:gd name="T53" fmla="*/ 150 h 183"/>
                <a:gd name="T54" fmla="*/ 72 w 198"/>
                <a:gd name="T55" fmla="*/ 152 h 183"/>
                <a:gd name="T56" fmla="*/ 63 w 198"/>
                <a:gd name="T57" fmla="*/ 157 h 183"/>
                <a:gd name="T58" fmla="*/ 55 w 198"/>
                <a:gd name="T59" fmla="*/ 141 h 183"/>
                <a:gd name="T60" fmla="*/ 50 w 198"/>
                <a:gd name="T61" fmla="*/ 126 h 183"/>
                <a:gd name="T62" fmla="*/ 41 w 198"/>
                <a:gd name="T63" fmla="*/ 126 h 183"/>
                <a:gd name="T64" fmla="*/ 29 w 198"/>
                <a:gd name="T65" fmla="*/ 126 h 183"/>
                <a:gd name="T66" fmla="*/ 24 w 198"/>
                <a:gd name="T67" fmla="*/ 118 h 183"/>
                <a:gd name="T68" fmla="*/ 24 w 198"/>
                <a:gd name="T69" fmla="*/ 107 h 183"/>
                <a:gd name="T70" fmla="*/ 24 w 198"/>
                <a:gd name="T71" fmla="*/ 102 h 183"/>
                <a:gd name="T72" fmla="*/ 11 w 198"/>
                <a:gd name="T73" fmla="*/ 92 h 183"/>
                <a:gd name="T74" fmla="*/ 2 w 198"/>
                <a:gd name="T75" fmla="*/ 80 h 183"/>
                <a:gd name="T76" fmla="*/ 2 w 198"/>
                <a:gd name="T77" fmla="*/ 59 h 183"/>
                <a:gd name="T78" fmla="*/ 2 w 198"/>
                <a:gd name="T79" fmla="*/ 59 h 183"/>
                <a:gd name="T80" fmla="*/ 13 w 198"/>
                <a:gd name="T81" fmla="*/ 48 h 183"/>
                <a:gd name="T82" fmla="*/ 31 w 198"/>
                <a:gd name="T83" fmla="*/ 9 h 18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98"/>
                <a:gd name="T127" fmla="*/ 0 h 183"/>
                <a:gd name="T128" fmla="*/ 198 w 198"/>
                <a:gd name="T129" fmla="*/ 183 h 18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98" h="183">
                  <a:moveTo>
                    <a:pt x="31" y="9"/>
                  </a:moveTo>
                  <a:lnTo>
                    <a:pt x="41" y="17"/>
                  </a:lnTo>
                  <a:lnTo>
                    <a:pt x="52" y="19"/>
                  </a:lnTo>
                  <a:lnTo>
                    <a:pt x="57" y="9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4" y="2"/>
                  </a:lnTo>
                  <a:lnTo>
                    <a:pt x="78" y="6"/>
                  </a:lnTo>
                  <a:lnTo>
                    <a:pt x="83" y="9"/>
                  </a:lnTo>
                  <a:lnTo>
                    <a:pt x="87" y="13"/>
                  </a:lnTo>
                  <a:lnTo>
                    <a:pt x="94" y="15"/>
                  </a:lnTo>
                  <a:lnTo>
                    <a:pt x="102" y="19"/>
                  </a:lnTo>
                  <a:lnTo>
                    <a:pt x="114" y="19"/>
                  </a:lnTo>
                  <a:lnTo>
                    <a:pt x="126" y="15"/>
                  </a:lnTo>
                  <a:lnTo>
                    <a:pt x="135" y="11"/>
                  </a:lnTo>
                  <a:lnTo>
                    <a:pt x="142" y="13"/>
                  </a:lnTo>
                  <a:lnTo>
                    <a:pt x="150" y="17"/>
                  </a:lnTo>
                  <a:lnTo>
                    <a:pt x="157" y="22"/>
                  </a:lnTo>
                  <a:lnTo>
                    <a:pt x="163" y="30"/>
                  </a:lnTo>
                  <a:lnTo>
                    <a:pt x="164" y="39"/>
                  </a:lnTo>
                  <a:lnTo>
                    <a:pt x="166" y="50"/>
                  </a:lnTo>
                  <a:lnTo>
                    <a:pt x="175" y="65"/>
                  </a:lnTo>
                  <a:lnTo>
                    <a:pt x="185" y="80"/>
                  </a:lnTo>
                  <a:lnTo>
                    <a:pt x="188" y="92"/>
                  </a:lnTo>
                  <a:lnTo>
                    <a:pt x="190" y="105"/>
                  </a:lnTo>
                  <a:lnTo>
                    <a:pt x="196" y="111"/>
                  </a:lnTo>
                  <a:lnTo>
                    <a:pt x="198" y="115"/>
                  </a:lnTo>
                  <a:lnTo>
                    <a:pt x="194" y="120"/>
                  </a:lnTo>
                  <a:lnTo>
                    <a:pt x="190" y="124"/>
                  </a:lnTo>
                  <a:lnTo>
                    <a:pt x="188" y="128"/>
                  </a:lnTo>
                  <a:lnTo>
                    <a:pt x="188" y="131"/>
                  </a:lnTo>
                  <a:lnTo>
                    <a:pt x="187" y="131"/>
                  </a:lnTo>
                  <a:lnTo>
                    <a:pt x="179" y="139"/>
                  </a:lnTo>
                  <a:lnTo>
                    <a:pt x="174" y="148"/>
                  </a:lnTo>
                  <a:lnTo>
                    <a:pt x="168" y="155"/>
                  </a:lnTo>
                  <a:lnTo>
                    <a:pt x="161" y="163"/>
                  </a:lnTo>
                  <a:lnTo>
                    <a:pt x="155" y="165"/>
                  </a:lnTo>
                  <a:lnTo>
                    <a:pt x="151" y="166"/>
                  </a:lnTo>
                  <a:lnTo>
                    <a:pt x="148" y="172"/>
                  </a:lnTo>
                  <a:lnTo>
                    <a:pt x="146" y="177"/>
                  </a:lnTo>
                  <a:lnTo>
                    <a:pt x="137" y="174"/>
                  </a:lnTo>
                  <a:lnTo>
                    <a:pt x="127" y="170"/>
                  </a:lnTo>
                  <a:lnTo>
                    <a:pt x="122" y="176"/>
                  </a:lnTo>
                  <a:lnTo>
                    <a:pt x="118" y="181"/>
                  </a:lnTo>
                  <a:lnTo>
                    <a:pt x="118" y="183"/>
                  </a:lnTo>
                  <a:lnTo>
                    <a:pt x="116" y="183"/>
                  </a:lnTo>
                  <a:lnTo>
                    <a:pt x="111" y="179"/>
                  </a:lnTo>
                  <a:lnTo>
                    <a:pt x="103" y="176"/>
                  </a:lnTo>
                  <a:lnTo>
                    <a:pt x="96" y="161"/>
                  </a:lnTo>
                  <a:lnTo>
                    <a:pt x="90" y="152"/>
                  </a:lnTo>
                  <a:lnTo>
                    <a:pt x="83" y="150"/>
                  </a:lnTo>
                  <a:lnTo>
                    <a:pt x="78" y="150"/>
                  </a:lnTo>
                  <a:lnTo>
                    <a:pt x="72" y="152"/>
                  </a:lnTo>
                  <a:lnTo>
                    <a:pt x="66" y="155"/>
                  </a:lnTo>
                  <a:lnTo>
                    <a:pt x="63" y="157"/>
                  </a:lnTo>
                  <a:lnTo>
                    <a:pt x="57" y="155"/>
                  </a:lnTo>
                  <a:lnTo>
                    <a:pt x="55" y="141"/>
                  </a:lnTo>
                  <a:lnTo>
                    <a:pt x="54" y="128"/>
                  </a:lnTo>
                  <a:lnTo>
                    <a:pt x="50" y="126"/>
                  </a:lnTo>
                  <a:lnTo>
                    <a:pt x="46" y="126"/>
                  </a:lnTo>
                  <a:lnTo>
                    <a:pt x="41" y="126"/>
                  </a:lnTo>
                  <a:lnTo>
                    <a:pt x="35" y="128"/>
                  </a:lnTo>
                  <a:lnTo>
                    <a:pt x="29" y="126"/>
                  </a:lnTo>
                  <a:lnTo>
                    <a:pt x="26" y="124"/>
                  </a:lnTo>
                  <a:lnTo>
                    <a:pt x="24" y="118"/>
                  </a:lnTo>
                  <a:lnTo>
                    <a:pt x="24" y="107"/>
                  </a:lnTo>
                  <a:lnTo>
                    <a:pt x="24" y="102"/>
                  </a:lnTo>
                  <a:lnTo>
                    <a:pt x="22" y="98"/>
                  </a:lnTo>
                  <a:lnTo>
                    <a:pt x="11" y="92"/>
                  </a:lnTo>
                  <a:lnTo>
                    <a:pt x="0" y="91"/>
                  </a:lnTo>
                  <a:lnTo>
                    <a:pt x="2" y="80"/>
                  </a:lnTo>
                  <a:lnTo>
                    <a:pt x="2" y="59"/>
                  </a:lnTo>
                  <a:lnTo>
                    <a:pt x="7" y="54"/>
                  </a:lnTo>
                  <a:lnTo>
                    <a:pt x="13" y="48"/>
                  </a:lnTo>
                  <a:lnTo>
                    <a:pt x="24" y="30"/>
                  </a:lnTo>
                  <a:lnTo>
                    <a:pt x="31" y="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21" name="Freeform 97"/>
            <p:cNvSpPr>
              <a:spLocks/>
            </p:cNvSpPr>
            <p:nvPr/>
          </p:nvSpPr>
          <p:spPr bwMode="auto">
            <a:xfrm>
              <a:off x="3953239" y="2059949"/>
              <a:ext cx="103315" cy="96691"/>
            </a:xfrm>
            <a:custGeom>
              <a:avLst/>
              <a:gdLst>
                <a:gd name="T0" fmla="*/ 0 w 198"/>
                <a:gd name="T1" fmla="*/ 146 h 190"/>
                <a:gd name="T2" fmla="*/ 2 w 198"/>
                <a:gd name="T3" fmla="*/ 159 h 190"/>
                <a:gd name="T4" fmla="*/ 11 w 198"/>
                <a:gd name="T5" fmla="*/ 170 h 190"/>
                <a:gd name="T6" fmla="*/ 30 w 198"/>
                <a:gd name="T7" fmla="*/ 181 h 190"/>
                <a:gd name="T8" fmla="*/ 43 w 198"/>
                <a:gd name="T9" fmla="*/ 186 h 190"/>
                <a:gd name="T10" fmla="*/ 54 w 198"/>
                <a:gd name="T11" fmla="*/ 179 h 190"/>
                <a:gd name="T12" fmla="*/ 67 w 198"/>
                <a:gd name="T13" fmla="*/ 177 h 190"/>
                <a:gd name="T14" fmla="*/ 85 w 198"/>
                <a:gd name="T15" fmla="*/ 181 h 190"/>
                <a:gd name="T16" fmla="*/ 109 w 198"/>
                <a:gd name="T17" fmla="*/ 186 h 190"/>
                <a:gd name="T18" fmla="*/ 133 w 198"/>
                <a:gd name="T19" fmla="*/ 181 h 190"/>
                <a:gd name="T20" fmla="*/ 150 w 198"/>
                <a:gd name="T21" fmla="*/ 166 h 190"/>
                <a:gd name="T22" fmla="*/ 163 w 198"/>
                <a:gd name="T23" fmla="*/ 157 h 190"/>
                <a:gd name="T24" fmla="*/ 177 w 198"/>
                <a:gd name="T25" fmla="*/ 149 h 190"/>
                <a:gd name="T26" fmla="*/ 190 w 198"/>
                <a:gd name="T27" fmla="*/ 142 h 190"/>
                <a:gd name="T28" fmla="*/ 192 w 198"/>
                <a:gd name="T29" fmla="*/ 131 h 190"/>
                <a:gd name="T30" fmla="*/ 187 w 198"/>
                <a:gd name="T31" fmla="*/ 122 h 190"/>
                <a:gd name="T32" fmla="*/ 183 w 198"/>
                <a:gd name="T33" fmla="*/ 105 h 190"/>
                <a:gd name="T34" fmla="*/ 185 w 198"/>
                <a:gd name="T35" fmla="*/ 83 h 190"/>
                <a:gd name="T36" fmla="*/ 185 w 198"/>
                <a:gd name="T37" fmla="*/ 63 h 190"/>
                <a:gd name="T38" fmla="*/ 170 w 198"/>
                <a:gd name="T39" fmla="*/ 57 h 190"/>
                <a:gd name="T40" fmla="*/ 144 w 198"/>
                <a:gd name="T41" fmla="*/ 48 h 190"/>
                <a:gd name="T42" fmla="*/ 122 w 198"/>
                <a:gd name="T43" fmla="*/ 33 h 190"/>
                <a:gd name="T44" fmla="*/ 107 w 198"/>
                <a:gd name="T45" fmla="*/ 14 h 190"/>
                <a:gd name="T46" fmla="*/ 102 w 198"/>
                <a:gd name="T47" fmla="*/ 13 h 190"/>
                <a:gd name="T48" fmla="*/ 91 w 198"/>
                <a:gd name="T49" fmla="*/ 29 h 190"/>
                <a:gd name="T50" fmla="*/ 74 w 198"/>
                <a:gd name="T51" fmla="*/ 40 h 190"/>
                <a:gd name="T52" fmla="*/ 61 w 198"/>
                <a:gd name="T53" fmla="*/ 51 h 190"/>
                <a:gd name="T54" fmla="*/ 57 w 198"/>
                <a:gd name="T55" fmla="*/ 61 h 190"/>
                <a:gd name="T56" fmla="*/ 52 w 198"/>
                <a:gd name="T57" fmla="*/ 75 h 190"/>
                <a:gd name="T58" fmla="*/ 43 w 198"/>
                <a:gd name="T59" fmla="*/ 99 h 190"/>
                <a:gd name="T60" fmla="*/ 22 w 198"/>
                <a:gd name="T61" fmla="*/ 127 h 190"/>
                <a:gd name="T62" fmla="*/ 2 w 198"/>
                <a:gd name="T63" fmla="*/ 140 h 19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8"/>
                <a:gd name="T97" fmla="*/ 0 h 190"/>
                <a:gd name="T98" fmla="*/ 198 w 198"/>
                <a:gd name="T99" fmla="*/ 190 h 19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8" h="190">
                  <a:moveTo>
                    <a:pt x="2" y="140"/>
                  </a:moveTo>
                  <a:lnTo>
                    <a:pt x="0" y="146"/>
                  </a:lnTo>
                  <a:lnTo>
                    <a:pt x="0" y="149"/>
                  </a:lnTo>
                  <a:lnTo>
                    <a:pt x="2" y="159"/>
                  </a:lnTo>
                  <a:lnTo>
                    <a:pt x="6" y="164"/>
                  </a:lnTo>
                  <a:lnTo>
                    <a:pt x="11" y="170"/>
                  </a:lnTo>
                  <a:lnTo>
                    <a:pt x="17" y="173"/>
                  </a:lnTo>
                  <a:lnTo>
                    <a:pt x="30" y="181"/>
                  </a:lnTo>
                  <a:lnTo>
                    <a:pt x="39" y="190"/>
                  </a:lnTo>
                  <a:lnTo>
                    <a:pt x="43" y="186"/>
                  </a:lnTo>
                  <a:lnTo>
                    <a:pt x="48" y="181"/>
                  </a:lnTo>
                  <a:lnTo>
                    <a:pt x="54" y="179"/>
                  </a:lnTo>
                  <a:lnTo>
                    <a:pt x="59" y="177"/>
                  </a:lnTo>
                  <a:lnTo>
                    <a:pt x="67" y="177"/>
                  </a:lnTo>
                  <a:lnTo>
                    <a:pt x="76" y="177"/>
                  </a:lnTo>
                  <a:lnTo>
                    <a:pt x="85" y="181"/>
                  </a:lnTo>
                  <a:lnTo>
                    <a:pt x="94" y="186"/>
                  </a:lnTo>
                  <a:lnTo>
                    <a:pt x="109" y="186"/>
                  </a:lnTo>
                  <a:lnTo>
                    <a:pt x="122" y="184"/>
                  </a:lnTo>
                  <a:lnTo>
                    <a:pt x="133" y="181"/>
                  </a:lnTo>
                  <a:lnTo>
                    <a:pt x="142" y="173"/>
                  </a:lnTo>
                  <a:lnTo>
                    <a:pt x="150" y="166"/>
                  </a:lnTo>
                  <a:lnTo>
                    <a:pt x="155" y="160"/>
                  </a:lnTo>
                  <a:lnTo>
                    <a:pt x="163" y="157"/>
                  </a:lnTo>
                  <a:lnTo>
                    <a:pt x="170" y="153"/>
                  </a:lnTo>
                  <a:lnTo>
                    <a:pt x="177" y="149"/>
                  </a:lnTo>
                  <a:lnTo>
                    <a:pt x="185" y="146"/>
                  </a:lnTo>
                  <a:lnTo>
                    <a:pt x="190" y="142"/>
                  </a:lnTo>
                  <a:lnTo>
                    <a:pt x="198" y="135"/>
                  </a:lnTo>
                  <a:lnTo>
                    <a:pt x="192" y="131"/>
                  </a:lnTo>
                  <a:lnTo>
                    <a:pt x="189" y="125"/>
                  </a:lnTo>
                  <a:lnTo>
                    <a:pt x="187" y="122"/>
                  </a:lnTo>
                  <a:lnTo>
                    <a:pt x="185" y="116"/>
                  </a:lnTo>
                  <a:lnTo>
                    <a:pt x="183" y="105"/>
                  </a:lnTo>
                  <a:lnTo>
                    <a:pt x="183" y="94"/>
                  </a:lnTo>
                  <a:lnTo>
                    <a:pt x="185" y="83"/>
                  </a:lnTo>
                  <a:lnTo>
                    <a:pt x="185" y="72"/>
                  </a:lnTo>
                  <a:lnTo>
                    <a:pt x="185" y="63"/>
                  </a:lnTo>
                  <a:lnTo>
                    <a:pt x="179" y="55"/>
                  </a:lnTo>
                  <a:lnTo>
                    <a:pt x="170" y="57"/>
                  </a:lnTo>
                  <a:lnTo>
                    <a:pt x="157" y="59"/>
                  </a:lnTo>
                  <a:lnTo>
                    <a:pt x="144" y="48"/>
                  </a:lnTo>
                  <a:lnTo>
                    <a:pt x="135" y="35"/>
                  </a:lnTo>
                  <a:lnTo>
                    <a:pt x="122" y="33"/>
                  </a:lnTo>
                  <a:lnTo>
                    <a:pt x="107" y="29"/>
                  </a:lnTo>
                  <a:lnTo>
                    <a:pt x="107" y="14"/>
                  </a:lnTo>
                  <a:lnTo>
                    <a:pt x="105" y="0"/>
                  </a:lnTo>
                  <a:lnTo>
                    <a:pt x="102" y="13"/>
                  </a:lnTo>
                  <a:lnTo>
                    <a:pt x="98" y="26"/>
                  </a:lnTo>
                  <a:lnTo>
                    <a:pt x="91" y="29"/>
                  </a:lnTo>
                  <a:lnTo>
                    <a:pt x="85" y="33"/>
                  </a:lnTo>
                  <a:lnTo>
                    <a:pt x="74" y="40"/>
                  </a:lnTo>
                  <a:lnTo>
                    <a:pt x="65" y="46"/>
                  </a:lnTo>
                  <a:lnTo>
                    <a:pt x="61" y="51"/>
                  </a:lnTo>
                  <a:lnTo>
                    <a:pt x="59" y="55"/>
                  </a:lnTo>
                  <a:lnTo>
                    <a:pt x="57" y="61"/>
                  </a:lnTo>
                  <a:lnTo>
                    <a:pt x="56" y="66"/>
                  </a:lnTo>
                  <a:lnTo>
                    <a:pt x="52" y="75"/>
                  </a:lnTo>
                  <a:lnTo>
                    <a:pt x="44" y="87"/>
                  </a:lnTo>
                  <a:lnTo>
                    <a:pt x="43" y="99"/>
                  </a:lnTo>
                  <a:lnTo>
                    <a:pt x="41" y="112"/>
                  </a:lnTo>
                  <a:lnTo>
                    <a:pt x="22" y="127"/>
                  </a:lnTo>
                  <a:lnTo>
                    <a:pt x="4" y="142"/>
                  </a:lnTo>
                  <a:lnTo>
                    <a:pt x="2" y="14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22" name="Freeform 98"/>
            <p:cNvSpPr>
              <a:spLocks/>
            </p:cNvSpPr>
            <p:nvPr/>
          </p:nvSpPr>
          <p:spPr bwMode="auto">
            <a:xfrm>
              <a:off x="3861925" y="2085903"/>
              <a:ext cx="92357" cy="117556"/>
            </a:xfrm>
            <a:custGeom>
              <a:avLst/>
              <a:gdLst>
                <a:gd name="T0" fmla="*/ 159 w 177"/>
                <a:gd name="T1" fmla="*/ 108 h 231"/>
                <a:gd name="T2" fmla="*/ 140 w 177"/>
                <a:gd name="T3" fmla="*/ 128 h 231"/>
                <a:gd name="T4" fmla="*/ 133 w 177"/>
                <a:gd name="T5" fmla="*/ 148 h 231"/>
                <a:gd name="T6" fmla="*/ 129 w 177"/>
                <a:gd name="T7" fmla="*/ 163 h 231"/>
                <a:gd name="T8" fmla="*/ 131 w 177"/>
                <a:gd name="T9" fmla="*/ 180 h 231"/>
                <a:gd name="T10" fmla="*/ 146 w 177"/>
                <a:gd name="T11" fmla="*/ 189 h 231"/>
                <a:gd name="T12" fmla="*/ 157 w 177"/>
                <a:gd name="T13" fmla="*/ 193 h 231"/>
                <a:gd name="T14" fmla="*/ 157 w 177"/>
                <a:gd name="T15" fmla="*/ 213 h 231"/>
                <a:gd name="T16" fmla="*/ 153 w 177"/>
                <a:gd name="T17" fmla="*/ 226 h 231"/>
                <a:gd name="T18" fmla="*/ 140 w 177"/>
                <a:gd name="T19" fmla="*/ 224 h 231"/>
                <a:gd name="T20" fmla="*/ 122 w 177"/>
                <a:gd name="T21" fmla="*/ 226 h 231"/>
                <a:gd name="T22" fmla="*/ 98 w 177"/>
                <a:gd name="T23" fmla="*/ 230 h 231"/>
                <a:gd name="T24" fmla="*/ 83 w 177"/>
                <a:gd name="T25" fmla="*/ 224 h 231"/>
                <a:gd name="T26" fmla="*/ 74 w 177"/>
                <a:gd name="T27" fmla="*/ 217 h 231"/>
                <a:gd name="T28" fmla="*/ 66 w 177"/>
                <a:gd name="T29" fmla="*/ 211 h 231"/>
                <a:gd name="T30" fmla="*/ 53 w 177"/>
                <a:gd name="T31" fmla="*/ 220 h 231"/>
                <a:gd name="T32" fmla="*/ 37 w 177"/>
                <a:gd name="T33" fmla="*/ 228 h 231"/>
                <a:gd name="T34" fmla="*/ 27 w 177"/>
                <a:gd name="T35" fmla="*/ 220 h 231"/>
                <a:gd name="T36" fmla="*/ 33 w 177"/>
                <a:gd name="T37" fmla="*/ 213 h 231"/>
                <a:gd name="T38" fmla="*/ 40 w 177"/>
                <a:gd name="T39" fmla="*/ 198 h 231"/>
                <a:gd name="T40" fmla="*/ 37 w 177"/>
                <a:gd name="T41" fmla="*/ 182 h 231"/>
                <a:gd name="T42" fmla="*/ 24 w 177"/>
                <a:gd name="T43" fmla="*/ 163 h 231"/>
                <a:gd name="T44" fmla="*/ 27 w 177"/>
                <a:gd name="T45" fmla="*/ 133 h 231"/>
                <a:gd name="T46" fmla="*/ 44 w 177"/>
                <a:gd name="T47" fmla="*/ 104 h 231"/>
                <a:gd name="T48" fmla="*/ 40 w 177"/>
                <a:gd name="T49" fmla="*/ 95 h 231"/>
                <a:gd name="T50" fmla="*/ 25 w 177"/>
                <a:gd name="T51" fmla="*/ 84 h 231"/>
                <a:gd name="T52" fmla="*/ 11 w 177"/>
                <a:gd name="T53" fmla="*/ 65 h 231"/>
                <a:gd name="T54" fmla="*/ 5 w 177"/>
                <a:gd name="T55" fmla="*/ 50 h 231"/>
                <a:gd name="T56" fmla="*/ 0 w 177"/>
                <a:gd name="T57" fmla="*/ 41 h 231"/>
                <a:gd name="T58" fmla="*/ 11 w 177"/>
                <a:gd name="T59" fmla="*/ 30 h 231"/>
                <a:gd name="T60" fmla="*/ 25 w 177"/>
                <a:gd name="T61" fmla="*/ 26 h 231"/>
                <a:gd name="T62" fmla="*/ 33 w 177"/>
                <a:gd name="T63" fmla="*/ 23 h 231"/>
                <a:gd name="T64" fmla="*/ 37 w 177"/>
                <a:gd name="T65" fmla="*/ 12 h 231"/>
                <a:gd name="T66" fmla="*/ 48 w 177"/>
                <a:gd name="T67" fmla="*/ 8 h 231"/>
                <a:gd name="T68" fmla="*/ 75 w 177"/>
                <a:gd name="T69" fmla="*/ 4 h 231"/>
                <a:gd name="T70" fmla="*/ 86 w 177"/>
                <a:gd name="T71" fmla="*/ 15 h 231"/>
                <a:gd name="T72" fmla="*/ 92 w 177"/>
                <a:gd name="T73" fmla="*/ 39 h 231"/>
                <a:gd name="T74" fmla="*/ 107 w 177"/>
                <a:gd name="T75" fmla="*/ 41 h 231"/>
                <a:gd name="T76" fmla="*/ 122 w 177"/>
                <a:gd name="T77" fmla="*/ 48 h 231"/>
                <a:gd name="T78" fmla="*/ 149 w 177"/>
                <a:gd name="T79" fmla="*/ 60 h 231"/>
                <a:gd name="T80" fmla="*/ 166 w 177"/>
                <a:gd name="T81" fmla="*/ 65 h 231"/>
                <a:gd name="T82" fmla="*/ 177 w 177"/>
                <a:gd name="T83" fmla="*/ 78 h 231"/>
                <a:gd name="T84" fmla="*/ 175 w 177"/>
                <a:gd name="T85" fmla="*/ 95 h 2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7"/>
                <a:gd name="T130" fmla="*/ 0 h 231"/>
                <a:gd name="T131" fmla="*/ 177 w 177"/>
                <a:gd name="T132" fmla="*/ 231 h 23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7" h="231">
                  <a:moveTo>
                    <a:pt x="175" y="98"/>
                  </a:moveTo>
                  <a:lnTo>
                    <a:pt x="159" y="108"/>
                  </a:lnTo>
                  <a:lnTo>
                    <a:pt x="146" y="117"/>
                  </a:lnTo>
                  <a:lnTo>
                    <a:pt x="140" y="128"/>
                  </a:lnTo>
                  <a:lnTo>
                    <a:pt x="138" y="141"/>
                  </a:lnTo>
                  <a:lnTo>
                    <a:pt x="133" y="148"/>
                  </a:lnTo>
                  <a:lnTo>
                    <a:pt x="129" y="156"/>
                  </a:lnTo>
                  <a:lnTo>
                    <a:pt x="129" y="163"/>
                  </a:lnTo>
                  <a:lnTo>
                    <a:pt x="129" y="172"/>
                  </a:lnTo>
                  <a:lnTo>
                    <a:pt x="131" y="180"/>
                  </a:lnTo>
                  <a:lnTo>
                    <a:pt x="133" y="187"/>
                  </a:lnTo>
                  <a:lnTo>
                    <a:pt x="146" y="189"/>
                  </a:lnTo>
                  <a:lnTo>
                    <a:pt x="155" y="187"/>
                  </a:lnTo>
                  <a:lnTo>
                    <a:pt x="157" y="193"/>
                  </a:lnTo>
                  <a:lnTo>
                    <a:pt x="157" y="207"/>
                  </a:lnTo>
                  <a:lnTo>
                    <a:pt x="157" y="213"/>
                  </a:lnTo>
                  <a:lnTo>
                    <a:pt x="155" y="220"/>
                  </a:lnTo>
                  <a:lnTo>
                    <a:pt x="153" y="226"/>
                  </a:lnTo>
                  <a:lnTo>
                    <a:pt x="149" y="231"/>
                  </a:lnTo>
                  <a:lnTo>
                    <a:pt x="140" y="224"/>
                  </a:lnTo>
                  <a:lnTo>
                    <a:pt x="131" y="222"/>
                  </a:lnTo>
                  <a:lnTo>
                    <a:pt x="122" y="226"/>
                  </a:lnTo>
                  <a:lnTo>
                    <a:pt x="110" y="230"/>
                  </a:lnTo>
                  <a:lnTo>
                    <a:pt x="98" y="230"/>
                  </a:lnTo>
                  <a:lnTo>
                    <a:pt x="90" y="226"/>
                  </a:lnTo>
                  <a:lnTo>
                    <a:pt x="83" y="224"/>
                  </a:lnTo>
                  <a:lnTo>
                    <a:pt x="79" y="220"/>
                  </a:lnTo>
                  <a:lnTo>
                    <a:pt x="74" y="217"/>
                  </a:lnTo>
                  <a:lnTo>
                    <a:pt x="70" y="213"/>
                  </a:lnTo>
                  <a:lnTo>
                    <a:pt x="66" y="211"/>
                  </a:lnTo>
                  <a:lnTo>
                    <a:pt x="61" y="211"/>
                  </a:lnTo>
                  <a:lnTo>
                    <a:pt x="53" y="220"/>
                  </a:lnTo>
                  <a:lnTo>
                    <a:pt x="48" y="230"/>
                  </a:lnTo>
                  <a:lnTo>
                    <a:pt x="37" y="228"/>
                  </a:lnTo>
                  <a:lnTo>
                    <a:pt x="27" y="220"/>
                  </a:lnTo>
                  <a:lnTo>
                    <a:pt x="27" y="218"/>
                  </a:lnTo>
                  <a:lnTo>
                    <a:pt x="33" y="213"/>
                  </a:lnTo>
                  <a:lnTo>
                    <a:pt x="38" y="206"/>
                  </a:lnTo>
                  <a:lnTo>
                    <a:pt x="40" y="198"/>
                  </a:lnTo>
                  <a:lnTo>
                    <a:pt x="42" y="191"/>
                  </a:lnTo>
                  <a:lnTo>
                    <a:pt x="37" y="182"/>
                  </a:lnTo>
                  <a:lnTo>
                    <a:pt x="31" y="172"/>
                  </a:lnTo>
                  <a:lnTo>
                    <a:pt x="24" y="163"/>
                  </a:lnTo>
                  <a:lnTo>
                    <a:pt x="16" y="156"/>
                  </a:lnTo>
                  <a:lnTo>
                    <a:pt x="27" y="133"/>
                  </a:lnTo>
                  <a:lnTo>
                    <a:pt x="44" y="109"/>
                  </a:lnTo>
                  <a:lnTo>
                    <a:pt x="44" y="104"/>
                  </a:lnTo>
                  <a:lnTo>
                    <a:pt x="42" y="98"/>
                  </a:lnTo>
                  <a:lnTo>
                    <a:pt x="40" y="95"/>
                  </a:lnTo>
                  <a:lnTo>
                    <a:pt x="37" y="89"/>
                  </a:lnTo>
                  <a:lnTo>
                    <a:pt x="25" y="84"/>
                  </a:lnTo>
                  <a:lnTo>
                    <a:pt x="13" y="76"/>
                  </a:lnTo>
                  <a:lnTo>
                    <a:pt x="11" y="65"/>
                  </a:lnTo>
                  <a:lnTo>
                    <a:pt x="11" y="54"/>
                  </a:lnTo>
                  <a:lnTo>
                    <a:pt x="5" y="50"/>
                  </a:lnTo>
                  <a:lnTo>
                    <a:pt x="0" y="48"/>
                  </a:lnTo>
                  <a:lnTo>
                    <a:pt x="0" y="41"/>
                  </a:lnTo>
                  <a:lnTo>
                    <a:pt x="3" y="34"/>
                  </a:lnTo>
                  <a:lnTo>
                    <a:pt x="11" y="30"/>
                  </a:lnTo>
                  <a:lnTo>
                    <a:pt x="20" y="28"/>
                  </a:lnTo>
                  <a:lnTo>
                    <a:pt x="25" y="26"/>
                  </a:lnTo>
                  <a:lnTo>
                    <a:pt x="29" y="24"/>
                  </a:lnTo>
                  <a:lnTo>
                    <a:pt x="33" y="23"/>
                  </a:lnTo>
                  <a:lnTo>
                    <a:pt x="35" y="19"/>
                  </a:lnTo>
                  <a:lnTo>
                    <a:pt x="37" y="12"/>
                  </a:lnTo>
                  <a:lnTo>
                    <a:pt x="37" y="0"/>
                  </a:lnTo>
                  <a:lnTo>
                    <a:pt x="48" y="8"/>
                  </a:lnTo>
                  <a:lnTo>
                    <a:pt x="57" y="12"/>
                  </a:lnTo>
                  <a:lnTo>
                    <a:pt x="75" y="4"/>
                  </a:lnTo>
                  <a:lnTo>
                    <a:pt x="85" y="0"/>
                  </a:lnTo>
                  <a:lnTo>
                    <a:pt x="86" y="15"/>
                  </a:lnTo>
                  <a:lnTo>
                    <a:pt x="86" y="36"/>
                  </a:lnTo>
                  <a:lnTo>
                    <a:pt x="92" y="39"/>
                  </a:lnTo>
                  <a:lnTo>
                    <a:pt x="99" y="41"/>
                  </a:lnTo>
                  <a:lnTo>
                    <a:pt x="107" y="41"/>
                  </a:lnTo>
                  <a:lnTo>
                    <a:pt x="112" y="43"/>
                  </a:lnTo>
                  <a:lnTo>
                    <a:pt x="122" y="48"/>
                  </a:lnTo>
                  <a:lnTo>
                    <a:pt x="142" y="54"/>
                  </a:lnTo>
                  <a:lnTo>
                    <a:pt x="149" y="60"/>
                  </a:lnTo>
                  <a:lnTo>
                    <a:pt x="155" y="67"/>
                  </a:lnTo>
                  <a:lnTo>
                    <a:pt x="166" y="65"/>
                  </a:lnTo>
                  <a:lnTo>
                    <a:pt x="175" y="65"/>
                  </a:lnTo>
                  <a:lnTo>
                    <a:pt x="177" y="78"/>
                  </a:lnTo>
                  <a:lnTo>
                    <a:pt x="177" y="89"/>
                  </a:lnTo>
                  <a:lnTo>
                    <a:pt x="175" y="95"/>
                  </a:lnTo>
                  <a:lnTo>
                    <a:pt x="175" y="9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23" name="Freeform 99"/>
            <p:cNvSpPr>
              <a:spLocks/>
            </p:cNvSpPr>
            <p:nvPr/>
          </p:nvSpPr>
          <p:spPr bwMode="auto">
            <a:xfrm>
              <a:off x="3971501" y="2150024"/>
              <a:ext cx="92879" cy="70737"/>
            </a:xfrm>
            <a:custGeom>
              <a:avLst/>
              <a:gdLst>
                <a:gd name="T0" fmla="*/ 82 w 178"/>
                <a:gd name="T1" fmla="*/ 139 h 139"/>
                <a:gd name="T2" fmla="*/ 78 w 178"/>
                <a:gd name="T3" fmla="*/ 133 h 139"/>
                <a:gd name="T4" fmla="*/ 74 w 178"/>
                <a:gd name="T5" fmla="*/ 128 h 139"/>
                <a:gd name="T6" fmla="*/ 67 w 178"/>
                <a:gd name="T7" fmla="*/ 124 h 139"/>
                <a:gd name="T8" fmla="*/ 61 w 178"/>
                <a:gd name="T9" fmla="*/ 120 h 139"/>
                <a:gd name="T10" fmla="*/ 61 w 178"/>
                <a:gd name="T11" fmla="*/ 115 h 139"/>
                <a:gd name="T12" fmla="*/ 61 w 178"/>
                <a:gd name="T13" fmla="*/ 109 h 139"/>
                <a:gd name="T14" fmla="*/ 50 w 178"/>
                <a:gd name="T15" fmla="*/ 105 h 139"/>
                <a:gd name="T16" fmla="*/ 39 w 178"/>
                <a:gd name="T17" fmla="*/ 100 h 139"/>
                <a:gd name="T18" fmla="*/ 41 w 178"/>
                <a:gd name="T19" fmla="*/ 94 h 139"/>
                <a:gd name="T20" fmla="*/ 43 w 178"/>
                <a:gd name="T21" fmla="*/ 91 h 139"/>
                <a:gd name="T22" fmla="*/ 35 w 178"/>
                <a:gd name="T23" fmla="*/ 85 h 139"/>
                <a:gd name="T24" fmla="*/ 30 w 178"/>
                <a:gd name="T25" fmla="*/ 80 h 139"/>
                <a:gd name="T26" fmla="*/ 24 w 178"/>
                <a:gd name="T27" fmla="*/ 63 h 139"/>
                <a:gd name="T28" fmla="*/ 22 w 178"/>
                <a:gd name="T29" fmla="*/ 48 h 139"/>
                <a:gd name="T30" fmla="*/ 11 w 178"/>
                <a:gd name="T31" fmla="*/ 48 h 139"/>
                <a:gd name="T32" fmla="*/ 0 w 178"/>
                <a:gd name="T33" fmla="*/ 44 h 139"/>
                <a:gd name="T34" fmla="*/ 4 w 178"/>
                <a:gd name="T35" fmla="*/ 32 h 139"/>
                <a:gd name="T36" fmla="*/ 4 w 178"/>
                <a:gd name="T37" fmla="*/ 13 h 139"/>
                <a:gd name="T38" fmla="*/ 4 w 178"/>
                <a:gd name="T39" fmla="*/ 13 h 139"/>
                <a:gd name="T40" fmla="*/ 8 w 178"/>
                <a:gd name="T41" fmla="*/ 9 h 139"/>
                <a:gd name="T42" fmla="*/ 15 w 178"/>
                <a:gd name="T43" fmla="*/ 4 h 139"/>
                <a:gd name="T44" fmla="*/ 19 w 178"/>
                <a:gd name="T45" fmla="*/ 2 h 139"/>
                <a:gd name="T46" fmla="*/ 24 w 178"/>
                <a:gd name="T47" fmla="*/ 0 h 139"/>
                <a:gd name="T48" fmla="*/ 32 w 178"/>
                <a:gd name="T49" fmla="*/ 0 h 139"/>
                <a:gd name="T50" fmla="*/ 41 w 178"/>
                <a:gd name="T51" fmla="*/ 0 h 139"/>
                <a:gd name="T52" fmla="*/ 50 w 178"/>
                <a:gd name="T53" fmla="*/ 4 h 139"/>
                <a:gd name="T54" fmla="*/ 59 w 178"/>
                <a:gd name="T55" fmla="*/ 9 h 139"/>
                <a:gd name="T56" fmla="*/ 70 w 178"/>
                <a:gd name="T57" fmla="*/ 15 h 139"/>
                <a:gd name="T58" fmla="*/ 83 w 178"/>
                <a:gd name="T59" fmla="*/ 24 h 139"/>
                <a:gd name="T60" fmla="*/ 94 w 178"/>
                <a:gd name="T61" fmla="*/ 33 h 139"/>
                <a:gd name="T62" fmla="*/ 106 w 178"/>
                <a:gd name="T63" fmla="*/ 43 h 139"/>
                <a:gd name="T64" fmla="*/ 118 w 178"/>
                <a:gd name="T65" fmla="*/ 43 h 139"/>
                <a:gd name="T66" fmla="*/ 130 w 178"/>
                <a:gd name="T67" fmla="*/ 41 h 139"/>
                <a:gd name="T68" fmla="*/ 131 w 178"/>
                <a:gd name="T69" fmla="*/ 48 h 139"/>
                <a:gd name="T70" fmla="*/ 131 w 178"/>
                <a:gd name="T71" fmla="*/ 57 h 139"/>
                <a:gd name="T72" fmla="*/ 144 w 178"/>
                <a:gd name="T73" fmla="*/ 63 h 139"/>
                <a:gd name="T74" fmla="*/ 155 w 178"/>
                <a:gd name="T75" fmla="*/ 70 h 139"/>
                <a:gd name="T76" fmla="*/ 150 w 178"/>
                <a:gd name="T77" fmla="*/ 81 h 139"/>
                <a:gd name="T78" fmla="*/ 146 w 178"/>
                <a:gd name="T79" fmla="*/ 91 h 139"/>
                <a:gd name="T80" fmla="*/ 155 w 178"/>
                <a:gd name="T81" fmla="*/ 89 h 139"/>
                <a:gd name="T82" fmla="*/ 168 w 178"/>
                <a:gd name="T83" fmla="*/ 87 h 139"/>
                <a:gd name="T84" fmla="*/ 176 w 178"/>
                <a:gd name="T85" fmla="*/ 96 h 139"/>
                <a:gd name="T86" fmla="*/ 178 w 178"/>
                <a:gd name="T87" fmla="*/ 107 h 139"/>
                <a:gd name="T88" fmla="*/ 174 w 178"/>
                <a:gd name="T89" fmla="*/ 111 h 139"/>
                <a:gd name="T90" fmla="*/ 168 w 178"/>
                <a:gd name="T91" fmla="*/ 113 h 139"/>
                <a:gd name="T92" fmla="*/ 146 w 178"/>
                <a:gd name="T93" fmla="*/ 118 h 139"/>
                <a:gd name="T94" fmla="*/ 124 w 178"/>
                <a:gd name="T95" fmla="*/ 124 h 139"/>
                <a:gd name="T96" fmla="*/ 113 w 178"/>
                <a:gd name="T97" fmla="*/ 129 h 139"/>
                <a:gd name="T98" fmla="*/ 102 w 178"/>
                <a:gd name="T99" fmla="*/ 135 h 139"/>
                <a:gd name="T100" fmla="*/ 93 w 178"/>
                <a:gd name="T101" fmla="*/ 139 h 139"/>
                <a:gd name="T102" fmla="*/ 82 w 178"/>
                <a:gd name="T103" fmla="*/ 139 h 13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8"/>
                <a:gd name="T157" fmla="*/ 0 h 139"/>
                <a:gd name="T158" fmla="*/ 178 w 178"/>
                <a:gd name="T159" fmla="*/ 139 h 13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8" h="139">
                  <a:moveTo>
                    <a:pt x="82" y="139"/>
                  </a:moveTo>
                  <a:lnTo>
                    <a:pt x="78" y="133"/>
                  </a:lnTo>
                  <a:lnTo>
                    <a:pt x="74" y="128"/>
                  </a:lnTo>
                  <a:lnTo>
                    <a:pt x="67" y="124"/>
                  </a:lnTo>
                  <a:lnTo>
                    <a:pt x="61" y="120"/>
                  </a:lnTo>
                  <a:lnTo>
                    <a:pt x="61" y="115"/>
                  </a:lnTo>
                  <a:lnTo>
                    <a:pt x="61" y="109"/>
                  </a:lnTo>
                  <a:lnTo>
                    <a:pt x="50" y="105"/>
                  </a:lnTo>
                  <a:lnTo>
                    <a:pt x="39" y="100"/>
                  </a:lnTo>
                  <a:lnTo>
                    <a:pt x="41" y="94"/>
                  </a:lnTo>
                  <a:lnTo>
                    <a:pt x="43" y="91"/>
                  </a:lnTo>
                  <a:lnTo>
                    <a:pt x="35" y="85"/>
                  </a:lnTo>
                  <a:lnTo>
                    <a:pt x="30" y="80"/>
                  </a:lnTo>
                  <a:lnTo>
                    <a:pt x="24" y="63"/>
                  </a:lnTo>
                  <a:lnTo>
                    <a:pt x="22" y="48"/>
                  </a:lnTo>
                  <a:lnTo>
                    <a:pt x="11" y="48"/>
                  </a:lnTo>
                  <a:lnTo>
                    <a:pt x="0" y="44"/>
                  </a:lnTo>
                  <a:lnTo>
                    <a:pt x="4" y="32"/>
                  </a:lnTo>
                  <a:lnTo>
                    <a:pt x="4" y="13"/>
                  </a:lnTo>
                  <a:lnTo>
                    <a:pt x="8" y="9"/>
                  </a:lnTo>
                  <a:lnTo>
                    <a:pt x="15" y="4"/>
                  </a:lnTo>
                  <a:lnTo>
                    <a:pt x="19" y="2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41" y="0"/>
                  </a:lnTo>
                  <a:lnTo>
                    <a:pt x="50" y="4"/>
                  </a:lnTo>
                  <a:lnTo>
                    <a:pt x="59" y="9"/>
                  </a:lnTo>
                  <a:lnTo>
                    <a:pt x="70" y="15"/>
                  </a:lnTo>
                  <a:lnTo>
                    <a:pt x="83" y="24"/>
                  </a:lnTo>
                  <a:lnTo>
                    <a:pt x="94" y="33"/>
                  </a:lnTo>
                  <a:lnTo>
                    <a:pt x="106" y="43"/>
                  </a:lnTo>
                  <a:lnTo>
                    <a:pt x="118" y="43"/>
                  </a:lnTo>
                  <a:lnTo>
                    <a:pt x="130" y="41"/>
                  </a:lnTo>
                  <a:lnTo>
                    <a:pt x="131" y="48"/>
                  </a:lnTo>
                  <a:lnTo>
                    <a:pt x="131" y="57"/>
                  </a:lnTo>
                  <a:lnTo>
                    <a:pt x="144" y="63"/>
                  </a:lnTo>
                  <a:lnTo>
                    <a:pt x="155" y="70"/>
                  </a:lnTo>
                  <a:lnTo>
                    <a:pt x="150" y="81"/>
                  </a:lnTo>
                  <a:lnTo>
                    <a:pt x="146" y="91"/>
                  </a:lnTo>
                  <a:lnTo>
                    <a:pt x="155" y="89"/>
                  </a:lnTo>
                  <a:lnTo>
                    <a:pt x="168" y="87"/>
                  </a:lnTo>
                  <a:lnTo>
                    <a:pt x="176" y="96"/>
                  </a:lnTo>
                  <a:lnTo>
                    <a:pt x="178" y="107"/>
                  </a:lnTo>
                  <a:lnTo>
                    <a:pt x="174" y="111"/>
                  </a:lnTo>
                  <a:lnTo>
                    <a:pt x="168" y="113"/>
                  </a:lnTo>
                  <a:lnTo>
                    <a:pt x="146" y="118"/>
                  </a:lnTo>
                  <a:lnTo>
                    <a:pt x="124" y="124"/>
                  </a:lnTo>
                  <a:lnTo>
                    <a:pt x="113" y="129"/>
                  </a:lnTo>
                  <a:lnTo>
                    <a:pt x="102" y="135"/>
                  </a:lnTo>
                  <a:lnTo>
                    <a:pt x="93" y="139"/>
                  </a:lnTo>
                  <a:lnTo>
                    <a:pt x="82" y="13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24" name="Freeform 100"/>
            <p:cNvSpPr>
              <a:spLocks/>
            </p:cNvSpPr>
            <p:nvPr/>
          </p:nvSpPr>
          <p:spPr bwMode="auto">
            <a:xfrm>
              <a:off x="4002287" y="2118981"/>
              <a:ext cx="180540" cy="110941"/>
            </a:xfrm>
            <a:custGeom>
              <a:avLst/>
              <a:gdLst>
                <a:gd name="T0" fmla="*/ 224 w 346"/>
                <a:gd name="T1" fmla="*/ 213 h 218"/>
                <a:gd name="T2" fmla="*/ 202 w 346"/>
                <a:gd name="T3" fmla="*/ 205 h 218"/>
                <a:gd name="T4" fmla="*/ 198 w 346"/>
                <a:gd name="T5" fmla="*/ 194 h 218"/>
                <a:gd name="T6" fmla="*/ 194 w 346"/>
                <a:gd name="T7" fmla="*/ 185 h 218"/>
                <a:gd name="T8" fmla="*/ 187 w 346"/>
                <a:gd name="T9" fmla="*/ 181 h 218"/>
                <a:gd name="T10" fmla="*/ 174 w 346"/>
                <a:gd name="T11" fmla="*/ 183 h 218"/>
                <a:gd name="T12" fmla="*/ 159 w 346"/>
                <a:gd name="T13" fmla="*/ 189 h 218"/>
                <a:gd name="T14" fmla="*/ 139 w 346"/>
                <a:gd name="T15" fmla="*/ 189 h 218"/>
                <a:gd name="T16" fmla="*/ 122 w 346"/>
                <a:gd name="T17" fmla="*/ 178 h 218"/>
                <a:gd name="T18" fmla="*/ 119 w 346"/>
                <a:gd name="T19" fmla="*/ 168 h 218"/>
                <a:gd name="T20" fmla="*/ 119 w 346"/>
                <a:gd name="T21" fmla="*/ 168 h 218"/>
                <a:gd name="T22" fmla="*/ 117 w 346"/>
                <a:gd name="T23" fmla="*/ 157 h 218"/>
                <a:gd name="T24" fmla="*/ 96 w 346"/>
                <a:gd name="T25" fmla="*/ 150 h 218"/>
                <a:gd name="T26" fmla="*/ 91 w 346"/>
                <a:gd name="T27" fmla="*/ 142 h 218"/>
                <a:gd name="T28" fmla="*/ 85 w 346"/>
                <a:gd name="T29" fmla="*/ 124 h 218"/>
                <a:gd name="T30" fmla="*/ 72 w 346"/>
                <a:gd name="T31" fmla="*/ 109 h 218"/>
                <a:gd name="T32" fmla="*/ 59 w 346"/>
                <a:gd name="T33" fmla="*/ 104 h 218"/>
                <a:gd name="T34" fmla="*/ 35 w 346"/>
                <a:gd name="T35" fmla="*/ 94 h 218"/>
                <a:gd name="T36" fmla="*/ 11 w 346"/>
                <a:gd name="T37" fmla="*/ 76 h 218"/>
                <a:gd name="T38" fmla="*/ 15 w 346"/>
                <a:gd name="T39" fmla="*/ 70 h 218"/>
                <a:gd name="T40" fmla="*/ 39 w 346"/>
                <a:gd name="T41" fmla="*/ 65 h 218"/>
                <a:gd name="T42" fmla="*/ 56 w 346"/>
                <a:gd name="T43" fmla="*/ 50 h 218"/>
                <a:gd name="T44" fmla="*/ 69 w 346"/>
                <a:gd name="T45" fmla="*/ 41 h 218"/>
                <a:gd name="T46" fmla="*/ 83 w 346"/>
                <a:gd name="T47" fmla="*/ 33 h 218"/>
                <a:gd name="T48" fmla="*/ 96 w 346"/>
                <a:gd name="T49" fmla="*/ 26 h 218"/>
                <a:gd name="T50" fmla="*/ 104 w 346"/>
                <a:gd name="T51" fmla="*/ 19 h 218"/>
                <a:gd name="T52" fmla="*/ 119 w 346"/>
                <a:gd name="T53" fmla="*/ 11 h 218"/>
                <a:gd name="T54" fmla="*/ 139 w 346"/>
                <a:gd name="T55" fmla="*/ 2 h 218"/>
                <a:gd name="T56" fmla="*/ 150 w 346"/>
                <a:gd name="T57" fmla="*/ 8 h 218"/>
                <a:gd name="T58" fmla="*/ 161 w 346"/>
                <a:gd name="T59" fmla="*/ 15 h 218"/>
                <a:gd name="T60" fmla="*/ 172 w 346"/>
                <a:gd name="T61" fmla="*/ 17 h 218"/>
                <a:gd name="T62" fmla="*/ 183 w 346"/>
                <a:gd name="T63" fmla="*/ 15 h 218"/>
                <a:gd name="T64" fmla="*/ 187 w 346"/>
                <a:gd name="T65" fmla="*/ 17 h 218"/>
                <a:gd name="T66" fmla="*/ 192 w 346"/>
                <a:gd name="T67" fmla="*/ 28 h 218"/>
                <a:gd name="T68" fmla="*/ 207 w 346"/>
                <a:gd name="T69" fmla="*/ 43 h 218"/>
                <a:gd name="T70" fmla="*/ 224 w 346"/>
                <a:gd name="T71" fmla="*/ 70 h 218"/>
                <a:gd name="T72" fmla="*/ 237 w 346"/>
                <a:gd name="T73" fmla="*/ 102 h 218"/>
                <a:gd name="T74" fmla="*/ 253 w 346"/>
                <a:gd name="T75" fmla="*/ 115 h 218"/>
                <a:gd name="T76" fmla="*/ 270 w 346"/>
                <a:gd name="T77" fmla="*/ 129 h 218"/>
                <a:gd name="T78" fmla="*/ 283 w 346"/>
                <a:gd name="T79" fmla="*/ 142 h 218"/>
                <a:gd name="T80" fmla="*/ 294 w 346"/>
                <a:gd name="T81" fmla="*/ 148 h 218"/>
                <a:gd name="T82" fmla="*/ 311 w 346"/>
                <a:gd name="T83" fmla="*/ 146 h 218"/>
                <a:gd name="T84" fmla="*/ 320 w 346"/>
                <a:gd name="T85" fmla="*/ 135 h 218"/>
                <a:gd name="T86" fmla="*/ 327 w 346"/>
                <a:gd name="T87" fmla="*/ 129 h 218"/>
                <a:gd name="T88" fmla="*/ 335 w 346"/>
                <a:gd name="T89" fmla="*/ 141 h 218"/>
                <a:gd name="T90" fmla="*/ 340 w 346"/>
                <a:gd name="T91" fmla="*/ 153 h 218"/>
                <a:gd name="T92" fmla="*/ 346 w 346"/>
                <a:gd name="T93" fmla="*/ 159 h 218"/>
                <a:gd name="T94" fmla="*/ 333 w 346"/>
                <a:gd name="T95" fmla="*/ 168 h 218"/>
                <a:gd name="T96" fmla="*/ 329 w 346"/>
                <a:gd name="T97" fmla="*/ 179 h 218"/>
                <a:gd name="T98" fmla="*/ 329 w 346"/>
                <a:gd name="T99" fmla="*/ 198 h 218"/>
                <a:gd name="T100" fmla="*/ 325 w 346"/>
                <a:gd name="T101" fmla="*/ 205 h 218"/>
                <a:gd name="T102" fmla="*/ 318 w 346"/>
                <a:gd name="T103" fmla="*/ 203 h 218"/>
                <a:gd name="T104" fmla="*/ 303 w 346"/>
                <a:gd name="T105" fmla="*/ 202 h 218"/>
                <a:gd name="T106" fmla="*/ 277 w 346"/>
                <a:gd name="T107" fmla="*/ 207 h 218"/>
                <a:gd name="T108" fmla="*/ 259 w 346"/>
                <a:gd name="T109" fmla="*/ 203 h 218"/>
                <a:gd name="T110" fmla="*/ 250 w 346"/>
                <a:gd name="T111" fmla="*/ 211 h 218"/>
                <a:gd name="T112" fmla="*/ 240 w 346"/>
                <a:gd name="T113" fmla="*/ 218 h 21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6"/>
                <a:gd name="T172" fmla="*/ 0 h 218"/>
                <a:gd name="T173" fmla="*/ 346 w 346"/>
                <a:gd name="T174" fmla="*/ 218 h 21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6" h="218">
                  <a:moveTo>
                    <a:pt x="240" y="218"/>
                  </a:moveTo>
                  <a:lnTo>
                    <a:pt x="224" y="213"/>
                  </a:lnTo>
                  <a:lnTo>
                    <a:pt x="211" y="209"/>
                  </a:lnTo>
                  <a:lnTo>
                    <a:pt x="202" y="205"/>
                  </a:lnTo>
                  <a:lnTo>
                    <a:pt x="198" y="202"/>
                  </a:lnTo>
                  <a:lnTo>
                    <a:pt x="198" y="194"/>
                  </a:lnTo>
                  <a:lnTo>
                    <a:pt x="196" y="190"/>
                  </a:lnTo>
                  <a:lnTo>
                    <a:pt x="194" y="185"/>
                  </a:lnTo>
                  <a:lnTo>
                    <a:pt x="191" y="183"/>
                  </a:lnTo>
                  <a:lnTo>
                    <a:pt x="187" y="181"/>
                  </a:lnTo>
                  <a:lnTo>
                    <a:pt x="181" y="181"/>
                  </a:lnTo>
                  <a:lnTo>
                    <a:pt x="174" y="183"/>
                  </a:lnTo>
                  <a:lnTo>
                    <a:pt x="167" y="187"/>
                  </a:lnTo>
                  <a:lnTo>
                    <a:pt x="159" y="189"/>
                  </a:lnTo>
                  <a:lnTo>
                    <a:pt x="150" y="189"/>
                  </a:lnTo>
                  <a:lnTo>
                    <a:pt x="139" y="189"/>
                  </a:lnTo>
                  <a:lnTo>
                    <a:pt x="126" y="185"/>
                  </a:lnTo>
                  <a:lnTo>
                    <a:pt x="122" y="178"/>
                  </a:lnTo>
                  <a:lnTo>
                    <a:pt x="120" y="168"/>
                  </a:lnTo>
                  <a:lnTo>
                    <a:pt x="119" y="168"/>
                  </a:lnTo>
                  <a:lnTo>
                    <a:pt x="117" y="157"/>
                  </a:lnTo>
                  <a:lnTo>
                    <a:pt x="109" y="148"/>
                  </a:lnTo>
                  <a:lnTo>
                    <a:pt x="96" y="150"/>
                  </a:lnTo>
                  <a:lnTo>
                    <a:pt x="87" y="152"/>
                  </a:lnTo>
                  <a:lnTo>
                    <a:pt x="91" y="142"/>
                  </a:lnTo>
                  <a:lnTo>
                    <a:pt x="96" y="131"/>
                  </a:lnTo>
                  <a:lnTo>
                    <a:pt x="85" y="124"/>
                  </a:lnTo>
                  <a:lnTo>
                    <a:pt x="72" y="118"/>
                  </a:lnTo>
                  <a:lnTo>
                    <a:pt x="72" y="109"/>
                  </a:lnTo>
                  <a:lnTo>
                    <a:pt x="71" y="102"/>
                  </a:lnTo>
                  <a:lnTo>
                    <a:pt x="59" y="104"/>
                  </a:lnTo>
                  <a:lnTo>
                    <a:pt x="47" y="104"/>
                  </a:lnTo>
                  <a:lnTo>
                    <a:pt x="35" y="94"/>
                  </a:lnTo>
                  <a:lnTo>
                    <a:pt x="24" y="85"/>
                  </a:lnTo>
                  <a:lnTo>
                    <a:pt x="11" y="76"/>
                  </a:lnTo>
                  <a:lnTo>
                    <a:pt x="0" y="70"/>
                  </a:lnTo>
                  <a:lnTo>
                    <a:pt x="15" y="70"/>
                  </a:lnTo>
                  <a:lnTo>
                    <a:pt x="28" y="68"/>
                  </a:lnTo>
                  <a:lnTo>
                    <a:pt x="39" y="65"/>
                  </a:lnTo>
                  <a:lnTo>
                    <a:pt x="48" y="57"/>
                  </a:lnTo>
                  <a:lnTo>
                    <a:pt x="56" y="50"/>
                  </a:lnTo>
                  <a:lnTo>
                    <a:pt x="61" y="44"/>
                  </a:lnTo>
                  <a:lnTo>
                    <a:pt x="69" y="41"/>
                  </a:lnTo>
                  <a:lnTo>
                    <a:pt x="76" y="37"/>
                  </a:lnTo>
                  <a:lnTo>
                    <a:pt x="83" y="33"/>
                  </a:lnTo>
                  <a:lnTo>
                    <a:pt x="91" y="30"/>
                  </a:lnTo>
                  <a:lnTo>
                    <a:pt x="96" y="26"/>
                  </a:lnTo>
                  <a:lnTo>
                    <a:pt x="104" y="19"/>
                  </a:lnTo>
                  <a:lnTo>
                    <a:pt x="106" y="20"/>
                  </a:lnTo>
                  <a:lnTo>
                    <a:pt x="119" y="11"/>
                  </a:lnTo>
                  <a:lnTo>
                    <a:pt x="133" y="0"/>
                  </a:lnTo>
                  <a:lnTo>
                    <a:pt x="139" y="2"/>
                  </a:lnTo>
                  <a:lnTo>
                    <a:pt x="144" y="4"/>
                  </a:lnTo>
                  <a:lnTo>
                    <a:pt x="150" y="8"/>
                  </a:lnTo>
                  <a:lnTo>
                    <a:pt x="156" y="11"/>
                  </a:lnTo>
                  <a:lnTo>
                    <a:pt x="161" y="15"/>
                  </a:lnTo>
                  <a:lnTo>
                    <a:pt x="167" y="17"/>
                  </a:lnTo>
                  <a:lnTo>
                    <a:pt x="172" y="17"/>
                  </a:lnTo>
                  <a:lnTo>
                    <a:pt x="181" y="15"/>
                  </a:lnTo>
                  <a:lnTo>
                    <a:pt x="183" y="15"/>
                  </a:lnTo>
                  <a:lnTo>
                    <a:pt x="185" y="15"/>
                  </a:lnTo>
                  <a:lnTo>
                    <a:pt x="187" y="17"/>
                  </a:lnTo>
                  <a:lnTo>
                    <a:pt x="189" y="20"/>
                  </a:lnTo>
                  <a:lnTo>
                    <a:pt x="192" y="28"/>
                  </a:lnTo>
                  <a:lnTo>
                    <a:pt x="198" y="33"/>
                  </a:lnTo>
                  <a:lnTo>
                    <a:pt x="207" y="43"/>
                  </a:lnTo>
                  <a:lnTo>
                    <a:pt x="216" y="54"/>
                  </a:lnTo>
                  <a:lnTo>
                    <a:pt x="224" y="70"/>
                  </a:lnTo>
                  <a:lnTo>
                    <a:pt x="233" y="96"/>
                  </a:lnTo>
                  <a:lnTo>
                    <a:pt x="237" y="102"/>
                  </a:lnTo>
                  <a:lnTo>
                    <a:pt x="244" y="109"/>
                  </a:lnTo>
                  <a:lnTo>
                    <a:pt x="253" y="115"/>
                  </a:lnTo>
                  <a:lnTo>
                    <a:pt x="263" y="120"/>
                  </a:lnTo>
                  <a:lnTo>
                    <a:pt x="270" y="129"/>
                  </a:lnTo>
                  <a:lnTo>
                    <a:pt x="277" y="139"/>
                  </a:lnTo>
                  <a:lnTo>
                    <a:pt x="283" y="142"/>
                  </a:lnTo>
                  <a:lnTo>
                    <a:pt x="289" y="146"/>
                  </a:lnTo>
                  <a:lnTo>
                    <a:pt x="294" y="148"/>
                  </a:lnTo>
                  <a:lnTo>
                    <a:pt x="303" y="148"/>
                  </a:lnTo>
                  <a:lnTo>
                    <a:pt x="311" y="146"/>
                  </a:lnTo>
                  <a:lnTo>
                    <a:pt x="316" y="141"/>
                  </a:lnTo>
                  <a:lnTo>
                    <a:pt x="320" y="135"/>
                  </a:lnTo>
                  <a:lnTo>
                    <a:pt x="324" y="128"/>
                  </a:lnTo>
                  <a:lnTo>
                    <a:pt x="327" y="129"/>
                  </a:lnTo>
                  <a:lnTo>
                    <a:pt x="331" y="133"/>
                  </a:lnTo>
                  <a:lnTo>
                    <a:pt x="335" y="141"/>
                  </a:lnTo>
                  <a:lnTo>
                    <a:pt x="337" y="148"/>
                  </a:lnTo>
                  <a:lnTo>
                    <a:pt x="340" y="153"/>
                  </a:lnTo>
                  <a:lnTo>
                    <a:pt x="346" y="159"/>
                  </a:lnTo>
                  <a:lnTo>
                    <a:pt x="338" y="163"/>
                  </a:lnTo>
                  <a:lnTo>
                    <a:pt x="333" y="168"/>
                  </a:lnTo>
                  <a:lnTo>
                    <a:pt x="329" y="174"/>
                  </a:lnTo>
                  <a:lnTo>
                    <a:pt x="329" y="179"/>
                  </a:lnTo>
                  <a:lnTo>
                    <a:pt x="329" y="189"/>
                  </a:lnTo>
                  <a:lnTo>
                    <a:pt x="329" y="198"/>
                  </a:lnTo>
                  <a:lnTo>
                    <a:pt x="327" y="203"/>
                  </a:lnTo>
                  <a:lnTo>
                    <a:pt x="325" y="205"/>
                  </a:lnTo>
                  <a:lnTo>
                    <a:pt x="324" y="205"/>
                  </a:lnTo>
                  <a:lnTo>
                    <a:pt x="318" y="203"/>
                  </a:lnTo>
                  <a:lnTo>
                    <a:pt x="313" y="203"/>
                  </a:lnTo>
                  <a:lnTo>
                    <a:pt x="303" y="202"/>
                  </a:lnTo>
                  <a:lnTo>
                    <a:pt x="292" y="203"/>
                  </a:lnTo>
                  <a:lnTo>
                    <a:pt x="277" y="207"/>
                  </a:lnTo>
                  <a:lnTo>
                    <a:pt x="266" y="203"/>
                  </a:lnTo>
                  <a:lnTo>
                    <a:pt x="259" y="203"/>
                  </a:lnTo>
                  <a:lnTo>
                    <a:pt x="255" y="207"/>
                  </a:lnTo>
                  <a:lnTo>
                    <a:pt x="250" y="211"/>
                  </a:lnTo>
                  <a:lnTo>
                    <a:pt x="244" y="216"/>
                  </a:lnTo>
                  <a:lnTo>
                    <a:pt x="240" y="21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25" name="Freeform 101"/>
            <p:cNvSpPr>
              <a:spLocks/>
            </p:cNvSpPr>
            <p:nvPr/>
          </p:nvSpPr>
          <p:spPr bwMode="auto">
            <a:xfrm>
              <a:off x="3929236" y="2135775"/>
              <a:ext cx="85574" cy="104325"/>
            </a:xfrm>
            <a:custGeom>
              <a:avLst/>
              <a:gdLst>
                <a:gd name="T0" fmla="*/ 159 w 164"/>
                <a:gd name="T1" fmla="*/ 161 h 205"/>
                <a:gd name="T2" fmla="*/ 148 w 164"/>
                <a:gd name="T3" fmla="*/ 152 h 205"/>
                <a:gd name="T4" fmla="*/ 142 w 164"/>
                <a:gd name="T5" fmla="*/ 143 h 205"/>
                <a:gd name="T6" fmla="*/ 131 w 164"/>
                <a:gd name="T7" fmla="*/ 133 h 205"/>
                <a:gd name="T8" fmla="*/ 122 w 164"/>
                <a:gd name="T9" fmla="*/ 122 h 205"/>
                <a:gd name="T10" fmla="*/ 116 w 164"/>
                <a:gd name="T11" fmla="*/ 113 h 205"/>
                <a:gd name="T12" fmla="*/ 105 w 164"/>
                <a:gd name="T13" fmla="*/ 91 h 205"/>
                <a:gd name="T14" fmla="*/ 92 w 164"/>
                <a:gd name="T15" fmla="*/ 76 h 205"/>
                <a:gd name="T16" fmla="*/ 85 w 164"/>
                <a:gd name="T17" fmla="*/ 60 h 205"/>
                <a:gd name="T18" fmla="*/ 85 w 164"/>
                <a:gd name="T19" fmla="*/ 41 h 205"/>
                <a:gd name="T20" fmla="*/ 76 w 164"/>
                <a:gd name="T21" fmla="*/ 32 h 205"/>
                <a:gd name="T22" fmla="*/ 57 w 164"/>
                <a:gd name="T23" fmla="*/ 21 h 205"/>
                <a:gd name="T24" fmla="*/ 48 w 164"/>
                <a:gd name="T25" fmla="*/ 10 h 205"/>
                <a:gd name="T26" fmla="*/ 46 w 164"/>
                <a:gd name="T27" fmla="*/ 0 h 205"/>
                <a:gd name="T28" fmla="*/ 30 w 164"/>
                <a:gd name="T29" fmla="*/ 10 h 205"/>
                <a:gd name="T30" fmla="*/ 11 w 164"/>
                <a:gd name="T31" fmla="*/ 30 h 205"/>
                <a:gd name="T32" fmla="*/ 4 w 164"/>
                <a:gd name="T33" fmla="*/ 50 h 205"/>
                <a:gd name="T34" fmla="*/ 0 w 164"/>
                <a:gd name="T35" fmla="*/ 65 h 205"/>
                <a:gd name="T36" fmla="*/ 2 w 164"/>
                <a:gd name="T37" fmla="*/ 82 h 205"/>
                <a:gd name="T38" fmla="*/ 17 w 164"/>
                <a:gd name="T39" fmla="*/ 91 h 205"/>
                <a:gd name="T40" fmla="*/ 28 w 164"/>
                <a:gd name="T41" fmla="*/ 95 h 205"/>
                <a:gd name="T42" fmla="*/ 28 w 164"/>
                <a:gd name="T43" fmla="*/ 115 h 205"/>
                <a:gd name="T44" fmla="*/ 24 w 164"/>
                <a:gd name="T45" fmla="*/ 128 h 205"/>
                <a:gd name="T46" fmla="*/ 20 w 164"/>
                <a:gd name="T47" fmla="*/ 133 h 205"/>
                <a:gd name="T48" fmla="*/ 30 w 164"/>
                <a:gd name="T49" fmla="*/ 143 h 205"/>
                <a:gd name="T50" fmla="*/ 33 w 164"/>
                <a:gd name="T51" fmla="*/ 163 h 205"/>
                <a:gd name="T52" fmla="*/ 52 w 164"/>
                <a:gd name="T53" fmla="*/ 193 h 205"/>
                <a:gd name="T54" fmla="*/ 55 w 164"/>
                <a:gd name="T55" fmla="*/ 205 h 205"/>
                <a:gd name="T56" fmla="*/ 78 w 164"/>
                <a:gd name="T57" fmla="*/ 200 h 205"/>
                <a:gd name="T58" fmla="*/ 102 w 164"/>
                <a:gd name="T59" fmla="*/ 198 h 205"/>
                <a:gd name="T60" fmla="*/ 122 w 164"/>
                <a:gd name="T61" fmla="*/ 200 h 205"/>
                <a:gd name="T62" fmla="*/ 144 w 164"/>
                <a:gd name="T63" fmla="*/ 205 h 205"/>
                <a:gd name="T64" fmla="*/ 155 w 164"/>
                <a:gd name="T65" fmla="*/ 205 h 205"/>
                <a:gd name="T66" fmla="*/ 164 w 164"/>
                <a:gd name="T67" fmla="*/ 202 h 205"/>
                <a:gd name="T68" fmla="*/ 155 w 164"/>
                <a:gd name="T69" fmla="*/ 183 h 205"/>
                <a:gd name="T70" fmla="*/ 163 w 164"/>
                <a:gd name="T71" fmla="*/ 167 h 205"/>
                <a:gd name="T72" fmla="*/ 163 w 164"/>
                <a:gd name="T73" fmla="*/ 167 h 20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4"/>
                <a:gd name="T112" fmla="*/ 0 h 205"/>
                <a:gd name="T113" fmla="*/ 164 w 164"/>
                <a:gd name="T114" fmla="*/ 205 h 20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4" h="205">
                  <a:moveTo>
                    <a:pt x="163" y="167"/>
                  </a:moveTo>
                  <a:lnTo>
                    <a:pt x="159" y="161"/>
                  </a:lnTo>
                  <a:lnTo>
                    <a:pt x="155" y="156"/>
                  </a:lnTo>
                  <a:lnTo>
                    <a:pt x="148" y="152"/>
                  </a:lnTo>
                  <a:lnTo>
                    <a:pt x="142" y="148"/>
                  </a:lnTo>
                  <a:lnTo>
                    <a:pt x="142" y="143"/>
                  </a:lnTo>
                  <a:lnTo>
                    <a:pt x="142" y="137"/>
                  </a:lnTo>
                  <a:lnTo>
                    <a:pt x="131" y="133"/>
                  </a:lnTo>
                  <a:lnTo>
                    <a:pt x="120" y="128"/>
                  </a:lnTo>
                  <a:lnTo>
                    <a:pt x="122" y="122"/>
                  </a:lnTo>
                  <a:lnTo>
                    <a:pt x="124" y="119"/>
                  </a:lnTo>
                  <a:lnTo>
                    <a:pt x="116" y="113"/>
                  </a:lnTo>
                  <a:lnTo>
                    <a:pt x="111" y="108"/>
                  </a:lnTo>
                  <a:lnTo>
                    <a:pt x="105" y="91"/>
                  </a:lnTo>
                  <a:lnTo>
                    <a:pt x="103" y="76"/>
                  </a:lnTo>
                  <a:lnTo>
                    <a:pt x="92" y="76"/>
                  </a:lnTo>
                  <a:lnTo>
                    <a:pt x="81" y="72"/>
                  </a:lnTo>
                  <a:lnTo>
                    <a:pt x="85" y="60"/>
                  </a:lnTo>
                  <a:lnTo>
                    <a:pt x="85" y="41"/>
                  </a:lnTo>
                  <a:lnTo>
                    <a:pt x="76" y="32"/>
                  </a:lnTo>
                  <a:lnTo>
                    <a:pt x="63" y="2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8" y="10"/>
                  </a:lnTo>
                  <a:lnTo>
                    <a:pt x="46" y="0"/>
                  </a:lnTo>
                  <a:lnTo>
                    <a:pt x="30" y="10"/>
                  </a:lnTo>
                  <a:lnTo>
                    <a:pt x="17" y="19"/>
                  </a:lnTo>
                  <a:lnTo>
                    <a:pt x="11" y="30"/>
                  </a:lnTo>
                  <a:lnTo>
                    <a:pt x="9" y="43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0" y="74"/>
                  </a:lnTo>
                  <a:lnTo>
                    <a:pt x="2" y="82"/>
                  </a:lnTo>
                  <a:lnTo>
                    <a:pt x="4" y="89"/>
                  </a:lnTo>
                  <a:lnTo>
                    <a:pt x="17" y="91"/>
                  </a:lnTo>
                  <a:lnTo>
                    <a:pt x="26" y="89"/>
                  </a:lnTo>
                  <a:lnTo>
                    <a:pt x="28" y="95"/>
                  </a:lnTo>
                  <a:lnTo>
                    <a:pt x="28" y="109"/>
                  </a:lnTo>
                  <a:lnTo>
                    <a:pt x="28" y="115"/>
                  </a:lnTo>
                  <a:lnTo>
                    <a:pt x="26" y="122"/>
                  </a:lnTo>
                  <a:lnTo>
                    <a:pt x="24" y="128"/>
                  </a:lnTo>
                  <a:lnTo>
                    <a:pt x="20" y="133"/>
                  </a:lnTo>
                  <a:lnTo>
                    <a:pt x="26" y="137"/>
                  </a:lnTo>
                  <a:lnTo>
                    <a:pt x="30" y="143"/>
                  </a:lnTo>
                  <a:lnTo>
                    <a:pt x="31" y="152"/>
                  </a:lnTo>
                  <a:lnTo>
                    <a:pt x="33" y="163"/>
                  </a:lnTo>
                  <a:lnTo>
                    <a:pt x="42" y="178"/>
                  </a:lnTo>
                  <a:lnTo>
                    <a:pt x="52" y="193"/>
                  </a:lnTo>
                  <a:lnTo>
                    <a:pt x="55" y="200"/>
                  </a:lnTo>
                  <a:lnTo>
                    <a:pt x="55" y="205"/>
                  </a:lnTo>
                  <a:lnTo>
                    <a:pt x="66" y="204"/>
                  </a:lnTo>
                  <a:lnTo>
                    <a:pt x="78" y="200"/>
                  </a:lnTo>
                  <a:lnTo>
                    <a:pt x="89" y="198"/>
                  </a:lnTo>
                  <a:lnTo>
                    <a:pt x="102" y="198"/>
                  </a:lnTo>
                  <a:lnTo>
                    <a:pt x="113" y="198"/>
                  </a:lnTo>
                  <a:lnTo>
                    <a:pt x="122" y="200"/>
                  </a:lnTo>
                  <a:lnTo>
                    <a:pt x="133" y="202"/>
                  </a:lnTo>
                  <a:lnTo>
                    <a:pt x="144" y="205"/>
                  </a:lnTo>
                  <a:lnTo>
                    <a:pt x="150" y="205"/>
                  </a:lnTo>
                  <a:lnTo>
                    <a:pt x="155" y="205"/>
                  </a:lnTo>
                  <a:lnTo>
                    <a:pt x="161" y="204"/>
                  </a:lnTo>
                  <a:lnTo>
                    <a:pt x="164" y="202"/>
                  </a:lnTo>
                  <a:lnTo>
                    <a:pt x="161" y="193"/>
                  </a:lnTo>
                  <a:lnTo>
                    <a:pt x="155" y="183"/>
                  </a:lnTo>
                  <a:lnTo>
                    <a:pt x="157" y="176"/>
                  </a:lnTo>
                  <a:lnTo>
                    <a:pt x="163" y="16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26" name="Freeform 102"/>
            <p:cNvSpPr>
              <a:spLocks/>
            </p:cNvSpPr>
            <p:nvPr/>
          </p:nvSpPr>
          <p:spPr bwMode="auto">
            <a:xfrm>
              <a:off x="3644860" y="1798373"/>
              <a:ext cx="50092" cy="69720"/>
            </a:xfrm>
            <a:custGeom>
              <a:avLst/>
              <a:gdLst>
                <a:gd name="T0" fmla="*/ 6 w 96"/>
                <a:gd name="T1" fmla="*/ 7 h 137"/>
                <a:gd name="T2" fmla="*/ 2 w 96"/>
                <a:gd name="T3" fmla="*/ 17 h 137"/>
                <a:gd name="T4" fmla="*/ 0 w 96"/>
                <a:gd name="T5" fmla="*/ 26 h 137"/>
                <a:gd name="T6" fmla="*/ 7 w 96"/>
                <a:gd name="T7" fmla="*/ 46 h 137"/>
                <a:gd name="T8" fmla="*/ 15 w 96"/>
                <a:gd name="T9" fmla="*/ 67 h 137"/>
                <a:gd name="T10" fmla="*/ 22 w 96"/>
                <a:gd name="T11" fmla="*/ 89 h 137"/>
                <a:gd name="T12" fmla="*/ 30 w 96"/>
                <a:gd name="T13" fmla="*/ 109 h 137"/>
                <a:gd name="T14" fmla="*/ 33 w 96"/>
                <a:gd name="T15" fmla="*/ 118 h 137"/>
                <a:gd name="T16" fmla="*/ 37 w 96"/>
                <a:gd name="T17" fmla="*/ 124 h 137"/>
                <a:gd name="T18" fmla="*/ 42 w 96"/>
                <a:gd name="T19" fmla="*/ 131 h 137"/>
                <a:gd name="T20" fmla="*/ 48 w 96"/>
                <a:gd name="T21" fmla="*/ 137 h 137"/>
                <a:gd name="T22" fmla="*/ 65 w 96"/>
                <a:gd name="T23" fmla="*/ 137 h 137"/>
                <a:gd name="T24" fmla="*/ 85 w 96"/>
                <a:gd name="T25" fmla="*/ 133 h 137"/>
                <a:gd name="T26" fmla="*/ 92 w 96"/>
                <a:gd name="T27" fmla="*/ 124 h 137"/>
                <a:gd name="T28" fmla="*/ 96 w 96"/>
                <a:gd name="T29" fmla="*/ 111 h 137"/>
                <a:gd name="T30" fmla="*/ 92 w 96"/>
                <a:gd name="T31" fmla="*/ 91 h 137"/>
                <a:gd name="T32" fmla="*/ 92 w 96"/>
                <a:gd name="T33" fmla="*/ 70 h 137"/>
                <a:gd name="T34" fmla="*/ 91 w 96"/>
                <a:gd name="T35" fmla="*/ 68 h 137"/>
                <a:gd name="T36" fmla="*/ 85 w 96"/>
                <a:gd name="T37" fmla="*/ 67 h 137"/>
                <a:gd name="T38" fmla="*/ 83 w 96"/>
                <a:gd name="T39" fmla="*/ 65 h 137"/>
                <a:gd name="T40" fmla="*/ 81 w 96"/>
                <a:gd name="T41" fmla="*/ 61 h 137"/>
                <a:gd name="T42" fmla="*/ 81 w 96"/>
                <a:gd name="T43" fmla="*/ 57 h 137"/>
                <a:gd name="T44" fmla="*/ 83 w 96"/>
                <a:gd name="T45" fmla="*/ 50 h 137"/>
                <a:gd name="T46" fmla="*/ 76 w 96"/>
                <a:gd name="T47" fmla="*/ 54 h 137"/>
                <a:gd name="T48" fmla="*/ 70 w 96"/>
                <a:gd name="T49" fmla="*/ 54 h 137"/>
                <a:gd name="T50" fmla="*/ 65 w 96"/>
                <a:gd name="T51" fmla="*/ 54 h 137"/>
                <a:gd name="T52" fmla="*/ 61 w 96"/>
                <a:gd name="T53" fmla="*/ 50 h 137"/>
                <a:gd name="T54" fmla="*/ 59 w 96"/>
                <a:gd name="T55" fmla="*/ 33 h 137"/>
                <a:gd name="T56" fmla="*/ 55 w 96"/>
                <a:gd name="T57" fmla="*/ 20 h 137"/>
                <a:gd name="T58" fmla="*/ 52 w 96"/>
                <a:gd name="T59" fmla="*/ 13 h 137"/>
                <a:gd name="T60" fmla="*/ 48 w 96"/>
                <a:gd name="T61" fmla="*/ 9 h 137"/>
                <a:gd name="T62" fmla="*/ 42 w 96"/>
                <a:gd name="T63" fmla="*/ 4 h 137"/>
                <a:gd name="T64" fmla="*/ 37 w 96"/>
                <a:gd name="T65" fmla="*/ 2 h 137"/>
                <a:gd name="T66" fmla="*/ 35 w 96"/>
                <a:gd name="T67" fmla="*/ 0 h 137"/>
                <a:gd name="T68" fmla="*/ 33 w 96"/>
                <a:gd name="T69" fmla="*/ 2 h 137"/>
                <a:gd name="T70" fmla="*/ 31 w 96"/>
                <a:gd name="T71" fmla="*/ 4 h 137"/>
                <a:gd name="T72" fmla="*/ 30 w 96"/>
                <a:gd name="T73" fmla="*/ 7 h 137"/>
                <a:gd name="T74" fmla="*/ 26 w 96"/>
                <a:gd name="T75" fmla="*/ 17 h 137"/>
                <a:gd name="T76" fmla="*/ 20 w 96"/>
                <a:gd name="T77" fmla="*/ 26 h 137"/>
                <a:gd name="T78" fmla="*/ 15 w 96"/>
                <a:gd name="T79" fmla="*/ 22 h 137"/>
                <a:gd name="T80" fmla="*/ 9 w 96"/>
                <a:gd name="T81" fmla="*/ 18 h 137"/>
                <a:gd name="T82" fmla="*/ 7 w 96"/>
                <a:gd name="T83" fmla="*/ 13 h 137"/>
                <a:gd name="T84" fmla="*/ 6 w 96"/>
                <a:gd name="T85" fmla="*/ 7 h 13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6"/>
                <a:gd name="T130" fmla="*/ 0 h 137"/>
                <a:gd name="T131" fmla="*/ 96 w 96"/>
                <a:gd name="T132" fmla="*/ 137 h 13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6" h="137">
                  <a:moveTo>
                    <a:pt x="6" y="7"/>
                  </a:moveTo>
                  <a:lnTo>
                    <a:pt x="2" y="17"/>
                  </a:lnTo>
                  <a:lnTo>
                    <a:pt x="0" y="26"/>
                  </a:lnTo>
                  <a:lnTo>
                    <a:pt x="7" y="46"/>
                  </a:lnTo>
                  <a:lnTo>
                    <a:pt x="15" y="67"/>
                  </a:lnTo>
                  <a:lnTo>
                    <a:pt x="22" y="89"/>
                  </a:lnTo>
                  <a:lnTo>
                    <a:pt x="30" y="109"/>
                  </a:lnTo>
                  <a:lnTo>
                    <a:pt x="33" y="118"/>
                  </a:lnTo>
                  <a:lnTo>
                    <a:pt x="37" y="124"/>
                  </a:lnTo>
                  <a:lnTo>
                    <a:pt x="42" y="131"/>
                  </a:lnTo>
                  <a:lnTo>
                    <a:pt x="48" y="137"/>
                  </a:lnTo>
                  <a:lnTo>
                    <a:pt x="65" y="137"/>
                  </a:lnTo>
                  <a:lnTo>
                    <a:pt x="85" y="133"/>
                  </a:lnTo>
                  <a:lnTo>
                    <a:pt x="92" y="124"/>
                  </a:lnTo>
                  <a:lnTo>
                    <a:pt x="96" y="111"/>
                  </a:lnTo>
                  <a:lnTo>
                    <a:pt x="92" y="91"/>
                  </a:lnTo>
                  <a:lnTo>
                    <a:pt x="92" y="70"/>
                  </a:lnTo>
                  <a:lnTo>
                    <a:pt x="91" y="68"/>
                  </a:lnTo>
                  <a:lnTo>
                    <a:pt x="85" y="67"/>
                  </a:lnTo>
                  <a:lnTo>
                    <a:pt x="83" y="65"/>
                  </a:lnTo>
                  <a:lnTo>
                    <a:pt x="81" y="61"/>
                  </a:lnTo>
                  <a:lnTo>
                    <a:pt x="81" y="57"/>
                  </a:lnTo>
                  <a:lnTo>
                    <a:pt x="83" y="50"/>
                  </a:lnTo>
                  <a:lnTo>
                    <a:pt x="76" y="54"/>
                  </a:lnTo>
                  <a:lnTo>
                    <a:pt x="70" y="54"/>
                  </a:lnTo>
                  <a:lnTo>
                    <a:pt x="65" y="54"/>
                  </a:lnTo>
                  <a:lnTo>
                    <a:pt x="61" y="50"/>
                  </a:lnTo>
                  <a:lnTo>
                    <a:pt x="59" y="33"/>
                  </a:lnTo>
                  <a:lnTo>
                    <a:pt x="55" y="20"/>
                  </a:lnTo>
                  <a:lnTo>
                    <a:pt x="52" y="13"/>
                  </a:lnTo>
                  <a:lnTo>
                    <a:pt x="48" y="9"/>
                  </a:lnTo>
                  <a:lnTo>
                    <a:pt x="42" y="4"/>
                  </a:lnTo>
                  <a:lnTo>
                    <a:pt x="37" y="2"/>
                  </a:lnTo>
                  <a:lnTo>
                    <a:pt x="35" y="0"/>
                  </a:lnTo>
                  <a:lnTo>
                    <a:pt x="33" y="2"/>
                  </a:lnTo>
                  <a:lnTo>
                    <a:pt x="31" y="4"/>
                  </a:lnTo>
                  <a:lnTo>
                    <a:pt x="30" y="7"/>
                  </a:lnTo>
                  <a:lnTo>
                    <a:pt x="26" y="17"/>
                  </a:lnTo>
                  <a:lnTo>
                    <a:pt x="20" y="26"/>
                  </a:lnTo>
                  <a:lnTo>
                    <a:pt x="15" y="22"/>
                  </a:lnTo>
                  <a:lnTo>
                    <a:pt x="9" y="18"/>
                  </a:lnTo>
                  <a:lnTo>
                    <a:pt x="7" y="13"/>
                  </a:lnTo>
                  <a:lnTo>
                    <a:pt x="6" y="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27" name="Freeform 103"/>
            <p:cNvSpPr>
              <a:spLocks/>
            </p:cNvSpPr>
            <p:nvPr/>
          </p:nvSpPr>
          <p:spPr bwMode="auto">
            <a:xfrm>
              <a:off x="6178160" y="2998365"/>
              <a:ext cx="24002" cy="26972"/>
            </a:xfrm>
            <a:custGeom>
              <a:avLst/>
              <a:gdLst>
                <a:gd name="T0" fmla="*/ 40 w 46"/>
                <a:gd name="T1" fmla="*/ 0 h 53"/>
                <a:gd name="T2" fmla="*/ 26 w 46"/>
                <a:gd name="T3" fmla="*/ 2 h 53"/>
                <a:gd name="T4" fmla="*/ 14 w 46"/>
                <a:gd name="T5" fmla="*/ 5 h 53"/>
                <a:gd name="T6" fmla="*/ 9 w 46"/>
                <a:gd name="T7" fmla="*/ 5 h 53"/>
                <a:gd name="T8" fmla="*/ 5 w 46"/>
                <a:gd name="T9" fmla="*/ 4 h 53"/>
                <a:gd name="T10" fmla="*/ 2 w 46"/>
                <a:gd name="T11" fmla="*/ 11 h 53"/>
                <a:gd name="T12" fmla="*/ 0 w 46"/>
                <a:gd name="T13" fmla="*/ 16 h 53"/>
                <a:gd name="T14" fmla="*/ 5 w 46"/>
                <a:gd name="T15" fmla="*/ 24 h 53"/>
                <a:gd name="T16" fmla="*/ 13 w 46"/>
                <a:gd name="T17" fmla="*/ 29 h 53"/>
                <a:gd name="T18" fmla="*/ 16 w 46"/>
                <a:gd name="T19" fmla="*/ 42 h 53"/>
                <a:gd name="T20" fmla="*/ 24 w 46"/>
                <a:gd name="T21" fmla="*/ 52 h 53"/>
                <a:gd name="T22" fmla="*/ 31 w 46"/>
                <a:gd name="T23" fmla="*/ 53 h 53"/>
                <a:gd name="T24" fmla="*/ 38 w 46"/>
                <a:gd name="T25" fmla="*/ 52 h 53"/>
                <a:gd name="T26" fmla="*/ 42 w 46"/>
                <a:gd name="T27" fmla="*/ 48 h 53"/>
                <a:gd name="T28" fmla="*/ 46 w 46"/>
                <a:gd name="T29" fmla="*/ 42 h 53"/>
                <a:gd name="T30" fmla="*/ 46 w 46"/>
                <a:gd name="T31" fmla="*/ 31 h 53"/>
                <a:gd name="T32" fmla="*/ 44 w 46"/>
                <a:gd name="T33" fmla="*/ 20 h 53"/>
                <a:gd name="T34" fmla="*/ 42 w 46"/>
                <a:gd name="T35" fmla="*/ 11 h 53"/>
                <a:gd name="T36" fmla="*/ 40 w 46"/>
                <a:gd name="T37" fmla="*/ 0 h 5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6"/>
                <a:gd name="T58" fmla="*/ 0 h 53"/>
                <a:gd name="T59" fmla="*/ 46 w 46"/>
                <a:gd name="T60" fmla="*/ 53 h 5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6" h="53">
                  <a:moveTo>
                    <a:pt x="40" y="0"/>
                  </a:moveTo>
                  <a:lnTo>
                    <a:pt x="26" y="2"/>
                  </a:lnTo>
                  <a:lnTo>
                    <a:pt x="14" y="5"/>
                  </a:lnTo>
                  <a:lnTo>
                    <a:pt x="9" y="5"/>
                  </a:lnTo>
                  <a:lnTo>
                    <a:pt x="5" y="4"/>
                  </a:lnTo>
                  <a:lnTo>
                    <a:pt x="2" y="11"/>
                  </a:lnTo>
                  <a:lnTo>
                    <a:pt x="0" y="16"/>
                  </a:lnTo>
                  <a:lnTo>
                    <a:pt x="5" y="24"/>
                  </a:lnTo>
                  <a:lnTo>
                    <a:pt x="13" y="29"/>
                  </a:lnTo>
                  <a:lnTo>
                    <a:pt x="16" y="42"/>
                  </a:lnTo>
                  <a:lnTo>
                    <a:pt x="24" y="52"/>
                  </a:lnTo>
                  <a:lnTo>
                    <a:pt x="31" y="53"/>
                  </a:lnTo>
                  <a:lnTo>
                    <a:pt x="38" y="52"/>
                  </a:lnTo>
                  <a:lnTo>
                    <a:pt x="42" y="48"/>
                  </a:lnTo>
                  <a:lnTo>
                    <a:pt x="46" y="42"/>
                  </a:lnTo>
                  <a:lnTo>
                    <a:pt x="46" y="31"/>
                  </a:lnTo>
                  <a:lnTo>
                    <a:pt x="44" y="20"/>
                  </a:lnTo>
                  <a:lnTo>
                    <a:pt x="42" y="1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</a:endParaRPr>
            </a:p>
          </p:txBody>
        </p:sp>
        <p:sp>
          <p:nvSpPr>
            <p:cNvPr id="328" name="Freeform 186"/>
            <p:cNvSpPr>
              <a:spLocks noEditPoints="1"/>
            </p:cNvSpPr>
            <p:nvPr/>
          </p:nvSpPr>
          <p:spPr bwMode="auto">
            <a:xfrm>
              <a:off x="3884884" y="2118981"/>
              <a:ext cx="65746" cy="14249"/>
            </a:xfrm>
            <a:custGeom>
              <a:avLst/>
              <a:gdLst>
                <a:gd name="T0" fmla="*/ 22 w 126"/>
                <a:gd name="T1" fmla="*/ 6 h 28"/>
                <a:gd name="T2" fmla="*/ 13 w 126"/>
                <a:gd name="T3" fmla="*/ 26 h 28"/>
                <a:gd name="T4" fmla="*/ 2 w 126"/>
                <a:gd name="T5" fmla="*/ 6 h 28"/>
                <a:gd name="T6" fmla="*/ 0 w 126"/>
                <a:gd name="T7" fmla="*/ 0 h 28"/>
                <a:gd name="T8" fmla="*/ 20 w 126"/>
                <a:gd name="T9" fmla="*/ 0 h 28"/>
                <a:gd name="T10" fmla="*/ 37 w 126"/>
                <a:gd name="T11" fmla="*/ 6 h 28"/>
                <a:gd name="T12" fmla="*/ 46 w 126"/>
                <a:gd name="T13" fmla="*/ 11 h 28"/>
                <a:gd name="T14" fmla="*/ 46 w 126"/>
                <a:gd name="T15" fmla="*/ 22 h 28"/>
                <a:gd name="T16" fmla="*/ 37 w 126"/>
                <a:gd name="T17" fmla="*/ 28 h 28"/>
                <a:gd name="T18" fmla="*/ 30 w 126"/>
                <a:gd name="T19" fmla="*/ 22 h 28"/>
                <a:gd name="T20" fmla="*/ 30 w 126"/>
                <a:gd name="T21" fmla="*/ 11 h 28"/>
                <a:gd name="T22" fmla="*/ 37 w 126"/>
                <a:gd name="T23" fmla="*/ 6 h 28"/>
                <a:gd name="T24" fmla="*/ 42 w 126"/>
                <a:gd name="T25" fmla="*/ 22 h 28"/>
                <a:gd name="T26" fmla="*/ 44 w 126"/>
                <a:gd name="T27" fmla="*/ 15 h 28"/>
                <a:gd name="T28" fmla="*/ 41 w 126"/>
                <a:gd name="T29" fmla="*/ 9 h 28"/>
                <a:gd name="T30" fmla="*/ 33 w 126"/>
                <a:gd name="T31" fmla="*/ 11 h 28"/>
                <a:gd name="T32" fmla="*/ 31 w 126"/>
                <a:gd name="T33" fmla="*/ 19 h 28"/>
                <a:gd name="T34" fmla="*/ 35 w 126"/>
                <a:gd name="T35" fmla="*/ 24 h 28"/>
                <a:gd name="T36" fmla="*/ 59 w 126"/>
                <a:gd name="T37" fmla="*/ 9 h 28"/>
                <a:gd name="T38" fmla="*/ 54 w 126"/>
                <a:gd name="T39" fmla="*/ 17 h 28"/>
                <a:gd name="T40" fmla="*/ 59 w 126"/>
                <a:gd name="T41" fmla="*/ 24 h 28"/>
                <a:gd name="T42" fmla="*/ 63 w 126"/>
                <a:gd name="T43" fmla="*/ 20 h 28"/>
                <a:gd name="T44" fmla="*/ 61 w 126"/>
                <a:gd name="T45" fmla="*/ 26 h 28"/>
                <a:gd name="T46" fmla="*/ 52 w 126"/>
                <a:gd name="T47" fmla="*/ 24 h 28"/>
                <a:gd name="T48" fmla="*/ 50 w 126"/>
                <a:gd name="T49" fmla="*/ 15 h 28"/>
                <a:gd name="T50" fmla="*/ 55 w 126"/>
                <a:gd name="T51" fmla="*/ 8 h 28"/>
                <a:gd name="T52" fmla="*/ 65 w 126"/>
                <a:gd name="T53" fmla="*/ 9 h 28"/>
                <a:gd name="T54" fmla="*/ 63 w 126"/>
                <a:gd name="T55" fmla="*/ 13 h 28"/>
                <a:gd name="T56" fmla="*/ 72 w 126"/>
                <a:gd name="T57" fmla="*/ 19 h 28"/>
                <a:gd name="T58" fmla="*/ 72 w 126"/>
                <a:gd name="T59" fmla="*/ 8 h 28"/>
                <a:gd name="T60" fmla="*/ 78 w 126"/>
                <a:gd name="T61" fmla="*/ 15 h 28"/>
                <a:gd name="T62" fmla="*/ 100 w 126"/>
                <a:gd name="T63" fmla="*/ 8 h 28"/>
                <a:gd name="T64" fmla="*/ 103 w 126"/>
                <a:gd name="T65" fmla="*/ 13 h 28"/>
                <a:gd name="T66" fmla="*/ 102 w 126"/>
                <a:gd name="T67" fmla="*/ 17 h 28"/>
                <a:gd name="T68" fmla="*/ 105 w 126"/>
                <a:gd name="T69" fmla="*/ 22 h 28"/>
                <a:gd name="T70" fmla="*/ 100 w 126"/>
                <a:gd name="T71" fmla="*/ 26 h 28"/>
                <a:gd name="T72" fmla="*/ 92 w 126"/>
                <a:gd name="T73" fmla="*/ 15 h 28"/>
                <a:gd name="T74" fmla="*/ 100 w 126"/>
                <a:gd name="T75" fmla="*/ 15 h 28"/>
                <a:gd name="T76" fmla="*/ 100 w 126"/>
                <a:gd name="T77" fmla="*/ 11 h 28"/>
                <a:gd name="T78" fmla="*/ 92 w 126"/>
                <a:gd name="T79" fmla="*/ 9 h 28"/>
                <a:gd name="T80" fmla="*/ 100 w 126"/>
                <a:gd name="T81" fmla="*/ 24 h 28"/>
                <a:gd name="T82" fmla="*/ 102 w 126"/>
                <a:gd name="T83" fmla="*/ 19 h 28"/>
                <a:gd name="T84" fmla="*/ 92 w 126"/>
                <a:gd name="T85" fmla="*/ 19 h 28"/>
                <a:gd name="T86" fmla="*/ 111 w 126"/>
                <a:gd name="T87" fmla="*/ 8 h 28"/>
                <a:gd name="T88" fmla="*/ 120 w 126"/>
                <a:gd name="T89" fmla="*/ 8 h 28"/>
                <a:gd name="T90" fmla="*/ 124 w 126"/>
                <a:gd name="T91" fmla="*/ 11 h 28"/>
                <a:gd name="T92" fmla="*/ 126 w 126"/>
                <a:gd name="T93" fmla="*/ 24 h 28"/>
                <a:gd name="T94" fmla="*/ 126 w 126"/>
                <a:gd name="T95" fmla="*/ 26 h 28"/>
                <a:gd name="T96" fmla="*/ 124 w 126"/>
                <a:gd name="T97" fmla="*/ 28 h 28"/>
                <a:gd name="T98" fmla="*/ 120 w 126"/>
                <a:gd name="T99" fmla="*/ 24 h 28"/>
                <a:gd name="T100" fmla="*/ 115 w 126"/>
                <a:gd name="T101" fmla="*/ 28 h 28"/>
                <a:gd name="T102" fmla="*/ 109 w 126"/>
                <a:gd name="T103" fmla="*/ 24 h 28"/>
                <a:gd name="T104" fmla="*/ 109 w 126"/>
                <a:gd name="T105" fmla="*/ 17 h 28"/>
                <a:gd name="T106" fmla="*/ 120 w 126"/>
                <a:gd name="T107" fmla="*/ 15 h 28"/>
                <a:gd name="T108" fmla="*/ 115 w 126"/>
                <a:gd name="T109" fmla="*/ 9 h 28"/>
                <a:gd name="T110" fmla="*/ 109 w 126"/>
                <a:gd name="T111" fmla="*/ 13 h 28"/>
                <a:gd name="T112" fmla="*/ 118 w 126"/>
                <a:gd name="T113" fmla="*/ 17 h 28"/>
                <a:gd name="T114" fmla="*/ 113 w 126"/>
                <a:gd name="T115" fmla="*/ 19 h 28"/>
                <a:gd name="T116" fmla="*/ 113 w 126"/>
                <a:gd name="T117" fmla="*/ 24 h 28"/>
                <a:gd name="T118" fmla="*/ 118 w 126"/>
                <a:gd name="T119" fmla="*/ 22 h 28"/>
                <a:gd name="T120" fmla="*/ 120 w 126"/>
                <a:gd name="T121" fmla="*/ 17 h 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6"/>
                <a:gd name="T184" fmla="*/ 0 h 28"/>
                <a:gd name="T185" fmla="*/ 126 w 126"/>
                <a:gd name="T186" fmla="*/ 28 h 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6" h="28">
                  <a:moveTo>
                    <a:pt x="22" y="26"/>
                  </a:moveTo>
                  <a:lnTo>
                    <a:pt x="22" y="11"/>
                  </a:lnTo>
                  <a:lnTo>
                    <a:pt x="22" y="9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11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4" y="0"/>
                  </a:lnTo>
                  <a:lnTo>
                    <a:pt x="11" y="22"/>
                  </a:lnTo>
                  <a:lnTo>
                    <a:pt x="13" y="22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26"/>
                  </a:lnTo>
                  <a:lnTo>
                    <a:pt x="22" y="26"/>
                  </a:lnTo>
                  <a:close/>
                  <a:moveTo>
                    <a:pt x="37" y="6"/>
                  </a:moveTo>
                  <a:lnTo>
                    <a:pt x="41" y="8"/>
                  </a:lnTo>
                  <a:lnTo>
                    <a:pt x="42" y="8"/>
                  </a:lnTo>
                  <a:lnTo>
                    <a:pt x="44" y="9"/>
                  </a:lnTo>
                  <a:lnTo>
                    <a:pt x="46" y="11"/>
                  </a:lnTo>
                  <a:lnTo>
                    <a:pt x="46" y="15"/>
                  </a:lnTo>
                  <a:lnTo>
                    <a:pt x="46" y="17"/>
                  </a:lnTo>
                  <a:lnTo>
                    <a:pt x="46" y="19"/>
                  </a:lnTo>
                  <a:lnTo>
                    <a:pt x="46" y="22"/>
                  </a:lnTo>
                  <a:lnTo>
                    <a:pt x="44" y="24"/>
                  </a:lnTo>
                  <a:lnTo>
                    <a:pt x="42" y="26"/>
                  </a:lnTo>
                  <a:lnTo>
                    <a:pt x="41" y="26"/>
                  </a:lnTo>
                  <a:lnTo>
                    <a:pt x="37" y="28"/>
                  </a:lnTo>
                  <a:lnTo>
                    <a:pt x="35" y="26"/>
                  </a:lnTo>
                  <a:lnTo>
                    <a:pt x="33" y="26"/>
                  </a:lnTo>
                  <a:lnTo>
                    <a:pt x="31" y="24"/>
                  </a:lnTo>
                  <a:lnTo>
                    <a:pt x="30" y="22"/>
                  </a:lnTo>
                  <a:lnTo>
                    <a:pt x="30" y="19"/>
                  </a:lnTo>
                  <a:lnTo>
                    <a:pt x="30" y="17"/>
                  </a:lnTo>
                  <a:lnTo>
                    <a:pt x="30" y="15"/>
                  </a:lnTo>
                  <a:lnTo>
                    <a:pt x="30" y="11"/>
                  </a:lnTo>
                  <a:lnTo>
                    <a:pt x="31" y="9"/>
                  </a:lnTo>
                  <a:lnTo>
                    <a:pt x="33" y="8"/>
                  </a:lnTo>
                  <a:lnTo>
                    <a:pt x="35" y="8"/>
                  </a:lnTo>
                  <a:lnTo>
                    <a:pt x="37" y="6"/>
                  </a:lnTo>
                  <a:close/>
                  <a:moveTo>
                    <a:pt x="37" y="24"/>
                  </a:moveTo>
                  <a:lnTo>
                    <a:pt x="41" y="24"/>
                  </a:lnTo>
                  <a:lnTo>
                    <a:pt x="41" y="22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4" y="19"/>
                  </a:lnTo>
                  <a:lnTo>
                    <a:pt x="44" y="17"/>
                  </a:lnTo>
                  <a:lnTo>
                    <a:pt x="44" y="15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37" y="9"/>
                  </a:lnTo>
                  <a:lnTo>
                    <a:pt x="35" y="9"/>
                  </a:lnTo>
                  <a:lnTo>
                    <a:pt x="35" y="11"/>
                  </a:lnTo>
                  <a:lnTo>
                    <a:pt x="33" y="11"/>
                  </a:lnTo>
                  <a:lnTo>
                    <a:pt x="33" y="13"/>
                  </a:lnTo>
                  <a:lnTo>
                    <a:pt x="31" y="15"/>
                  </a:lnTo>
                  <a:lnTo>
                    <a:pt x="31" y="17"/>
                  </a:lnTo>
                  <a:lnTo>
                    <a:pt x="31" y="19"/>
                  </a:lnTo>
                  <a:lnTo>
                    <a:pt x="33" y="20"/>
                  </a:lnTo>
                  <a:lnTo>
                    <a:pt x="33" y="22"/>
                  </a:lnTo>
                  <a:lnTo>
                    <a:pt x="35" y="22"/>
                  </a:lnTo>
                  <a:lnTo>
                    <a:pt x="35" y="24"/>
                  </a:lnTo>
                  <a:lnTo>
                    <a:pt x="37" y="24"/>
                  </a:lnTo>
                  <a:close/>
                  <a:moveTo>
                    <a:pt x="63" y="13"/>
                  </a:moveTo>
                  <a:lnTo>
                    <a:pt x="61" y="11"/>
                  </a:lnTo>
                  <a:lnTo>
                    <a:pt x="59" y="9"/>
                  </a:lnTo>
                  <a:lnTo>
                    <a:pt x="55" y="9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7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5" y="24"/>
                  </a:lnTo>
                  <a:lnTo>
                    <a:pt x="59" y="24"/>
                  </a:lnTo>
                  <a:lnTo>
                    <a:pt x="61" y="22"/>
                  </a:lnTo>
                  <a:lnTo>
                    <a:pt x="63" y="22"/>
                  </a:lnTo>
                  <a:lnTo>
                    <a:pt x="63" y="20"/>
                  </a:lnTo>
                  <a:lnTo>
                    <a:pt x="66" y="20"/>
                  </a:lnTo>
                  <a:lnTo>
                    <a:pt x="65" y="22"/>
                  </a:lnTo>
                  <a:lnTo>
                    <a:pt x="65" y="24"/>
                  </a:lnTo>
                  <a:lnTo>
                    <a:pt x="61" y="26"/>
                  </a:lnTo>
                  <a:lnTo>
                    <a:pt x="57" y="28"/>
                  </a:lnTo>
                  <a:lnTo>
                    <a:pt x="55" y="26"/>
                  </a:lnTo>
                  <a:lnTo>
                    <a:pt x="54" y="26"/>
                  </a:lnTo>
                  <a:lnTo>
                    <a:pt x="52" y="24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1"/>
                  </a:lnTo>
                  <a:lnTo>
                    <a:pt x="52" y="9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9" y="6"/>
                  </a:lnTo>
                  <a:lnTo>
                    <a:pt x="61" y="8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6" y="11"/>
                  </a:lnTo>
                  <a:lnTo>
                    <a:pt x="66" y="13"/>
                  </a:lnTo>
                  <a:lnTo>
                    <a:pt x="63" y="13"/>
                  </a:lnTo>
                  <a:close/>
                  <a:moveTo>
                    <a:pt x="85" y="26"/>
                  </a:moveTo>
                  <a:lnTo>
                    <a:pt x="81" y="26"/>
                  </a:lnTo>
                  <a:lnTo>
                    <a:pt x="74" y="17"/>
                  </a:lnTo>
                  <a:lnTo>
                    <a:pt x="72" y="19"/>
                  </a:lnTo>
                  <a:lnTo>
                    <a:pt x="72" y="26"/>
                  </a:lnTo>
                  <a:lnTo>
                    <a:pt x="70" y="26"/>
                  </a:lnTo>
                  <a:lnTo>
                    <a:pt x="70" y="8"/>
                  </a:lnTo>
                  <a:lnTo>
                    <a:pt x="72" y="8"/>
                  </a:lnTo>
                  <a:lnTo>
                    <a:pt x="72" y="15"/>
                  </a:lnTo>
                  <a:lnTo>
                    <a:pt x="81" y="8"/>
                  </a:lnTo>
                  <a:lnTo>
                    <a:pt x="85" y="8"/>
                  </a:lnTo>
                  <a:lnTo>
                    <a:pt x="78" y="15"/>
                  </a:lnTo>
                  <a:lnTo>
                    <a:pt x="85" y="26"/>
                  </a:lnTo>
                  <a:close/>
                  <a:moveTo>
                    <a:pt x="89" y="8"/>
                  </a:moveTo>
                  <a:lnTo>
                    <a:pt x="98" y="8"/>
                  </a:lnTo>
                  <a:lnTo>
                    <a:pt x="100" y="8"/>
                  </a:lnTo>
                  <a:lnTo>
                    <a:pt x="102" y="8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3" y="13"/>
                  </a:lnTo>
                  <a:lnTo>
                    <a:pt x="103" y="15"/>
                  </a:lnTo>
                  <a:lnTo>
                    <a:pt x="102" y="15"/>
                  </a:lnTo>
                  <a:lnTo>
                    <a:pt x="100" y="17"/>
                  </a:lnTo>
                  <a:lnTo>
                    <a:pt x="102" y="17"/>
                  </a:lnTo>
                  <a:lnTo>
                    <a:pt x="103" y="17"/>
                  </a:lnTo>
                  <a:lnTo>
                    <a:pt x="105" y="19"/>
                  </a:lnTo>
                  <a:lnTo>
                    <a:pt x="105" y="20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2" y="26"/>
                  </a:lnTo>
                  <a:lnTo>
                    <a:pt x="100" y="26"/>
                  </a:lnTo>
                  <a:lnTo>
                    <a:pt x="98" y="26"/>
                  </a:lnTo>
                  <a:lnTo>
                    <a:pt x="89" y="26"/>
                  </a:lnTo>
                  <a:lnTo>
                    <a:pt x="89" y="8"/>
                  </a:lnTo>
                  <a:close/>
                  <a:moveTo>
                    <a:pt x="92" y="15"/>
                  </a:moveTo>
                  <a:lnTo>
                    <a:pt x="96" y="15"/>
                  </a:lnTo>
                  <a:lnTo>
                    <a:pt x="98" y="15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9"/>
                  </a:lnTo>
                  <a:lnTo>
                    <a:pt x="98" y="9"/>
                  </a:lnTo>
                  <a:lnTo>
                    <a:pt x="96" y="9"/>
                  </a:lnTo>
                  <a:lnTo>
                    <a:pt x="92" y="9"/>
                  </a:lnTo>
                  <a:lnTo>
                    <a:pt x="92" y="15"/>
                  </a:lnTo>
                  <a:close/>
                  <a:moveTo>
                    <a:pt x="92" y="24"/>
                  </a:moveTo>
                  <a:lnTo>
                    <a:pt x="98" y="24"/>
                  </a:lnTo>
                  <a:lnTo>
                    <a:pt x="100" y="24"/>
                  </a:lnTo>
                  <a:lnTo>
                    <a:pt x="100" y="22"/>
                  </a:lnTo>
                  <a:lnTo>
                    <a:pt x="102" y="22"/>
                  </a:lnTo>
                  <a:lnTo>
                    <a:pt x="102" y="20"/>
                  </a:lnTo>
                  <a:lnTo>
                    <a:pt x="102" y="19"/>
                  </a:lnTo>
                  <a:lnTo>
                    <a:pt x="100" y="19"/>
                  </a:lnTo>
                  <a:lnTo>
                    <a:pt x="96" y="19"/>
                  </a:lnTo>
                  <a:lnTo>
                    <a:pt x="92" y="19"/>
                  </a:lnTo>
                  <a:lnTo>
                    <a:pt x="92" y="24"/>
                  </a:lnTo>
                  <a:close/>
                  <a:moveTo>
                    <a:pt x="109" y="13"/>
                  </a:moveTo>
                  <a:lnTo>
                    <a:pt x="109" y="9"/>
                  </a:lnTo>
                  <a:lnTo>
                    <a:pt x="111" y="8"/>
                  </a:lnTo>
                  <a:lnTo>
                    <a:pt x="113" y="8"/>
                  </a:lnTo>
                  <a:lnTo>
                    <a:pt x="116" y="6"/>
                  </a:lnTo>
                  <a:lnTo>
                    <a:pt x="118" y="6"/>
                  </a:lnTo>
                  <a:lnTo>
                    <a:pt x="120" y="8"/>
                  </a:lnTo>
                  <a:lnTo>
                    <a:pt x="122" y="8"/>
                  </a:lnTo>
                  <a:lnTo>
                    <a:pt x="124" y="9"/>
                  </a:lnTo>
                  <a:lnTo>
                    <a:pt x="124" y="11"/>
                  </a:lnTo>
                  <a:lnTo>
                    <a:pt x="124" y="22"/>
                  </a:lnTo>
                  <a:lnTo>
                    <a:pt x="124" y="24"/>
                  </a:lnTo>
                  <a:lnTo>
                    <a:pt x="126" y="24"/>
                  </a:lnTo>
                  <a:lnTo>
                    <a:pt x="126" y="26"/>
                  </a:lnTo>
                  <a:lnTo>
                    <a:pt x="126" y="28"/>
                  </a:lnTo>
                  <a:lnTo>
                    <a:pt x="124" y="28"/>
                  </a:lnTo>
                  <a:lnTo>
                    <a:pt x="122" y="26"/>
                  </a:lnTo>
                  <a:lnTo>
                    <a:pt x="120" y="24"/>
                  </a:lnTo>
                  <a:lnTo>
                    <a:pt x="120" y="26"/>
                  </a:lnTo>
                  <a:lnTo>
                    <a:pt x="118" y="26"/>
                  </a:lnTo>
                  <a:lnTo>
                    <a:pt x="116" y="28"/>
                  </a:lnTo>
                  <a:lnTo>
                    <a:pt x="115" y="28"/>
                  </a:lnTo>
                  <a:lnTo>
                    <a:pt x="113" y="28"/>
                  </a:lnTo>
                  <a:lnTo>
                    <a:pt x="111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07" y="22"/>
                  </a:lnTo>
                  <a:lnTo>
                    <a:pt x="107" y="20"/>
                  </a:lnTo>
                  <a:lnTo>
                    <a:pt x="109" y="17"/>
                  </a:lnTo>
                  <a:lnTo>
                    <a:pt x="111" y="17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0" y="15"/>
                  </a:lnTo>
                  <a:lnTo>
                    <a:pt x="120" y="13"/>
                  </a:lnTo>
                  <a:lnTo>
                    <a:pt x="120" y="9"/>
                  </a:lnTo>
                  <a:lnTo>
                    <a:pt x="116" y="9"/>
                  </a:lnTo>
                  <a:lnTo>
                    <a:pt x="115" y="9"/>
                  </a:lnTo>
                  <a:lnTo>
                    <a:pt x="113" y="9"/>
                  </a:lnTo>
                  <a:lnTo>
                    <a:pt x="113" y="11"/>
                  </a:lnTo>
                  <a:lnTo>
                    <a:pt x="113" y="13"/>
                  </a:lnTo>
                  <a:lnTo>
                    <a:pt x="109" y="13"/>
                  </a:lnTo>
                  <a:close/>
                  <a:moveTo>
                    <a:pt x="120" y="17"/>
                  </a:moveTo>
                  <a:lnTo>
                    <a:pt x="120" y="17"/>
                  </a:lnTo>
                  <a:lnTo>
                    <a:pt x="118" y="17"/>
                  </a:lnTo>
                  <a:lnTo>
                    <a:pt x="115" y="19"/>
                  </a:lnTo>
                  <a:lnTo>
                    <a:pt x="113" y="19"/>
                  </a:lnTo>
                  <a:lnTo>
                    <a:pt x="111" y="20"/>
                  </a:lnTo>
                  <a:lnTo>
                    <a:pt x="113" y="24"/>
                  </a:lnTo>
                  <a:lnTo>
                    <a:pt x="115" y="24"/>
                  </a:lnTo>
                  <a:lnTo>
                    <a:pt x="116" y="24"/>
                  </a:lnTo>
                  <a:lnTo>
                    <a:pt x="118" y="24"/>
                  </a:lnTo>
                  <a:lnTo>
                    <a:pt x="118" y="22"/>
                  </a:lnTo>
                  <a:lnTo>
                    <a:pt x="120" y="22"/>
                  </a:lnTo>
                  <a:lnTo>
                    <a:pt x="120" y="20"/>
                  </a:lnTo>
                  <a:lnTo>
                    <a:pt x="120" y="1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</a:endParaRPr>
            </a:p>
          </p:txBody>
        </p:sp>
      </p:grpSp>
      <p:pic>
        <p:nvPicPr>
          <p:cNvPr id="329" name="Picture 4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7F7"/>
              </a:clrFrom>
              <a:clrTo>
                <a:srgbClr val="FFF7F7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381" b="96429" l="5319" r="95745">
                        <a14:foregroundMark x1="35106" y1="91667" x2="35106" y2="91667"/>
                        <a14:foregroundMark x1="84043" y1="77381" x2="84043" y2="77381"/>
                        <a14:foregroundMark x1="82979" y1="94048" x2="82979" y2="94048"/>
                      </a14:backgroundRemoval>
                    </a14:imgEffect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703" y="3407323"/>
            <a:ext cx="312310" cy="207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0" name="Picture 4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7F7"/>
              </a:clrFrom>
              <a:clrTo>
                <a:srgbClr val="FFF7F7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381" b="96429" l="5319" r="95745">
                        <a14:foregroundMark x1="35106" y1="91667" x2="35106" y2="91667"/>
                        <a14:foregroundMark x1="84043" y1="77381" x2="84043" y2="77381"/>
                        <a14:foregroundMark x1="82979" y1="94048" x2="82979" y2="94048"/>
                      </a14:backgroundRemoval>
                    </a14:imgEffect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5630" y="3400482"/>
            <a:ext cx="312310" cy="207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1" name="Picture 4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7F7"/>
              </a:clrFrom>
              <a:clrTo>
                <a:srgbClr val="FFF7F7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381" b="96429" l="5319" r="95745">
                        <a14:foregroundMark x1="35106" y1="91667" x2="35106" y2="91667"/>
                        <a14:foregroundMark x1="84043" y1="77381" x2="84043" y2="77381"/>
                        <a14:foregroundMark x1="82979" y1="94048" x2="82979" y2="94048"/>
                      </a14:backgroundRemoval>
                    </a14:imgEffect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7561" y="3407323"/>
            <a:ext cx="312310" cy="207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2" name="Прямоугольник 331"/>
          <p:cNvSpPr/>
          <p:nvPr/>
        </p:nvSpPr>
        <p:spPr>
          <a:xfrm>
            <a:off x="6348651" y="2816980"/>
            <a:ext cx="2621118" cy="1110634"/>
          </a:xfrm>
          <a:prstGeom prst="rect">
            <a:avLst/>
          </a:prstGeom>
          <a:solidFill>
            <a:schemeClr val="bg1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3" name="Овал 332"/>
          <p:cNvSpPr/>
          <p:nvPr/>
        </p:nvSpPr>
        <p:spPr>
          <a:xfrm>
            <a:off x="6946246" y="3658870"/>
            <a:ext cx="1465710" cy="1099283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4" name="TextBox 333"/>
          <p:cNvSpPr txBox="1"/>
          <p:nvPr/>
        </p:nvSpPr>
        <p:spPr>
          <a:xfrm>
            <a:off x="5449733" y="3870289"/>
            <a:ext cx="2661843" cy="68767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defRPr>
            </a:lvl1pPr>
          </a:lstStyle>
          <a:p>
            <a:pPr algn="r"/>
            <a:r>
              <a:rPr lang="ru-RU" sz="1200" dirty="0" smtClean="0"/>
              <a:t>В РФ </a:t>
            </a:r>
            <a:r>
              <a:rPr lang="ru-RU" sz="1200" dirty="0" smtClean="0">
                <a:solidFill>
                  <a:srgbClr val="FF0000"/>
                </a:solidFill>
              </a:rPr>
              <a:t>ОТСУТСТВУЮТ</a:t>
            </a:r>
            <a:r>
              <a:rPr lang="ru-RU" sz="1200" dirty="0" smtClean="0"/>
              <a:t>:</a:t>
            </a:r>
          </a:p>
          <a:p>
            <a:pPr algn="r"/>
            <a:r>
              <a:rPr lang="en-US" sz="1200" b="0" dirty="0" smtClean="0"/>
              <a:t>&gt; </a:t>
            </a:r>
            <a:r>
              <a:rPr lang="ru-RU" sz="1200" b="0" dirty="0" smtClean="0"/>
              <a:t>Производство </a:t>
            </a:r>
            <a:r>
              <a:rPr lang="ru-RU" sz="1200" b="0" dirty="0"/>
              <a:t>ВЭУ и их компонентов</a:t>
            </a:r>
          </a:p>
          <a:p>
            <a:pPr algn="r"/>
            <a:r>
              <a:rPr lang="en-US" sz="1200" b="0" dirty="0"/>
              <a:t>&gt; </a:t>
            </a:r>
            <a:r>
              <a:rPr lang="ru-RU" sz="1200" b="0" dirty="0" smtClean="0"/>
              <a:t>Рынок </a:t>
            </a:r>
            <a:r>
              <a:rPr lang="ru-RU" sz="1200" b="0" dirty="0"/>
              <a:t>услуг по строительству и проектированию </a:t>
            </a:r>
            <a:r>
              <a:rPr lang="ru-RU" sz="1200" b="0" dirty="0" smtClean="0"/>
              <a:t>ВЭС</a:t>
            </a:r>
          </a:p>
          <a:p>
            <a:pPr algn="r"/>
            <a:r>
              <a:rPr lang="en-US" sz="1200" b="0" dirty="0"/>
              <a:t>&gt; </a:t>
            </a:r>
            <a:r>
              <a:rPr lang="ru-RU" sz="1200" b="0" dirty="0" smtClean="0"/>
              <a:t>Нормы </a:t>
            </a:r>
            <a:r>
              <a:rPr lang="ru-RU" sz="1200" b="0" dirty="0"/>
              <a:t>технического регулирования и т.д</a:t>
            </a:r>
            <a:r>
              <a:rPr lang="ru-RU" sz="1200" b="0" dirty="0" smtClean="0"/>
              <a:t>.</a:t>
            </a:r>
            <a:endParaRPr lang="ru-RU" sz="1200" dirty="0"/>
          </a:p>
        </p:txBody>
      </p:sp>
      <p:sp>
        <p:nvSpPr>
          <p:cNvPr id="335" name="Овал 334"/>
          <p:cNvSpPr/>
          <p:nvPr/>
        </p:nvSpPr>
        <p:spPr>
          <a:xfrm>
            <a:off x="7104294" y="2557451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336" name="TextBox 335"/>
          <p:cNvSpPr txBox="1"/>
          <p:nvPr/>
        </p:nvSpPr>
        <p:spPr>
          <a:xfrm>
            <a:off x="7033838" y="2746390"/>
            <a:ext cx="10982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Правила диспетчеризации</a:t>
            </a:r>
          </a:p>
        </p:txBody>
      </p:sp>
      <p:sp>
        <p:nvSpPr>
          <p:cNvPr id="337" name="Овал 336"/>
          <p:cNvSpPr/>
          <p:nvPr/>
        </p:nvSpPr>
        <p:spPr>
          <a:xfrm>
            <a:off x="8081342" y="2101974"/>
            <a:ext cx="914400" cy="68580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8" name="TextBox 337"/>
          <p:cNvSpPr txBox="1"/>
          <p:nvPr/>
        </p:nvSpPr>
        <p:spPr>
          <a:xfrm>
            <a:off x="8089960" y="2359081"/>
            <a:ext cx="9465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>
                <a:solidFill>
                  <a:schemeClr val="bg1"/>
                </a:solidFill>
              </a:rPr>
              <a:t>Работа на ОРЭМ</a:t>
            </a:r>
          </a:p>
        </p:txBody>
      </p:sp>
      <p:sp>
        <p:nvSpPr>
          <p:cNvPr id="339" name="Овал 338"/>
          <p:cNvSpPr/>
          <p:nvPr/>
        </p:nvSpPr>
        <p:spPr>
          <a:xfrm>
            <a:off x="7937326" y="1113588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340" name="TextBox 339"/>
          <p:cNvSpPr txBox="1"/>
          <p:nvPr/>
        </p:nvSpPr>
        <p:spPr>
          <a:xfrm>
            <a:off x="7884368" y="1275606"/>
            <a:ext cx="9804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Национальные стандарты</a:t>
            </a:r>
          </a:p>
        </p:txBody>
      </p:sp>
      <p:sp>
        <p:nvSpPr>
          <p:cNvPr id="341" name="Овал 340"/>
          <p:cNvSpPr/>
          <p:nvPr/>
        </p:nvSpPr>
        <p:spPr>
          <a:xfrm>
            <a:off x="6092527" y="2198603"/>
            <a:ext cx="914400" cy="685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2"/>
              </a:solidFill>
            </a:endParaRPr>
          </a:p>
        </p:txBody>
      </p:sp>
      <p:sp>
        <p:nvSpPr>
          <p:cNvPr id="342" name="TextBox 341"/>
          <p:cNvSpPr txBox="1"/>
          <p:nvPr/>
        </p:nvSpPr>
        <p:spPr>
          <a:xfrm>
            <a:off x="6084168" y="2283718"/>
            <a:ext cx="946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 b="1"/>
            </a:lvl1pPr>
          </a:lstStyle>
          <a:p>
            <a:r>
              <a:rPr lang="ru-RU" dirty="0"/>
              <a:t>Центры подготовки кадров</a:t>
            </a:r>
          </a:p>
        </p:txBody>
      </p:sp>
      <p:pic>
        <p:nvPicPr>
          <p:cNvPr id="3076" name="Picture 4" descr="Картинки по запросу галочка png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094" y="1410200"/>
            <a:ext cx="301504" cy="226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7" name="Picture 4" descr="Картинки по запросу галочка png"/>
          <p:cNvPicPr>
            <a:picLocks noChangeAspect="1" noChangeArrowheads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073493"/>
            <a:ext cx="125468" cy="94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6" name="Picture 4" descr="Картинки по запросу галочка png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012" y="2132953"/>
            <a:ext cx="301504" cy="226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8" name="Номер слайда 1"/>
          <p:cNvSpPr txBox="1">
            <a:spLocks/>
          </p:cNvSpPr>
          <p:nvPr/>
        </p:nvSpPr>
        <p:spPr bwMode="auto">
          <a:xfrm>
            <a:off x="8265418" y="4840002"/>
            <a:ext cx="627062" cy="283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fld id="{E3B895D5-17B5-4627-AA85-DD941E85EB71}" type="slidenum">
              <a:rPr lang="ru-RU" altLang="ru-RU" smtClean="0">
                <a:solidFill>
                  <a:schemeClr val="hlink"/>
                </a:solidFill>
                <a:latin typeface="Arial Narrow" panose="020B0606020202030204" pitchFamily="34" charset="0"/>
              </a:rPr>
              <a:pPr/>
              <a:t>1</a:t>
            </a:fld>
            <a:endParaRPr lang="ru-RU" altLang="ru-RU" dirty="0" smtClean="0">
              <a:solidFill>
                <a:schemeClr val="hlink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1255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93851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3" name="Рисунок 312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/>
                    </a14:imgEffect>
                    <a14:imgEffect>
                      <a14:brightnessContrast bright="29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65765" y="2258105"/>
            <a:ext cx="507680" cy="2863162"/>
          </a:xfrm>
          <a:prstGeom prst="rect">
            <a:avLst/>
          </a:prstGeom>
        </p:spPr>
      </p:pic>
      <p:pic>
        <p:nvPicPr>
          <p:cNvPr id="312" name="Рисунок 311"/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0" r="100000"/>
                    </a14:imgEffect>
                    <a14:imgEffect>
                      <a14:brightnessContrast bright="29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3639067" y="2978259"/>
            <a:ext cx="659843" cy="1390844"/>
          </a:xfrm>
          <a:prstGeom prst="rect">
            <a:avLst/>
          </a:prstGeom>
        </p:spPr>
      </p:pic>
      <p:pic>
        <p:nvPicPr>
          <p:cNvPr id="311" name="Рисунок 310"/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0" r="100000"/>
                    </a14:imgEffect>
                    <a14:imgEffect>
                      <a14:brightnessContrast bright="29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87695" y="2735032"/>
            <a:ext cx="612784" cy="1457801"/>
          </a:xfrm>
          <a:prstGeom prst="rect">
            <a:avLst/>
          </a:prstGeom>
        </p:spPr>
      </p:pic>
      <p:pic>
        <p:nvPicPr>
          <p:cNvPr id="309" name="Рисунок 308"/>
          <p:cNvPicPr>
            <a:picLocks noChangeAspect="1"/>
          </p:cNvPicPr>
          <p:nvPr/>
        </p:nvPicPr>
        <p:blipFill>
          <a:blip r:embed="rId11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0" b="100000" l="0" r="100000"/>
                    </a14:imgEffect>
                    <a14:imgEffect>
                      <a14:brightnessContrast bright="29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75107" y="3056275"/>
            <a:ext cx="566461" cy="1613636"/>
          </a:xfrm>
          <a:prstGeom prst="rect">
            <a:avLst/>
          </a:prstGeom>
        </p:spPr>
      </p:pic>
      <p:pic>
        <p:nvPicPr>
          <p:cNvPr id="156" name="Picture 4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7F7"/>
              </a:clrFrom>
              <a:clrTo>
                <a:srgbClr val="FFF7F7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3013" y="1968082"/>
            <a:ext cx="1013366" cy="674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4" name="Picture 4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7F7"/>
              </a:clrFrom>
              <a:clrTo>
                <a:srgbClr val="FFF7F7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0074" y="2190292"/>
            <a:ext cx="718162" cy="477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5" name="Picture 4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7F7"/>
              </a:clrFrom>
              <a:clrTo>
                <a:srgbClr val="FFF7F7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5468" y="2190292"/>
            <a:ext cx="718162" cy="477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0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5952" y="4009565"/>
            <a:ext cx="400988" cy="402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9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3012" y="3880912"/>
            <a:ext cx="529046" cy="531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8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006" y="3508074"/>
            <a:ext cx="900161" cy="904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265F26-9021-4BA9-8AB4-BFA9E07A9EE2}" type="slidenum">
              <a:rPr lang="ru-RU" smtClean="0">
                <a:latin typeface="Arial Narrow" panose="020B0606020202030204" pitchFamily="34" charset="0"/>
              </a:rPr>
              <a:pPr>
                <a:defRPr/>
              </a:pPr>
              <a:t>2</a:t>
            </a:fld>
            <a:endParaRPr lang="ru-RU" dirty="0" smtClean="0">
              <a:latin typeface="Arial Narrow" panose="020B0606020202030204" pitchFamily="34" charset="0"/>
            </a:endParaRPr>
          </a:p>
        </p:txBody>
      </p:sp>
      <p:sp>
        <p:nvSpPr>
          <p:cNvPr id="4099" name="Заголовок 1"/>
          <p:cNvSpPr>
            <a:spLocks noGrp="1"/>
          </p:cNvSpPr>
          <p:nvPr>
            <p:ph type="title"/>
          </p:nvPr>
        </p:nvSpPr>
        <p:spPr>
          <a:xfrm>
            <a:off x="273059" y="110272"/>
            <a:ext cx="8082409" cy="62527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800" kern="1200" dirty="0" smtClean="0"/>
              <a:t>Масштабная программа локализации производства и строительства </a:t>
            </a:r>
            <a:r>
              <a:rPr lang="ru-RU" sz="1800" kern="1200" dirty="0" err="1" smtClean="0"/>
              <a:t>ветроэлектростанций</a:t>
            </a:r>
            <a:endParaRPr lang="ru-RU" sz="1800" kern="1200" dirty="0"/>
          </a:p>
        </p:txBody>
      </p:sp>
      <p:sp>
        <p:nvSpPr>
          <p:cNvPr id="184" name="TextBox 183"/>
          <p:cNvSpPr txBox="1"/>
          <p:nvPr/>
        </p:nvSpPr>
        <p:spPr>
          <a:xfrm>
            <a:off x="6516215" y="1936850"/>
            <a:ext cx="2289045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4800">
                <a:solidFill>
                  <a:srgbClr val="2972A7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b="1" dirty="0" smtClean="0">
                <a:solidFill>
                  <a:srgbClr val="336699"/>
                </a:solidFill>
              </a:rPr>
              <a:t>250 </a:t>
            </a:r>
            <a:r>
              <a:rPr lang="ru-RU" sz="3600" b="1" dirty="0" smtClean="0">
                <a:solidFill>
                  <a:srgbClr val="336699"/>
                </a:solidFill>
              </a:rPr>
              <a:t>Мвт</a:t>
            </a:r>
            <a:endParaRPr lang="ru-RU" b="1" dirty="0">
              <a:solidFill>
                <a:srgbClr val="336699"/>
              </a:solidFill>
            </a:endParaRPr>
          </a:p>
        </p:txBody>
      </p:sp>
      <p:cxnSp>
        <p:nvCxnSpPr>
          <p:cNvPr id="187" name="Прямая соединительная линия 186"/>
          <p:cNvCxnSpPr/>
          <p:nvPr/>
        </p:nvCxnSpPr>
        <p:spPr>
          <a:xfrm flipV="1">
            <a:off x="1016260" y="4225684"/>
            <a:ext cx="0" cy="159032"/>
          </a:xfrm>
          <a:prstGeom prst="line">
            <a:avLst/>
          </a:prstGeom>
          <a:ln>
            <a:solidFill>
              <a:srgbClr val="336699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Пятиугольник 197"/>
          <p:cNvSpPr/>
          <p:nvPr/>
        </p:nvSpPr>
        <p:spPr>
          <a:xfrm>
            <a:off x="251520" y="4395334"/>
            <a:ext cx="8640960" cy="300633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>
              <a:latin typeface="Arial Narrow" panose="020B0606020202030204" pitchFamily="34" charset="0"/>
            </a:endParaRPr>
          </a:p>
        </p:txBody>
      </p:sp>
      <p:sp>
        <p:nvSpPr>
          <p:cNvPr id="213" name="TextBox 212"/>
          <p:cNvSpPr txBox="1"/>
          <p:nvPr/>
        </p:nvSpPr>
        <p:spPr>
          <a:xfrm>
            <a:off x="728427" y="4388191"/>
            <a:ext cx="51217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>
                <a:latin typeface="Arial Narrow" panose="020B0606020202030204" pitchFamily="34" charset="0"/>
              </a:rPr>
              <a:t>2016</a:t>
            </a:r>
            <a:endParaRPr lang="ru-RU" dirty="0">
              <a:latin typeface="Arial Narrow" panose="020B0606020202030204" pitchFamily="34" charset="0"/>
            </a:endParaRPr>
          </a:p>
        </p:txBody>
      </p:sp>
      <p:cxnSp>
        <p:nvCxnSpPr>
          <p:cNvPr id="219" name="Прямая соединительная линия 218"/>
          <p:cNvCxnSpPr/>
          <p:nvPr/>
        </p:nvCxnSpPr>
        <p:spPr>
          <a:xfrm flipV="1">
            <a:off x="2416096" y="4053135"/>
            <a:ext cx="0" cy="342202"/>
          </a:xfrm>
          <a:prstGeom prst="line">
            <a:avLst/>
          </a:prstGeom>
          <a:ln>
            <a:solidFill>
              <a:srgbClr val="336699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TextBox 258"/>
          <p:cNvSpPr txBox="1"/>
          <p:nvPr/>
        </p:nvSpPr>
        <p:spPr>
          <a:xfrm>
            <a:off x="2106447" y="4388191"/>
            <a:ext cx="51217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>
                <a:latin typeface="Arial Narrow" panose="020B0606020202030204" pitchFamily="34" charset="0"/>
              </a:rPr>
              <a:t>2017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60" name="TextBox 259"/>
          <p:cNvSpPr txBox="1"/>
          <p:nvPr/>
        </p:nvSpPr>
        <p:spPr>
          <a:xfrm>
            <a:off x="3484467" y="4388191"/>
            <a:ext cx="51217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>
                <a:latin typeface="Arial Narrow" panose="020B0606020202030204" pitchFamily="34" charset="0"/>
              </a:rPr>
              <a:t>2018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61" name="TextBox 260"/>
          <p:cNvSpPr txBox="1"/>
          <p:nvPr/>
        </p:nvSpPr>
        <p:spPr>
          <a:xfrm>
            <a:off x="4862487" y="4388191"/>
            <a:ext cx="51217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>
                <a:latin typeface="Arial Narrow" panose="020B0606020202030204" pitchFamily="34" charset="0"/>
              </a:rPr>
              <a:t>2019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62" name="TextBox 261"/>
          <p:cNvSpPr txBox="1"/>
          <p:nvPr/>
        </p:nvSpPr>
        <p:spPr>
          <a:xfrm>
            <a:off x="6240507" y="4388191"/>
            <a:ext cx="51217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>
                <a:latin typeface="Arial Narrow" panose="020B0606020202030204" pitchFamily="34" charset="0"/>
              </a:rPr>
              <a:t>2020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63" name="Прямоугольник 262"/>
          <p:cNvSpPr/>
          <p:nvPr/>
        </p:nvSpPr>
        <p:spPr>
          <a:xfrm>
            <a:off x="107504" y="3579862"/>
            <a:ext cx="1800215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1100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Победа в отборе проектов </a:t>
            </a:r>
            <a:r>
              <a:rPr lang="ru-RU" sz="1100" dirty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по строительству ВЭС </a:t>
            </a:r>
            <a:r>
              <a:rPr lang="ru-RU" sz="1100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/>
            </a:r>
            <a:br>
              <a:rPr lang="ru-RU" sz="1100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</a:br>
            <a:r>
              <a:rPr lang="ru-RU" sz="1100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на </a:t>
            </a:r>
            <a:r>
              <a:rPr lang="ru-RU" sz="1100" dirty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2018-2020 гг</a:t>
            </a:r>
            <a:r>
              <a:rPr lang="ru-RU" sz="1200" dirty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. </a:t>
            </a:r>
          </a:p>
        </p:txBody>
      </p:sp>
      <p:sp>
        <p:nvSpPr>
          <p:cNvPr id="267" name="Прямоугольник 266"/>
          <p:cNvSpPr/>
          <p:nvPr/>
        </p:nvSpPr>
        <p:spPr>
          <a:xfrm>
            <a:off x="1763688" y="3147814"/>
            <a:ext cx="14693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1200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Лицензионное соглашение с компанией </a:t>
            </a:r>
            <a:r>
              <a:rPr lang="ru-RU" sz="1200" dirty="0" err="1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Lagerwey</a:t>
            </a:r>
            <a:endParaRPr lang="ru-RU" sz="1200" dirty="0">
              <a:solidFill>
                <a:srgbClr val="2972A7"/>
              </a:solidFill>
              <a:latin typeface="Arial Narrow" panose="020B0606020202030204" pitchFamily="34" charset="0"/>
              <a:ea typeface="Yu Gothic Light" panose="020B0300000000000000" pitchFamily="34" charset="-128"/>
            </a:endParaRPr>
          </a:p>
        </p:txBody>
      </p:sp>
      <p:sp>
        <p:nvSpPr>
          <p:cNvPr id="268" name="Прямоугольник 267"/>
          <p:cNvSpPr/>
          <p:nvPr/>
        </p:nvSpPr>
        <p:spPr>
          <a:xfrm>
            <a:off x="3275856" y="3363838"/>
            <a:ext cx="14792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1200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Ввод завода </a:t>
            </a:r>
            <a:r>
              <a:rPr lang="ru-RU" sz="1200" dirty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по производству элементов </a:t>
            </a:r>
            <a:r>
              <a:rPr lang="ru-RU" sz="1200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ВЭУ</a:t>
            </a:r>
            <a:endParaRPr lang="ru-RU" sz="1200" dirty="0">
              <a:solidFill>
                <a:srgbClr val="2972A7"/>
              </a:solidFill>
              <a:latin typeface="Arial Narrow" panose="020B0606020202030204" pitchFamily="34" charset="0"/>
              <a:ea typeface="Yu Gothic Light" panose="020B0300000000000000" pitchFamily="34" charset="-128"/>
            </a:endParaRPr>
          </a:p>
        </p:txBody>
      </p:sp>
      <p:sp>
        <p:nvSpPr>
          <p:cNvPr id="272" name="Прямоугольник 271"/>
          <p:cNvSpPr/>
          <p:nvPr/>
        </p:nvSpPr>
        <p:spPr>
          <a:xfrm>
            <a:off x="4932040" y="3507854"/>
            <a:ext cx="24748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sz="1200" dirty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Н</a:t>
            </a:r>
            <a:r>
              <a:rPr lang="ru-RU" sz="1200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ачало </a:t>
            </a:r>
            <a:r>
              <a:rPr lang="ru-RU" sz="1200" dirty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эксплуатации первых </a:t>
            </a:r>
            <a:r>
              <a:rPr lang="ru-RU" sz="1200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ВЭС</a:t>
            </a:r>
            <a:endParaRPr lang="ru-RU" sz="1200" dirty="0">
              <a:solidFill>
                <a:srgbClr val="2972A7"/>
              </a:solidFill>
              <a:latin typeface="Arial Narrow" panose="020B0606020202030204" pitchFamily="34" charset="0"/>
              <a:ea typeface="Yu Gothic Light" panose="020B0300000000000000" pitchFamily="34" charset="-128"/>
            </a:endParaRPr>
          </a:p>
        </p:txBody>
      </p:sp>
      <p:sp>
        <p:nvSpPr>
          <p:cNvPr id="278" name="TextBox 277"/>
          <p:cNvSpPr txBox="1"/>
          <p:nvPr/>
        </p:nvSpPr>
        <p:spPr>
          <a:xfrm>
            <a:off x="7618525" y="4388191"/>
            <a:ext cx="51217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>
                <a:latin typeface="Arial Narrow" panose="020B0606020202030204" pitchFamily="34" charset="0"/>
              </a:rPr>
              <a:t>2021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79" name="TextBox 278"/>
          <p:cNvSpPr txBox="1"/>
          <p:nvPr/>
        </p:nvSpPr>
        <p:spPr>
          <a:xfrm>
            <a:off x="8351422" y="4388191"/>
            <a:ext cx="331854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>
                <a:latin typeface="Arial Narrow" panose="020B0606020202030204" pitchFamily="34" charset="0"/>
              </a:rPr>
              <a:t>…</a:t>
            </a:r>
            <a:endParaRPr lang="ru-RU" dirty="0">
              <a:latin typeface="Arial Narrow" panose="020B0606020202030204" pitchFamily="34" charset="0"/>
            </a:endParaRPr>
          </a:p>
        </p:txBody>
      </p:sp>
      <p:pic>
        <p:nvPicPr>
          <p:cNvPr id="284" name="Picture 2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1111" y="3851430"/>
            <a:ext cx="781134" cy="182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" name="Picture 4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7F7"/>
              </a:clrFrom>
              <a:clrTo>
                <a:srgbClr val="FFF7F7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2358" y="4043894"/>
            <a:ext cx="526486" cy="350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939" y="1777037"/>
            <a:ext cx="988410" cy="993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648" y="1575568"/>
            <a:ext cx="1257190" cy="1263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2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63" y="1777037"/>
            <a:ext cx="988410" cy="993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" name="TextBox 177"/>
          <p:cNvSpPr txBox="1"/>
          <p:nvPr/>
        </p:nvSpPr>
        <p:spPr>
          <a:xfrm>
            <a:off x="32529" y="1150787"/>
            <a:ext cx="241515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4800">
                <a:solidFill>
                  <a:srgbClr val="2972A7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b="1" dirty="0" smtClean="0">
                <a:solidFill>
                  <a:srgbClr val="336699"/>
                </a:solidFill>
              </a:rPr>
              <a:t>970 </a:t>
            </a:r>
            <a:r>
              <a:rPr lang="ru-RU" sz="3600" b="1" dirty="0" smtClean="0">
                <a:solidFill>
                  <a:srgbClr val="336699"/>
                </a:solidFill>
              </a:rPr>
              <a:t>Мвт</a:t>
            </a:r>
            <a:endParaRPr lang="ru-RU" b="1" dirty="0">
              <a:solidFill>
                <a:srgbClr val="336699"/>
              </a:solidFill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273060" y="2261333"/>
            <a:ext cx="275501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4800" b="1" dirty="0">
                <a:solidFill>
                  <a:srgbClr val="336699"/>
                </a:solidFill>
                <a:latin typeface="Arial Narrow" panose="020B0606020202030204" pitchFamily="34" charset="0"/>
              </a:rPr>
              <a:t>$</a:t>
            </a:r>
            <a:r>
              <a:rPr lang="ru-RU" sz="4800" b="1" dirty="0" smtClean="0">
                <a:solidFill>
                  <a:srgbClr val="336699"/>
                </a:solidFill>
                <a:latin typeface="Arial Narrow" panose="020B0606020202030204" pitchFamily="34" charset="0"/>
              </a:rPr>
              <a:t>2 </a:t>
            </a:r>
            <a:r>
              <a:rPr lang="ru-RU" sz="3600" b="1" dirty="0" smtClean="0">
                <a:solidFill>
                  <a:srgbClr val="336699"/>
                </a:solidFill>
                <a:latin typeface="Arial Narrow" panose="020B0606020202030204" pitchFamily="34" charset="0"/>
              </a:rPr>
              <a:t>млрд</a:t>
            </a:r>
            <a:r>
              <a:rPr lang="ru-RU" sz="4800" b="1" dirty="0" smtClean="0">
                <a:solidFill>
                  <a:srgbClr val="336699"/>
                </a:solidFill>
                <a:latin typeface="Arial Narrow" panose="020B0606020202030204" pitchFamily="34" charset="0"/>
              </a:rPr>
              <a:t>.</a:t>
            </a:r>
            <a:endParaRPr lang="ru-RU" sz="4800" b="1" dirty="0">
              <a:solidFill>
                <a:srgbClr val="336699"/>
              </a:solidFill>
              <a:latin typeface="Arial Narrow" panose="020B0606020202030204" pitchFamily="34" charset="0"/>
            </a:endParaRPr>
          </a:p>
        </p:txBody>
      </p:sp>
      <p:sp>
        <p:nvSpPr>
          <p:cNvPr id="180" name="Прямоугольник 179"/>
          <p:cNvSpPr/>
          <p:nvPr/>
        </p:nvSpPr>
        <p:spPr>
          <a:xfrm>
            <a:off x="1953101" y="1186665"/>
            <a:ext cx="168648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Строительство </a:t>
            </a:r>
            <a:r>
              <a:rPr lang="ru-RU" sz="1200" b="1" dirty="0" err="1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ветропарков</a:t>
            </a:r>
            <a: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 </a:t>
            </a:r>
            <a:r>
              <a:rPr lang="ru-RU" sz="1200" b="1" dirty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на юге России </a:t>
            </a:r>
            <a: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в </a:t>
            </a:r>
            <a:r>
              <a:rPr lang="ru-RU" sz="1200" b="1" dirty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течение </a:t>
            </a:r>
            <a: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/>
            </a:r>
            <a:b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</a:br>
            <a: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2018-2022 </a:t>
            </a:r>
            <a:r>
              <a:rPr lang="ru-RU" sz="1200" b="1" dirty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гг.</a:t>
            </a:r>
          </a:p>
        </p:txBody>
      </p:sp>
      <p:sp>
        <p:nvSpPr>
          <p:cNvPr id="181" name="Прямоугольник 180"/>
          <p:cNvSpPr/>
          <p:nvPr/>
        </p:nvSpPr>
        <p:spPr>
          <a:xfrm>
            <a:off x="2593139" y="2631542"/>
            <a:ext cx="124374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Общий объем инвестиций</a:t>
            </a:r>
            <a:endParaRPr lang="ru-RU" sz="1200" b="1" dirty="0">
              <a:solidFill>
                <a:srgbClr val="2972A7"/>
              </a:solidFill>
              <a:latin typeface="Arial Narrow" panose="020B0606020202030204" pitchFamily="34" charset="0"/>
              <a:ea typeface="Yu Gothic UI Light" panose="020B0300000000000000" pitchFamily="34" charset="-128"/>
            </a:endParaRPr>
          </a:p>
        </p:txBody>
      </p:sp>
      <p:grpSp>
        <p:nvGrpSpPr>
          <p:cNvPr id="152" name="Группа 151"/>
          <p:cNvGrpSpPr/>
          <p:nvPr/>
        </p:nvGrpSpPr>
        <p:grpSpPr>
          <a:xfrm>
            <a:off x="3523282" y="1092674"/>
            <a:ext cx="3121360" cy="2021736"/>
            <a:chOff x="3523282" y="1456899"/>
            <a:chExt cx="3121360" cy="2695648"/>
          </a:xfrm>
        </p:grpSpPr>
        <p:sp>
          <p:nvSpPr>
            <p:cNvPr id="153" name="Freeform 4"/>
            <p:cNvSpPr>
              <a:spLocks/>
            </p:cNvSpPr>
            <p:nvPr/>
          </p:nvSpPr>
          <p:spPr bwMode="auto">
            <a:xfrm>
              <a:off x="4263705" y="2285392"/>
              <a:ext cx="224371" cy="249362"/>
            </a:xfrm>
            <a:custGeom>
              <a:avLst/>
              <a:gdLst>
                <a:gd name="T0" fmla="*/ 321 w 430"/>
                <a:gd name="T1" fmla="*/ 33 h 490"/>
                <a:gd name="T2" fmla="*/ 303 w 430"/>
                <a:gd name="T3" fmla="*/ 61 h 490"/>
                <a:gd name="T4" fmla="*/ 266 w 430"/>
                <a:gd name="T5" fmla="*/ 102 h 490"/>
                <a:gd name="T6" fmla="*/ 233 w 430"/>
                <a:gd name="T7" fmla="*/ 130 h 490"/>
                <a:gd name="T8" fmla="*/ 216 w 430"/>
                <a:gd name="T9" fmla="*/ 133 h 490"/>
                <a:gd name="T10" fmla="*/ 198 w 430"/>
                <a:gd name="T11" fmla="*/ 152 h 490"/>
                <a:gd name="T12" fmla="*/ 198 w 430"/>
                <a:gd name="T13" fmla="*/ 166 h 490"/>
                <a:gd name="T14" fmla="*/ 205 w 430"/>
                <a:gd name="T15" fmla="*/ 178 h 490"/>
                <a:gd name="T16" fmla="*/ 192 w 430"/>
                <a:gd name="T17" fmla="*/ 200 h 490"/>
                <a:gd name="T18" fmla="*/ 194 w 430"/>
                <a:gd name="T19" fmla="*/ 216 h 490"/>
                <a:gd name="T20" fmla="*/ 190 w 430"/>
                <a:gd name="T21" fmla="*/ 229 h 490"/>
                <a:gd name="T22" fmla="*/ 140 w 430"/>
                <a:gd name="T23" fmla="*/ 253 h 490"/>
                <a:gd name="T24" fmla="*/ 118 w 430"/>
                <a:gd name="T25" fmla="*/ 274 h 490"/>
                <a:gd name="T26" fmla="*/ 107 w 430"/>
                <a:gd name="T27" fmla="*/ 263 h 490"/>
                <a:gd name="T28" fmla="*/ 94 w 430"/>
                <a:gd name="T29" fmla="*/ 253 h 490"/>
                <a:gd name="T30" fmla="*/ 83 w 430"/>
                <a:gd name="T31" fmla="*/ 259 h 490"/>
                <a:gd name="T32" fmla="*/ 76 w 430"/>
                <a:gd name="T33" fmla="*/ 277 h 490"/>
                <a:gd name="T34" fmla="*/ 70 w 430"/>
                <a:gd name="T35" fmla="*/ 300 h 490"/>
                <a:gd name="T36" fmla="*/ 50 w 430"/>
                <a:gd name="T37" fmla="*/ 301 h 490"/>
                <a:gd name="T38" fmla="*/ 41 w 430"/>
                <a:gd name="T39" fmla="*/ 292 h 490"/>
                <a:gd name="T40" fmla="*/ 30 w 430"/>
                <a:gd name="T41" fmla="*/ 287 h 490"/>
                <a:gd name="T42" fmla="*/ 0 w 430"/>
                <a:gd name="T43" fmla="*/ 325 h 490"/>
                <a:gd name="T44" fmla="*/ 2 w 430"/>
                <a:gd name="T45" fmla="*/ 325 h 490"/>
                <a:gd name="T46" fmla="*/ 9 w 430"/>
                <a:gd name="T47" fmla="*/ 349 h 490"/>
                <a:gd name="T48" fmla="*/ 28 w 430"/>
                <a:gd name="T49" fmla="*/ 361 h 490"/>
                <a:gd name="T50" fmla="*/ 61 w 430"/>
                <a:gd name="T51" fmla="*/ 392 h 490"/>
                <a:gd name="T52" fmla="*/ 72 w 430"/>
                <a:gd name="T53" fmla="*/ 386 h 490"/>
                <a:gd name="T54" fmla="*/ 96 w 430"/>
                <a:gd name="T55" fmla="*/ 401 h 490"/>
                <a:gd name="T56" fmla="*/ 137 w 430"/>
                <a:gd name="T57" fmla="*/ 434 h 490"/>
                <a:gd name="T58" fmla="*/ 166 w 430"/>
                <a:gd name="T59" fmla="*/ 446 h 490"/>
                <a:gd name="T60" fmla="*/ 194 w 430"/>
                <a:gd name="T61" fmla="*/ 457 h 490"/>
                <a:gd name="T62" fmla="*/ 225 w 430"/>
                <a:gd name="T63" fmla="*/ 458 h 490"/>
                <a:gd name="T64" fmla="*/ 251 w 430"/>
                <a:gd name="T65" fmla="*/ 479 h 490"/>
                <a:gd name="T66" fmla="*/ 272 w 430"/>
                <a:gd name="T67" fmla="*/ 490 h 490"/>
                <a:gd name="T68" fmla="*/ 308 w 430"/>
                <a:gd name="T69" fmla="*/ 481 h 490"/>
                <a:gd name="T70" fmla="*/ 323 w 430"/>
                <a:gd name="T71" fmla="*/ 477 h 490"/>
                <a:gd name="T72" fmla="*/ 336 w 430"/>
                <a:gd name="T73" fmla="*/ 434 h 490"/>
                <a:gd name="T74" fmla="*/ 358 w 430"/>
                <a:gd name="T75" fmla="*/ 423 h 490"/>
                <a:gd name="T76" fmla="*/ 384 w 430"/>
                <a:gd name="T77" fmla="*/ 431 h 490"/>
                <a:gd name="T78" fmla="*/ 419 w 430"/>
                <a:gd name="T79" fmla="*/ 420 h 490"/>
                <a:gd name="T80" fmla="*/ 419 w 430"/>
                <a:gd name="T81" fmla="*/ 409 h 490"/>
                <a:gd name="T82" fmla="*/ 425 w 430"/>
                <a:gd name="T83" fmla="*/ 383 h 490"/>
                <a:gd name="T84" fmla="*/ 430 w 430"/>
                <a:gd name="T85" fmla="*/ 377 h 490"/>
                <a:gd name="T86" fmla="*/ 421 w 430"/>
                <a:gd name="T87" fmla="*/ 344 h 490"/>
                <a:gd name="T88" fmla="*/ 427 w 430"/>
                <a:gd name="T89" fmla="*/ 314 h 490"/>
                <a:gd name="T90" fmla="*/ 410 w 430"/>
                <a:gd name="T91" fmla="*/ 281 h 490"/>
                <a:gd name="T92" fmla="*/ 414 w 430"/>
                <a:gd name="T93" fmla="*/ 222 h 490"/>
                <a:gd name="T94" fmla="*/ 408 w 430"/>
                <a:gd name="T95" fmla="*/ 185 h 490"/>
                <a:gd name="T96" fmla="*/ 406 w 430"/>
                <a:gd name="T97" fmla="*/ 159 h 490"/>
                <a:gd name="T98" fmla="*/ 425 w 430"/>
                <a:gd name="T99" fmla="*/ 122 h 490"/>
                <a:gd name="T100" fmla="*/ 414 w 430"/>
                <a:gd name="T101" fmla="*/ 81 h 490"/>
                <a:gd name="T102" fmla="*/ 393 w 430"/>
                <a:gd name="T103" fmla="*/ 54 h 490"/>
                <a:gd name="T104" fmla="*/ 369 w 430"/>
                <a:gd name="T105" fmla="*/ 35 h 490"/>
                <a:gd name="T106" fmla="*/ 356 w 430"/>
                <a:gd name="T107" fmla="*/ 11 h 490"/>
                <a:gd name="T108" fmla="*/ 351 w 430"/>
                <a:gd name="T109" fmla="*/ 0 h 49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0"/>
                <a:gd name="T166" fmla="*/ 0 h 490"/>
                <a:gd name="T167" fmla="*/ 430 w 430"/>
                <a:gd name="T168" fmla="*/ 490 h 49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0" h="490">
                  <a:moveTo>
                    <a:pt x="342" y="4"/>
                  </a:moveTo>
                  <a:lnTo>
                    <a:pt x="329" y="24"/>
                  </a:lnTo>
                  <a:lnTo>
                    <a:pt x="321" y="33"/>
                  </a:lnTo>
                  <a:lnTo>
                    <a:pt x="318" y="37"/>
                  </a:lnTo>
                  <a:lnTo>
                    <a:pt x="310" y="45"/>
                  </a:lnTo>
                  <a:lnTo>
                    <a:pt x="303" y="61"/>
                  </a:lnTo>
                  <a:lnTo>
                    <a:pt x="296" y="78"/>
                  </a:lnTo>
                  <a:lnTo>
                    <a:pt x="283" y="89"/>
                  </a:lnTo>
                  <a:lnTo>
                    <a:pt x="266" y="102"/>
                  </a:lnTo>
                  <a:lnTo>
                    <a:pt x="249" y="113"/>
                  </a:lnTo>
                  <a:lnTo>
                    <a:pt x="242" y="124"/>
                  </a:lnTo>
                  <a:lnTo>
                    <a:pt x="233" y="130"/>
                  </a:lnTo>
                  <a:lnTo>
                    <a:pt x="225" y="130"/>
                  </a:lnTo>
                  <a:lnTo>
                    <a:pt x="220" y="131"/>
                  </a:lnTo>
                  <a:lnTo>
                    <a:pt x="216" y="133"/>
                  </a:lnTo>
                  <a:lnTo>
                    <a:pt x="211" y="139"/>
                  </a:lnTo>
                  <a:lnTo>
                    <a:pt x="203" y="144"/>
                  </a:lnTo>
                  <a:lnTo>
                    <a:pt x="198" y="152"/>
                  </a:lnTo>
                  <a:lnTo>
                    <a:pt x="196" y="159"/>
                  </a:lnTo>
                  <a:lnTo>
                    <a:pt x="196" y="163"/>
                  </a:lnTo>
                  <a:lnTo>
                    <a:pt x="198" y="166"/>
                  </a:lnTo>
                  <a:lnTo>
                    <a:pt x="201" y="170"/>
                  </a:lnTo>
                  <a:lnTo>
                    <a:pt x="203" y="174"/>
                  </a:lnTo>
                  <a:lnTo>
                    <a:pt x="205" y="178"/>
                  </a:lnTo>
                  <a:lnTo>
                    <a:pt x="205" y="183"/>
                  </a:lnTo>
                  <a:lnTo>
                    <a:pt x="198" y="191"/>
                  </a:lnTo>
                  <a:lnTo>
                    <a:pt x="192" y="200"/>
                  </a:lnTo>
                  <a:lnTo>
                    <a:pt x="192" y="205"/>
                  </a:lnTo>
                  <a:lnTo>
                    <a:pt x="194" y="213"/>
                  </a:lnTo>
                  <a:lnTo>
                    <a:pt x="194" y="216"/>
                  </a:lnTo>
                  <a:lnTo>
                    <a:pt x="194" y="220"/>
                  </a:lnTo>
                  <a:lnTo>
                    <a:pt x="194" y="226"/>
                  </a:lnTo>
                  <a:lnTo>
                    <a:pt x="190" y="229"/>
                  </a:lnTo>
                  <a:lnTo>
                    <a:pt x="164" y="237"/>
                  </a:lnTo>
                  <a:lnTo>
                    <a:pt x="146" y="239"/>
                  </a:lnTo>
                  <a:lnTo>
                    <a:pt x="140" y="253"/>
                  </a:lnTo>
                  <a:lnTo>
                    <a:pt x="135" y="270"/>
                  </a:lnTo>
                  <a:lnTo>
                    <a:pt x="126" y="274"/>
                  </a:lnTo>
                  <a:lnTo>
                    <a:pt x="118" y="274"/>
                  </a:lnTo>
                  <a:lnTo>
                    <a:pt x="114" y="272"/>
                  </a:lnTo>
                  <a:lnTo>
                    <a:pt x="111" y="268"/>
                  </a:lnTo>
                  <a:lnTo>
                    <a:pt x="107" y="263"/>
                  </a:lnTo>
                  <a:lnTo>
                    <a:pt x="103" y="259"/>
                  </a:lnTo>
                  <a:lnTo>
                    <a:pt x="100" y="255"/>
                  </a:lnTo>
                  <a:lnTo>
                    <a:pt x="94" y="253"/>
                  </a:lnTo>
                  <a:lnTo>
                    <a:pt x="90" y="255"/>
                  </a:lnTo>
                  <a:lnTo>
                    <a:pt x="87" y="257"/>
                  </a:lnTo>
                  <a:lnTo>
                    <a:pt x="83" y="259"/>
                  </a:lnTo>
                  <a:lnTo>
                    <a:pt x="81" y="263"/>
                  </a:lnTo>
                  <a:lnTo>
                    <a:pt x="78" y="270"/>
                  </a:lnTo>
                  <a:lnTo>
                    <a:pt x="76" y="277"/>
                  </a:lnTo>
                  <a:lnTo>
                    <a:pt x="76" y="287"/>
                  </a:lnTo>
                  <a:lnTo>
                    <a:pt x="74" y="294"/>
                  </a:lnTo>
                  <a:lnTo>
                    <a:pt x="70" y="300"/>
                  </a:lnTo>
                  <a:lnTo>
                    <a:pt x="63" y="303"/>
                  </a:lnTo>
                  <a:lnTo>
                    <a:pt x="55" y="303"/>
                  </a:lnTo>
                  <a:lnTo>
                    <a:pt x="50" y="301"/>
                  </a:lnTo>
                  <a:lnTo>
                    <a:pt x="46" y="298"/>
                  </a:lnTo>
                  <a:lnTo>
                    <a:pt x="42" y="296"/>
                  </a:lnTo>
                  <a:lnTo>
                    <a:pt x="41" y="292"/>
                  </a:lnTo>
                  <a:lnTo>
                    <a:pt x="37" y="288"/>
                  </a:lnTo>
                  <a:lnTo>
                    <a:pt x="35" y="287"/>
                  </a:lnTo>
                  <a:lnTo>
                    <a:pt x="30" y="287"/>
                  </a:lnTo>
                  <a:lnTo>
                    <a:pt x="17" y="305"/>
                  </a:lnTo>
                  <a:lnTo>
                    <a:pt x="0" y="325"/>
                  </a:lnTo>
                  <a:lnTo>
                    <a:pt x="2" y="325"/>
                  </a:lnTo>
                  <a:lnTo>
                    <a:pt x="4" y="336"/>
                  </a:lnTo>
                  <a:lnTo>
                    <a:pt x="7" y="344"/>
                  </a:lnTo>
                  <a:lnTo>
                    <a:pt x="9" y="349"/>
                  </a:lnTo>
                  <a:lnTo>
                    <a:pt x="13" y="353"/>
                  </a:lnTo>
                  <a:lnTo>
                    <a:pt x="20" y="357"/>
                  </a:lnTo>
                  <a:lnTo>
                    <a:pt x="28" y="361"/>
                  </a:lnTo>
                  <a:lnTo>
                    <a:pt x="42" y="375"/>
                  </a:lnTo>
                  <a:lnTo>
                    <a:pt x="61" y="392"/>
                  </a:lnTo>
                  <a:lnTo>
                    <a:pt x="63" y="390"/>
                  </a:lnTo>
                  <a:lnTo>
                    <a:pt x="66" y="388"/>
                  </a:lnTo>
                  <a:lnTo>
                    <a:pt x="72" y="386"/>
                  </a:lnTo>
                  <a:lnTo>
                    <a:pt x="78" y="388"/>
                  </a:lnTo>
                  <a:lnTo>
                    <a:pt x="83" y="388"/>
                  </a:lnTo>
                  <a:lnTo>
                    <a:pt x="96" y="401"/>
                  </a:lnTo>
                  <a:lnTo>
                    <a:pt x="109" y="414"/>
                  </a:lnTo>
                  <a:lnTo>
                    <a:pt x="124" y="421"/>
                  </a:lnTo>
                  <a:lnTo>
                    <a:pt x="137" y="434"/>
                  </a:lnTo>
                  <a:lnTo>
                    <a:pt x="146" y="433"/>
                  </a:lnTo>
                  <a:lnTo>
                    <a:pt x="155" y="433"/>
                  </a:lnTo>
                  <a:lnTo>
                    <a:pt x="166" y="446"/>
                  </a:lnTo>
                  <a:lnTo>
                    <a:pt x="177" y="460"/>
                  </a:lnTo>
                  <a:lnTo>
                    <a:pt x="194" y="457"/>
                  </a:lnTo>
                  <a:lnTo>
                    <a:pt x="211" y="451"/>
                  </a:lnTo>
                  <a:lnTo>
                    <a:pt x="216" y="453"/>
                  </a:lnTo>
                  <a:lnTo>
                    <a:pt x="225" y="458"/>
                  </a:lnTo>
                  <a:lnTo>
                    <a:pt x="233" y="464"/>
                  </a:lnTo>
                  <a:lnTo>
                    <a:pt x="242" y="471"/>
                  </a:lnTo>
                  <a:lnTo>
                    <a:pt x="251" y="479"/>
                  </a:lnTo>
                  <a:lnTo>
                    <a:pt x="259" y="484"/>
                  </a:lnTo>
                  <a:lnTo>
                    <a:pt x="266" y="490"/>
                  </a:lnTo>
                  <a:lnTo>
                    <a:pt x="272" y="490"/>
                  </a:lnTo>
                  <a:lnTo>
                    <a:pt x="284" y="484"/>
                  </a:lnTo>
                  <a:lnTo>
                    <a:pt x="297" y="481"/>
                  </a:lnTo>
                  <a:lnTo>
                    <a:pt x="308" y="481"/>
                  </a:lnTo>
                  <a:lnTo>
                    <a:pt x="320" y="482"/>
                  </a:lnTo>
                  <a:lnTo>
                    <a:pt x="323" y="477"/>
                  </a:lnTo>
                  <a:lnTo>
                    <a:pt x="327" y="473"/>
                  </a:lnTo>
                  <a:lnTo>
                    <a:pt x="332" y="455"/>
                  </a:lnTo>
                  <a:lnTo>
                    <a:pt x="336" y="434"/>
                  </a:lnTo>
                  <a:lnTo>
                    <a:pt x="344" y="427"/>
                  </a:lnTo>
                  <a:lnTo>
                    <a:pt x="351" y="423"/>
                  </a:lnTo>
                  <a:lnTo>
                    <a:pt x="358" y="423"/>
                  </a:lnTo>
                  <a:lnTo>
                    <a:pt x="364" y="423"/>
                  </a:lnTo>
                  <a:lnTo>
                    <a:pt x="375" y="429"/>
                  </a:lnTo>
                  <a:lnTo>
                    <a:pt x="384" y="431"/>
                  </a:lnTo>
                  <a:lnTo>
                    <a:pt x="401" y="425"/>
                  </a:lnTo>
                  <a:lnTo>
                    <a:pt x="417" y="420"/>
                  </a:lnTo>
                  <a:lnTo>
                    <a:pt x="419" y="420"/>
                  </a:lnTo>
                  <a:lnTo>
                    <a:pt x="419" y="416"/>
                  </a:lnTo>
                  <a:lnTo>
                    <a:pt x="419" y="412"/>
                  </a:lnTo>
                  <a:lnTo>
                    <a:pt x="419" y="409"/>
                  </a:lnTo>
                  <a:lnTo>
                    <a:pt x="419" y="399"/>
                  </a:lnTo>
                  <a:lnTo>
                    <a:pt x="421" y="390"/>
                  </a:lnTo>
                  <a:lnTo>
                    <a:pt x="425" y="383"/>
                  </a:lnTo>
                  <a:lnTo>
                    <a:pt x="430" y="377"/>
                  </a:lnTo>
                  <a:lnTo>
                    <a:pt x="425" y="364"/>
                  </a:lnTo>
                  <a:lnTo>
                    <a:pt x="423" y="353"/>
                  </a:lnTo>
                  <a:lnTo>
                    <a:pt x="421" y="344"/>
                  </a:lnTo>
                  <a:lnTo>
                    <a:pt x="423" y="333"/>
                  </a:lnTo>
                  <a:lnTo>
                    <a:pt x="425" y="324"/>
                  </a:lnTo>
                  <a:lnTo>
                    <a:pt x="427" y="314"/>
                  </a:lnTo>
                  <a:lnTo>
                    <a:pt x="427" y="305"/>
                  </a:lnTo>
                  <a:lnTo>
                    <a:pt x="425" y="296"/>
                  </a:lnTo>
                  <a:lnTo>
                    <a:pt x="410" y="281"/>
                  </a:lnTo>
                  <a:lnTo>
                    <a:pt x="395" y="266"/>
                  </a:lnTo>
                  <a:lnTo>
                    <a:pt x="405" y="244"/>
                  </a:lnTo>
                  <a:lnTo>
                    <a:pt x="414" y="222"/>
                  </a:lnTo>
                  <a:lnTo>
                    <a:pt x="410" y="211"/>
                  </a:lnTo>
                  <a:lnTo>
                    <a:pt x="406" y="198"/>
                  </a:lnTo>
                  <a:lnTo>
                    <a:pt x="408" y="185"/>
                  </a:lnTo>
                  <a:lnTo>
                    <a:pt x="410" y="172"/>
                  </a:lnTo>
                  <a:lnTo>
                    <a:pt x="408" y="165"/>
                  </a:lnTo>
                  <a:lnTo>
                    <a:pt x="406" y="159"/>
                  </a:lnTo>
                  <a:lnTo>
                    <a:pt x="416" y="148"/>
                  </a:lnTo>
                  <a:lnTo>
                    <a:pt x="427" y="137"/>
                  </a:lnTo>
                  <a:lnTo>
                    <a:pt x="425" y="122"/>
                  </a:lnTo>
                  <a:lnTo>
                    <a:pt x="421" y="102"/>
                  </a:lnTo>
                  <a:lnTo>
                    <a:pt x="417" y="91"/>
                  </a:lnTo>
                  <a:lnTo>
                    <a:pt x="414" y="81"/>
                  </a:lnTo>
                  <a:lnTo>
                    <a:pt x="410" y="74"/>
                  </a:lnTo>
                  <a:lnTo>
                    <a:pt x="405" y="69"/>
                  </a:lnTo>
                  <a:lnTo>
                    <a:pt x="393" y="54"/>
                  </a:lnTo>
                  <a:lnTo>
                    <a:pt x="388" y="46"/>
                  </a:lnTo>
                  <a:lnTo>
                    <a:pt x="377" y="41"/>
                  </a:lnTo>
                  <a:lnTo>
                    <a:pt x="369" y="35"/>
                  </a:lnTo>
                  <a:lnTo>
                    <a:pt x="364" y="30"/>
                  </a:lnTo>
                  <a:lnTo>
                    <a:pt x="360" y="24"/>
                  </a:lnTo>
                  <a:lnTo>
                    <a:pt x="356" y="11"/>
                  </a:lnTo>
                  <a:lnTo>
                    <a:pt x="351" y="0"/>
                  </a:lnTo>
                  <a:lnTo>
                    <a:pt x="345" y="2"/>
                  </a:lnTo>
                  <a:lnTo>
                    <a:pt x="342" y="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54" name="Freeform 5"/>
            <p:cNvSpPr>
              <a:spLocks/>
            </p:cNvSpPr>
            <p:nvPr/>
          </p:nvSpPr>
          <p:spPr bwMode="auto">
            <a:xfrm>
              <a:off x="4213613" y="2265545"/>
              <a:ext cx="228545" cy="186258"/>
            </a:xfrm>
            <a:custGeom>
              <a:avLst/>
              <a:gdLst>
                <a:gd name="T0" fmla="*/ 94 w 438"/>
                <a:gd name="T1" fmla="*/ 122 h 366"/>
                <a:gd name="T2" fmla="*/ 79 w 438"/>
                <a:gd name="T3" fmla="*/ 143 h 366"/>
                <a:gd name="T4" fmla="*/ 70 w 438"/>
                <a:gd name="T5" fmla="*/ 163 h 366"/>
                <a:gd name="T6" fmla="*/ 39 w 438"/>
                <a:gd name="T7" fmla="*/ 204 h 366"/>
                <a:gd name="T8" fmla="*/ 33 w 438"/>
                <a:gd name="T9" fmla="*/ 230 h 366"/>
                <a:gd name="T10" fmla="*/ 28 w 438"/>
                <a:gd name="T11" fmla="*/ 241 h 366"/>
                <a:gd name="T12" fmla="*/ 2 w 438"/>
                <a:gd name="T13" fmla="*/ 255 h 366"/>
                <a:gd name="T14" fmla="*/ 0 w 438"/>
                <a:gd name="T15" fmla="*/ 283 h 366"/>
                <a:gd name="T16" fmla="*/ 24 w 438"/>
                <a:gd name="T17" fmla="*/ 316 h 366"/>
                <a:gd name="T18" fmla="*/ 55 w 438"/>
                <a:gd name="T19" fmla="*/ 329 h 366"/>
                <a:gd name="T20" fmla="*/ 72 w 438"/>
                <a:gd name="T21" fmla="*/ 344 h 366"/>
                <a:gd name="T22" fmla="*/ 83 w 438"/>
                <a:gd name="T23" fmla="*/ 366 h 366"/>
                <a:gd name="T24" fmla="*/ 96 w 438"/>
                <a:gd name="T25" fmla="*/ 364 h 366"/>
                <a:gd name="T26" fmla="*/ 113 w 438"/>
                <a:gd name="T27" fmla="*/ 344 h 366"/>
                <a:gd name="T28" fmla="*/ 133 w 438"/>
                <a:gd name="T29" fmla="*/ 327 h 366"/>
                <a:gd name="T30" fmla="*/ 142 w 438"/>
                <a:gd name="T31" fmla="*/ 337 h 366"/>
                <a:gd name="T32" fmla="*/ 159 w 438"/>
                <a:gd name="T33" fmla="*/ 342 h 366"/>
                <a:gd name="T34" fmla="*/ 172 w 438"/>
                <a:gd name="T35" fmla="*/ 326 h 366"/>
                <a:gd name="T36" fmla="*/ 177 w 438"/>
                <a:gd name="T37" fmla="*/ 302 h 366"/>
                <a:gd name="T38" fmla="*/ 186 w 438"/>
                <a:gd name="T39" fmla="*/ 294 h 366"/>
                <a:gd name="T40" fmla="*/ 199 w 438"/>
                <a:gd name="T41" fmla="*/ 298 h 366"/>
                <a:gd name="T42" fmla="*/ 210 w 438"/>
                <a:gd name="T43" fmla="*/ 311 h 366"/>
                <a:gd name="T44" fmla="*/ 231 w 438"/>
                <a:gd name="T45" fmla="*/ 309 h 366"/>
                <a:gd name="T46" fmla="*/ 260 w 438"/>
                <a:gd name="T47" fmla="*/ 276 h 366"/>
                <a:gd name="T48" fmla="*/ 290 w 438"/>
                <a:gd name="T49" fmla="*/ 259 h 366"/>
                <a:gd name="T50" fmla="*/ 288 w 438"/>
                <a:gd name="T51" fmla="*/ 244 h 366"/>
                <a:gd name="T52" fmla="*/ 301 w 438"/>
                <a:gd name="T53" fmla="*/ 222 h 366"/>
                <a:gd name="T54" fmla="*/ 297 w 438"/>
                <a:gd name="T55" fmla="*/ 209 h 366"/>
                <a:gd name="T56" fmla="*/ 292 w 438"/>
                <a:gd name="T57" fmla="*/ 198 h 366"/>
                <a:gd name="T58" fmla="*/ 307 w 438"/>
                <a:gd name="T59" fmla="*/ 178 h 366"/>
                <a:gd name="T60" fmla="*/ 321 w 438"/>
                <a:gd name="T61" fmla="*/ 169 h 366"/>
                <a:gd name="T62" fmla="*/ 345 w 438"/>
                <a:gd name="T63" fmla="*/ 152 h 366"/>
                <a:gd name="T64" fmla="*/ 392 w 438"/>
                <a:gd name="T65" fmla="*/ 117 h 366"/>
                <a:gd name="T66" fmla="*/ 414 w 438"/>
                <a:gd name="T67" fmla="*/ 76 h 366"/>
                <a:gd name="T68" fmla="*/ 438 w 438"/>
                <a:gd name="T69" fmla="*/ 43 h 366"/>
                <a:gd name="T70" fmla="*/ 427 w 438"/>
                <a:gd name="T71" fmla="*/ 47 h 366"/>
                <a:gd name="T72" fmla="*/ 401 w 438"/>
                <a:gd name="T73" fmla="*/ 41 h 366"/>
                <a:gd name="T74" fmla="*/ 366 w 438"/>
                <a:gd name="T75" fmla="*/ 21 h 366"/>
                <a:gd name="T76" fmla="*/ 318 w 438"/>
                <a:gd name="T77" fmla="*/ 19 h 366"/>
                <a:gd name="T78" fmla="*/ 295 w 438"/>
                <a:gd name="T79" fmla="*/ 11 h 366"/>
                <a:gd name="T80" fmla="*/ 271 w 438"/>
                <a:gd name="T81" fmla="*/ 0 h 366"/>
                <a:gd name="T82" fmla="*/ 240 w 438"/>
                <a:gd name="T83" fmla="*/ 21 h 366"/>
                <a:gd name="T84" fmla="*/ 225 w 438"/>
                <a:gd name="T85" fmla="*/ 63 h 366"/>
                <a:gd name="T86" fmla="*/ 199 w 438"/>
                <a:gd name="T87" fmla="*/ 100 h 366"/>
                <a:gd name="T88" fmla="*/ 192 w 438"/>
                <a:gd name="T89" fmla="*/ 122 h 366"/>
                <a:gd name="T90" fmla="*/ 207 w 438"/>
                <a:gd name="T91" fmla="*/ 150 h 366"/>
                <a:gd name="T92" fmla="*/ 192 w 438"/>
                <a:gd name="T93" fmla="*/ 157 h 366"/>
                <a:gd name="T94" fmla="*/ 148 w 438"/>
                <a:gd name="T95" fmla="*/ 145 h 366"/>
                <a:gd name="T96" fmla="*/ 127 w 438"/>
                <a:gd name="T97" fmla="*/ 145 h 366"/>
                <a:gd name="T98" fmla="*/ 118 w 438"/>
                <a:gd name="T99" fmla="*/ 148 h 366"/>
                <a:gd name="T100" fmla="*/ 107 w 438"/>
                <a:gd name="T101" fmla="*/ 135 h 36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38"/>
                <a:gd name="T154" fmla="*/ 0 h 366"/>
                <a:gd name="T155" fmla="*/ 438 w 438"/>
                <a:gd name="T156" fmla="*/ 366 h 36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38" h="366">
                  <a:moveTo>
                    <a:pt x="105" y="119"/>
                  </a:moveTo>
                  <a:lnTo>
                    <a:pt x="100" y="120"/>
                  </a:lnTo>
                  <a:lnTo>
                    <a:pt x="94" y="122"/>
                  </a:lnTo>
                  <a:lnTo>
                    <a:pt x="89" y="128"/>
                  </a:lnTo>
                  <a:lnTo>
                    <a:pt x="85" y="137"/>
                  </a:lnTo>
                  <a:lnTo>
                    <a:pt x="79" y="143"/>
                  </a:lnTo>
                  <a:lnTo>
                    <a:pt x="76" y="148"/>
                  </a:lnTo>
                  <a:lnTo>
                    <a:pt x="72" y="154"/>
                  </a:lnTo>
                  <a:lnTo>
                    <a:pt x="70" y="163"/>
                  </a:lnTo>
                  <a:lnTo>
                    <a:pt x="59" y="176"/>
                  </a:lnTo>
                  <a:lnTo>
                    <a:pt x="44" y="194"/>
                  </a:lnTo>
                  <a:lnTo>
                    <a:pt x="39" y="204"/>
                  </a:lnTo>
                  <a:lnTo>
                    <a:pt x="35" y="217"/>
                  </a:lnTo>
                  <a:lnTo>
                    <a:pt x="33" y="222"/>
                  </a:lnTo>
                  <a:lnTo>
                    <a:pt x="33" y="230"/>
                  </a:lnTo>
                  <a:lnTo>
                    <a:pt x="33" y="235"/>
                  </a:lnTo>
                  <a:lnTo>
                    <a:pt x="35" y="241"/>
                  </a:lnTo>
                  <a:lnTo>
                    <a:pt x="28" y="241"/>
                  </a:lnTo>
                  <a:lnTo>
                    <a:pt x="18" y="242"/>
                  </a:lnTo>
                  <a:lnTo>
                    <a:pt x="11" y="248"/>
                  </a:lnTo>
                  <a:lnTo>
                    <a:pt x="2" y="255"/>
                  </a:lnTo>
                  <a:lnTo>
                    <a:pt x="2" y="268"/>
                  </a:lnTo>
                  <a:lnTo>
                    <a:pt x="0" y="283"/>
                  </a:lnTo>
                  <a:lnTo>
                    <a:pt x="2" y="283"/>
                  </a:lnTo>
                  <a:lnTo>
                    <a:pt x="13" y="298"/>
                  </a:lnTo>
                  <a:lnTo>
                    <a:pt x="24" y="316"/>
                  </a:lnTo>
                  <a:lnTo>
                    <a:pt x="39" y="320"/>
                  </a:lnTo>
                  <a:lnTo>
                    <a:pt x="52" y="324"/>
                  </a:lnTo>
                  <a:lnTo>
                    <a:pt x="55" y="329"/>
                  </a:lnTo>
                  <a:lnTo>
                    <a:pt x="57" y="337"/>
                  </a:lnTo>
                  <a:lnTo>
                    <a:pt x="65" y="340"/>
                  </a:lnTo>
                  <a:lnTo>
                    <a:pt x="72" y="344"/>
                  </a:lnTo>
                  <a:lnTo>
                    <a:pt x="76" y="355"/>
                  </a:lnTo>
                  <a:lnTo>
                    <a:pt x="79" y="364"/>
                  </a:lnTo>
                  <a:lnTo>
                    <a:pt x="83" y="366"/>
                  </a:lnTo>
                  <a:lnTo>
                    <a:pt x="87" y="366"/>
                  </a:lnTo>
                  <a:lnTo>
                    <a:pt x="92" y="366"/>
                  </a:lnTo>
                  <a:lnTo>
                    <a:pt x="96" y="364"/>
                  </a:lnTo>
                  <a:lnTo>
                    <a:pt x="113" y="344"/>
                  </a:lnTo>
                  <a:lnTo>
                    <a:pt x="126" y="326"/>
                  </a:lnTo>
                  <a:lnTo>
                    <a:pt x="131" y="326"/>
                  </a:lnTo>
                  <a:lnTo>
                    <a:pt x="133" y="327"/>
                  </a:lnTo>
                  <a:lnTo>
                    <a:pt x="137" y="331"/>
                  </a:lnTo>
                  <a:lnTo>
                    <a:pt x="138" y="335"/>
                  </a:lnTo>
                  <a:lnTo>
                    <a:pt x="142" y="337"/>
                  </a:lnTo>
                  <a:lnTo>
                    <a:pt x="146" y="340"/>
                  </a:lnTo>
                  <a:lnTo>
                    <a:pt x="151" y="342"/>
                  </a:lnTo>
                  <a:lnTo>
                    <a:pt x="159" y="342"/>
                  </a:lnTo>
                  <a:lnTo>
                    <a:pt x="166" y="339"/>
                  </a:lnTo>
                  <a:lnTo>
                    <a:pt x="170" y="333"/>
                  </a:lnTo>
                  <a:lnTo>
                    <a:pt x="172" y="326"/>
                  </a:lnTo>
                  <a:lnTo>
                    <a:pt x="172" y="316"/>
                  </a:lnTo>
                  <a:lnTo>
                    <a:pt x="174" y="309"/>
                  </a:lnTo>
                  <a:lnTo>
                    <a:pt x="177" y="302"/>
                  </a:lnTo>
                  <a:lnTo>
                    <a:pt x="179" y="298"/>
                  </a:lnTo>
                  <a:lnTo>
                    <a:pt x="183" y="296"/>
                  </a:lnTo>
                  <a:lnTo>
                    <a:pt x="186" y="294"/>
                  </a:lnTo>
                  <a:lnTo>
                    <a:pt x="190" y="292"/>
                  </a:lnTo>
                  <a:lnTo>
                    <a:pt x="196" y="294"/>
                  </a:lnTo>
                  <a:lnTo>
                    <a:pt x="199" y="298"/>
                  </a:lnTo>
                  <a:lnTo>
                    <a:pt x="203" y="302"/>
                  </a:lnTo>
                  <a:lnTo>
                    <a:pt x="207" y="307"/>
                  </a:lnTo>
                  <a:lnTo>
                    <a:pt x="210" y="311"/>
                  </a:lnTo>
                  <a:lnTo>
                    <a:pt x="214" y="313"/>
                  </a:lnTo>
                  <a:lnTo>
                    <a:pt x="222" y="313"/>
                  </a:lnTo>
                  <a:lnTo>
                    <a:pt x="231" y="309"/>
                  </a:lnTo>
                  <a:lnTo>
                    <a:pt x="236" y="292"/>
                  </a:lnTo>
                  <a:lnTo>
                    <a:pt x="242" y="278"/>
                  </a:lnTo>
                  <a:lnTo>
                    <a:pt x="260" y="276"/>
                  </a:lnTo>
                  <a:lnTo>
                    <a:pt x="286" y="268"/>
                  </a:lnTo>
                  <a:lnTo>
                    <a:pt x="290" y="265"/>
                  </a:lnTo>
                  <a:lnTo>
                    <a:pt x="290" y="259"/>
                  </a:lnTo>
                  <a:lnTo>
                    <a:pt x="290" y="255"/>
                  </a:lnTo>
                  <a:lnTo>
                    <a:pt x="290" y="252"/>
                  </a:lnTo>
                  <a:lnTo>
                    <a:pt x="288" y="244"/>
                  </a:lnTo>
                  <a:lnTo>
                    <a:pt x="288" y="239"/>
                  </a:lnTo>
                  <a:lnTo>
                    <a:pt x="294" y="230"/>
                  </a:lnTo>
                  <a:lnTo>
                    <a:pt x="301" y="222"/>
                  </a:lnTo>
                  <a:lnTo>
                    <a:pt x="301" y="217"/>
                  </a:lnTo>
                  <a:lnTo>
                    <a:pt x="299" y="213"/>
                  </a:lnTo>
                  <a:lnTo>
                    <a:pt x="297" y="209"/>
                  </a:lnTo>
                  <a:lnTo>
                    <a:pt x="294" y="205"/>
                  </a:lnTo>
                  <a:lnTo>
                    <a:pt x="292" y="202"/>
                  </a:lnTo>
                  <a:lnTo>
                    <a:pt x="292" y="198"/>
                  </a:lnTo>
                  <a:lnTo>
                    <a:pt x="294" y="191"/>
                  </a:lnTo>
                  <a:lnTo>
                    <a:pt x="299" y="183"/>
                  </a:lnTo>
                  <a:lnTo>
                    <a:pt x="307" y="178"/>
                  </a:lnTo>
                  <a:lnTo>
                    <a:pt x="312" y="172"/>
                  </a:lnTo>
                  <a:lnTo>
                    <a:pt x="316" y="170"/>
                  </a:lnTo>
                  <a:lnTo>
                    <a:pt x="321" y="169"/>
                  </a:lnTo>
                  <a:lnTo>
                    <a:pt x="329" y="169"/>
                  </a:lnTo>
                  <a:lnTo>
                    <a:pt x="338" y="163"/>
                  </a:lnTo>
                  <a:lnTo>
                    <a:pt x="345" y="152"/>
                  </a:lnTo>
                  <a:lnTo>
                    <a:pt x="362" y="141"/>
                  </a:lnTo>
                  <a:lnTo>
                    <a:pt x="379" y="128"/>
                  </a:lnTo>
                  <a:lnTo>
                    <a:pt x="392" y="117"/>
                  </a:lnTo>
                  <a:lnTo>
                    <a:pt x="399" y="100"/>
                  </a:lnTo>
                  <a:lnTo>
                    <a:pt x="406" y="84"/>
                  </a:lnTo>
                  <a:lnTo>
                    <a:pt x="414" y="76"/>
                  </a:lnTo>
                  <a:lnTo>
                    <a:pt x="417" y="72"/>
                  </a:lnTo>
                  <a:lnTo>
                    <a:pt x="425" y="63"/>
                  </a:lnTo>
                  <a:lnTo>
                    <a:pt x="438" y="43"/>
                  </a:lnTo>
                  <a:lnTo>
                    <a:pt x="427" y="47"/>
                  </a:lnTo>
                  <a:lnTo>
                    <a:pt x="419" y="48"/>
                  </a:lnTo>
                  <a:lnTo>
                    <a:pt x="410" y="47"/>
                  </a:lnTo>
                  <a:lnTo>
                    <a:pt x="401" y="41"/>
                  </a:lnTo>
                  <a:lnTo>
                    <a:pt x="392" y="37"/>
                  </a:lnTo>
                  <a:lnTo>
                    <a:pt x="382" y="32"/>
                  </a:lnTo>
                  <a:lnTo>
                    <a:pt x="366" y="21"/>
                  </a:lnTo>
                  <a:lnTo>
                    <a:pt x="347" y="11"/>
                  </a:lnTo>
                  <a:lnTo>
                    <a:pt x="332" y="15"/>
                  </a:lnTo>
                  <a:lnTo>
                    <a:pt x="318" y="19"/>
                  </a:lnTo>
                  <a:lnTo>
                    <a:pt x="308" y="15"/>
                  </a:lnTo>
                  <a:lnTo>
                    <a:pt x="301" y="11"/>
                  </a:lnTo>
                  <a:lnTo>
                    <a:pt x="295" y="11"/>
                  </a:lnTo>
                  <a:lnTo>
                    <a:pt x="290" y="11"/>
                  </a:lnTo>
                  <a:lnTo>
                    <a:pt x="281" y="6"/>
                  </a:lnTo>
                  <a:lnTo>
                    <a:pt x="271" y="0"/>
                  </a:lnTo>
                  <a:lnTo>
                    <a:pt x="270" y="0"/>
                  </a:lnTo>
                  <a:lnTo>
                    <a:pt x="268" y="0"/>
                  </a:lnTo>
                  <a:lnTo>
                    <a:pt x="240" y="21"/>
                  </a:lnTo>
                  <a:lnTo>
                    <a:pt x="225" y="32"/>
                  </a:lnTo>
                  <a:lnTo>
                    <a:pt x="225" y="47"/>
                  </a:lnTo>
                  <a:lnTo>
                    <a:pt x="225" y="63"/>
                  </a:lnTo>
                  <a:lnTo>
                    <a:pt x="216" y="76"/>
                  </a:lnTo>
                  <a:lnTo>
                    <a:pt x="205" y="93"/>
                  </a:lnTo>
                  <a:lnTo>
                    <a:pt x="199" y="100"/>
                  </a:lnTo>
                  <a:lnTo>
                    <a:pt x="196" y="108"/>
                  </a:lnTo>
                  <a:lnTo>
                    <a:pt x="192" y="115"/>
                  </a:lnTo>
                  <a:lnTo>
                    <a:pt x="192" y="122"/>
                  </a:lnTo>
                  <a:lnTo>
                    <a:pt x="201" y="135"/>
                  </a:lnTo>
                  <a:lnTo>
                    <a:pt x="209" y="146"/>
                  </a:lnTo>
                  <a:lnTo>
                    <a:pt x="207" y="150"/>
                  </a:lnTo>
                  <a:lnTo>
                    <a:pt x="203" y="154"/>
                  </a:lnTo>
                  <a:lnTo>
                    <a:pt x="199" y="156"/>
                  </a:lnTo>
                  <a:lnTo>
                    <a:pt x="192" y="157"/>
                  </a:lnTo>
                  <a:lnTo>
                    <a:pt x="175" y="154"/>
                  </a:lnTo>
                  <a:lnTo>
                    <a:pt x="161" y="152"/>
                  </a:lnTo>
                  <a:lnTo>
                    <a:pt x="148" y="145"/>
                  </a:lnTo>
                  <a:lnTo>
                    <a:pt x="138" y="137"/>
                  </a:lnTo>
                  <a:lnTo>
                    <a:pt x="133" y="139"/>
                  </a:lnTo>
                  <a:lnTo>
                    <a:pt x="127" y="145"/>
                  </a:lnTo>
                  <a:lnTo>
                    <a:pt x="124" y="146"/>
                  </a:lnTo>
                  <a:lnTo>
                    <a:pt x="122" y="148"/>
                  </a:lnTo>
                  <a:lnTo>
                    <a:pt x="118" y="148"/>
                  </a:lnTo>
                  <a:lnTo>
                    <a:pt x="114" y="146"/>
                  </a:lnTo>
                  <a:lnTo>
                    <a:pt x="111" y="141"/>
                  </a:lnTo>
                  <a:lnTo>
                    <a:pt x="107" y="135"/>
                  </a:lnTo>
                  <a:lnTo>
                    <a:pt x="105" y="128"/>
                  </a:lnTo>
                  <a:lnTo>
                    <a:pt x="105" y="11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60" name="Freeform 6"/>
            <p:cNvSpPr>
              <a:spLocks/>
            </p:cNvSpPr>
            <p:nvPr/>
          </p:nvSpPr>
          <p:spPr bwMode="auto">
            <a:xfrm>
              <a:off x="4595043" y="1851807"/>
              <a:ext cx="92879" cy="116539"/>
            </a:xfrm>
            <a:custGeom>
              <a:avLst/>
              <a:gdLst>
                <a:gd name="T0" fmla="*/ 84 w 178"/>
                <a:gd name="T1" fmla="*/ 224 h 229"/>
                <a:gd name="T2" fmla="*/ 85 w 178"/>
                <a:gd name="T3" fmla="*/ 211 h 229"/>
                <a:gd name="T4" fmla="*/ 82 w 178"/>
                <a:gd name="T5" fmla="*/ 183 h 229"/>
                <a:gd name="T6" fmla="*/ 89 w 178"/>
                <a:gd name="T7" fmla="*/ 144 h 229"/>
                <a:gd name="T8" fmla="*/ 93 w 178"/>
                <a:gd name="T9" fmla="*/ 126 h 229"/>
                <a:gd name="T10" fmla="*/ 93 w 178"/>
                <a:gd name="T11" fmla="*/ 115 h 229"/>
                <a:gd name="T12" fmla="*/ 108 w 178"/>
                <a:gd name="T13" fmla="*/ 104 h 229"/>
                <a:gd name="T14" fmla="*/ 122 w 178"/>
                <a:gd name="T15" fmla="*/ 89 h 229"/>
                <a:gd name="T16" fmla="*/ 128 w 178"/>
                <a:gd name="T17" fmla="*/ 78 h 229"/>
                <a:gd name="T18" fmla="*/ 135 w 178"/>
                <a:gd name="T19" fmla="*/ 76 h 229"/>
                <a:gd name="T20" fmla="*/ 141 w 178"/>
                <a:gd name="T21" fmla="*/ 72 h 229"/>
                <a:gd name="T22" fmla="*/ 146 w 178"/>
                <a:gd name="T23" fmla="*/ 69 h 229"/>
                <a:gd name="T24" fmla="*/ 156 w 178"/>
                <a:gd name="T25" fmla="*/ 63 h 229"/>
                <a:gd name="T26" fmla="*/ 163 w 178"/>
                <a:gd name="T27" fmla="*/ 59 h 229"/>
                <a:gd name="T28" fmla="*/ 169 w 178"/>
                <a:gd name="T29" fmla="*/ 50 h 229"/>
                <a:gd name="T30" fmla="*/ 176 w 178"/>
                <a:gd name="T31" fmla="*/ 48 h 229"/>
                <a:gd name="T32" fmla="*/ 178 w 178"/>
                <a:gd name="T33" fmla="*/ 41 h 229"/>
                <a:gd name="T34" fmla="*/ 167 w 178"/>
                <a:gd name="T35" fmla="*/ 23 h 229"/>
                <a:gd name="T36" fmla="*/ 145 w 178"/>
                <a:gd name="T37" fmla="*/ 6 h 229"/>
                <a:gd name="T38" fmla="*/ 122 w 178"/>
                <a:gd name="T39" fmla="*/ 2 h 229"/>
                <a:gd name="T40" fmla="*/ 109 w 178"/>
                <a:gd name="T41" fmla="*/ 11 h 229"/>
                <a:gd name="T42" fmla="*/ 100 w 178"/>
                <a:gd name="T43" fmla="*/ 13 h 229"/>
                <a:gd name="T44" fmla="*/ 95 w 178"/>
                <a:gd name="T45" fmla="*/ 8 h 229"/>
                <a:gd name="T46" fmla="*/ 89 w 178"/>
                <a:gd name="T47" fmla="*/ 8 h 229"/>
                <a:gd name="T48" fmla="*/ 84 w 178"/>
                <a:gd name="T49" fmla="*/ 13 h 229"/>
                <a:gd name="T50" fmla="*/ 89 w 178"/>
                <a:gd name="T51" fmla="*/ 23 h 229"/>
                <a:gd name="T52" fmla="*/ 85 w 178"/>
                <a:gd name="T53" fmla="*/ 32 h 229"/>
                <a:gd name="T54" fmla="*/ 65 w 178"/>
                <a:gd name="T55" fmla="*/ 45 h 229"/>
                <a:gd name="T56" fmla="*/ 45 w 178"/>
                <a:gd name="T57" fmla="*/ 58 h 229"/>
                <a:gd name="T58" fmla="*/ 36 w 178"/>
                <a:gd name="T59" fmla="*/ 48 h 229"/>
                <a:gd name="T60" fmla="*/ 28 w 178"/>
                <a:gd name="T61" fmla="*/ 43 h 229"/>
                <a:gd name="T62" fmla="*/ 15 w 178"/>
                <a:gd name="T63" fmla="*/ 54 h 229"/>
                <a:gd name="T64" fmla="*/ 4 w 178"/>
                <a:gd name="T65" fmla="*/ 69 h 229"/>
                <a:gd name="T66" fmla="*/ 0 w 178"/>
                <a:gd name="T67" fmla="*/ 83 h 229"/>
                <a:gd name="T68" fmla="*/ 10 w 178"/>
                <a:gd name="T69" fmla="*/ 89 h 229"/>
                <a:gd name="T70" fmla="*/ 19 w 178"/>
                <a:gd name="T71" fmla="*/ 95 h 229"/>
                <a:gd name="T72" fmla="*/ 26 w 178"/>
                <a:gd name="T73" fmla="*/ 108 h 229"/>
                <a:gd name="T74" fmla="*/ 28 w 178"/>
                <a:gd name="T75" fmla="*/ 122 h 229"/>
                <a:gd name="T76" fmla="*/ 37 w 178"/>
                <a:gd name="T77" fmla="*/ 122 h 229"/>
                <a:gd name="T78" fmla="*/ 41 w 178"/>
                <a:gd name="T79" fmla="*/ 128 h 229"/>
                <a:gd name="T80" fmla="*/ 26 w 178"/>
                <a:gd name="T81" fmla="*/ 126 h 229"/>
                <a:gd name="T82" fmla="*/ 24 w 178"/>
                <a:gd name="T83" fmla="*/ 135 h 229"/>
                <a:gd name="T84" fmla="*/ 32 w 178"/>
                <a:gd name="T85" fmla="*/ 143 h 229"/>
                <a:gd name="T86" fmla="*/ 28 w 178"/>
                <a:gd name="T87" fmla="*/ 146 h 229"/>
                <a:gd name="T88" fmla="*/ 24 w 178"/>
                <a:gd name="T89" fmla="*/ 144 h 229"/>
                <a:gd name="T90" fmla="*/ 17 w 178"/>
                <a:gd name="T91" fmla="*/ 139 h 229"/>
                <a:gd name="T92" fmla="*/ 10 w 178"/>
                <a:gd name="T93" fmla="*/ 156 h 229"/>
                <a:gd name="T94" fmla="*/ 13 w 178"/>
                <a:gd name="T95" fmla="*/ 163 h 229"/>
                <a:gd name="T96" fmla="*/ 23 w 178"/>
                <a:gd name="T97" fmla="*/ 174 h 229"/>
                <a:gd name="T98" fmla="*/ 19 w 178"/>
                <a:gd name="T99" fmla="*/ 191 h 229"/>
                <a:gd name="T100" fmla="*/ 23 w 178"/>
                <a:gd name="T101" fmla="*/ 194 h 229"/>
                <a:gd name="T102" fmla="*/ 36 w 178"/>
                <a:gd name="T103" fmla="*/ 194 h 229"/>
                <a:gd name="T104" fmla="*/ 45 w 178"/>
                <a:gd name="T105" fmla="*/ 205 h 229"/>
                <a:gd name="T106" fmla="*/ 50 w 178"/>
                <a:gd name="T107" fmla="*/ 209 h 229"/>
                <a:gd name="T108" fmla="*/ 60 w 178"/>
                <a:gd name="T109" fmla="*/ 209 h 229"/>
                <a:gd name="T110" fmla="*/ 69 w 178"/>
                <a:gd name="T111" fmla="*/ 226 h 229"/>
                <a:gd name="T112" fmla="*/ 80 w 178"/>
                <a:gd name="T113" fmla="*/ 229 h 22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8"/>
                <a:gd name="T172" fmla="*/ 0 h 229"/>
                <a:gd name="T173" fmla="*/ 178 w 178"/>
                <a:gd name="T174" fmla="*/ 229 h 22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8" h="229">
                  <a:moveTo>
                    <a:pt x="80" y="229"/>
                  </a:moveTo>
                  <a:lnTo>
                    <a:pt x="84" y="224"/>
                  </a:lnTo>
                  <a:lnTo>
                    <a:pt x="84" y="218"/>
                  </a:lnTo>
                  <a:lnTo>
                    <a:pt x="85" y="211"/>
                  </a:lnTo>
                  <a:lnTo>
                    <a:pt x="84" y="202"/>
                  </a:lnTo>
                  <a:lnTo>
                    <a:pt x="82" y="183"/>
                  </a:lnTo>
                  <a:lnTo>
                    <a:pt x="82" y="165"/>
                  </a:lnTo>
                  <a:lnTo>
                    <a:pt x="89" y="144"/>
                  </a:lnTo>
                  <a:lnTo>
                    <a:pt x="95" y="132"/>
                  </a:lnTo>
                  <a:lnTo>
                    <a:pt x="93" y="126"/>
                  </a:lnTo>
                  <a:lnTo>
                    <a:pt x="93" y="120"/>
                  </a:lnTo>
                  <a:lnTo>
                    <a:pt x="93" y="115"/>
                  </a:lnTo>
                  <a:lnTo>
                    <a:pt x="95" y="113"/>
                  </a:lnTo>
                  <a:lnTo>
                    <a:pt x="108" y="104"/>
                  </a:lnTo>
                  <a:lnTo>
                    <a:pt x="120" y="95"/>
                  </a:lnTo>
                  <a:lnTo>
                    <a:pt x="122" y="89"/>
                  </a:lnTo>
                  <a:lnTo>
                    <a:pt x="120" y="80"/>
                  </a:lnTo>
                  <a:lnTo>
                    <a:pt x="128" y="78"/>
                  </a:lnTo>
                  <a:lnTo>
                    <a:pt x="133" y="80"/>
                  </a:lnTo>
                  <a:lnTo>
                    <a:pt x="135" y="76"/>
                  </a:lnTo>
                  <a:lnTo>
                    <a:pt x="135" y="72"/>
                  </a:lnTo>
                  <a:lnTo>
                    <a:pt x="141" y="72"/>
                  </a:lnTo>
                  <a:lnTo>
                    <a:pt x="145" y="74"/>
                  </a:lnTo>
                  <a:lnTo>
                    <a:pt x="146" y="69"/>
                  </a:lnTo>
                  <a:lnTo>
                    <a:pt x="152" y="65"/>
                  </a:lnTo>
                  <a:lnTo>
                    <a:pt x="156" y="63"/>
                  </a:lnTo>
                  <a:lnTo>
                    <a:pt x="161" y="65"/>
                  </a:lnTo>
                  <a:lnTo>
                    <a:pt x="163" y="59"/>
                  </a:lnTo>
                  <a:lnTo>
                    <a:pt x="163" y="50"/>
                  </a:lnTo>
                  <a:lnTo>
                    <a:pt x="169" y="50"/>
                  </a:lnTo>
                  <a:lnTo>
                    <a:pt x="174" y="50"/>
                  </a:lnTo>
                  <a:lnTo>
                    <a:pt x="176" y="48"/>
                  </a:lnTo>
                  <a:lnTo>
                    <a:pt x="178" y="45"/>
                  </a:lnTo>
                  <a:lnTo>
                    <a:pt x="178" y="41"/>
                  </a:lnTo>
                  <a:lnTo>
                    <a:pt x="176" y="34"/>
                  </a:lnTo>
                  <a:lnTo>
                    <a:pt x="167" y="23"/>
                  </a:lnTo>
                  <a:lnTo>
                    <a:pt x="156" y="13"/>
                  </a:lnTo>
                  <a:lnTo>
                    <a:pt x="145" y="6"/>
                  </a:lnTo>
                  <a:lnTo>
                    <a:pt x="132" y="0"/>
                  </a:lnTo>
                  <a:lnTo>
                    <a:pt x="122" y="2"/>
                  </a:lnTo>
                  <a:lnTo>
                    <a:pt x="115" y="6"/>
                  </a:lnTo>
                  <a:lnTo>
                    <a:pt x="109" y="11"/>
                  </a:lnTo>
                  <a:lnTo>
                    <a:pt x="106" y="17"/>
                  </a:lnTo>
                  <a:lnTo>
                    <a:pt x="100" y="13"/>
                  </a:lnTo>
                  <a:lnTo>
                    <a:pt x="96" y="10"/>
                  </a:lnTo>
                  <a:lnTo>
                    <a:pt x="95" y="8"/>
                  </a:lnTo>
                  <a:lnTo>
                    <a:pt x="91" y="8"/>
                  </a:lnTo>
                  <a:lnTo>
                    <a:pt x="89" y="8"/>
                  </a:lnTo>
                  <a:lnTo>
                    <a:pt x="85" y="8"/>
                  </a:lnTo>
                  <a:lnTo>
                    <a:pt x="84" y="13"/>
                  </a:lnTo>
                  <a:lnTo>
                    <a:pt x="87" y="17"/>
                  </a:lnTo>
                  <a:lnTo>
                    <a:pt x="89" y="23"/>
                  </a:lnTo>
                  <a:lnTo>
                    <a:pt x="91" y="26"/>
                  </a:lnTo>
                  <a:lnTo>
                    <a:pt x="85" y="32"/>
                  </a:lnTo>
                  <a:lnTo>
                    <a:pt x="80" y="37"/>
                  </a:lnTo>
                  <a:lnTo>
                    <a:pt x="65" y="45"/>
                  </a:lnTo>
                  <a:lnTo>
                    <a:pt x="50" y="56"/>
                  </a:lnTo>
                  <a:lnTo>
                    <a:pt x="45" y="58"/>
                  </a:lnTo>
                  <a:lnTo>
                    <a:pt x="39" y="54"/>
                  </a:lnTo>
                  <a:lnTo>
                    <a:pt x="36" y="48"/>
                  </a:lnTo>
                  <a:lnTo>
                    <a:pt x="34" y="41"/>
                  </a:lnTo>
                  <a:lnTo>
                    <a:pt x="28" y="43"/>
                  </a:lnTo>
                  <a:lnTo>
                    <a:pt x="23" y="47"/>
                  </a:lnTo>
                  <a:lnTo>
                    <a:pt x="15" y="54"/>
                  </a:lnTo>
                  <a:lnTo>
                    <a:pt x="10" y="61"/>
                  </a:lnTo>
                  <a:lnTo>
                    <a:pt x="4" y="69"/>
                  </a:lnTo>
                  <a:lnTo>
                    <a:pt x="0" y="76"/>
                  </a:lnTo>
                  <a:lnTo>
                    <a:pt x="0" y="83"/>
                  </a:lnTo>
                  <a:lnTo>
                    <a:pt x="0" y="87"/>
                  </a:lnTo>
                  <a:lnTo>
                    <a:pt x="10" y="89"/>
                  </a:lnTo>
                  <a:lnTo>
                    <a:pt x="17" y="87"/>
                  </a:lnTo>
                  <a:lnTo>
                    <a:pt x="19" y="95"/>
                  </a:lnTo>
                  <a:lnTo>
                    <a:pt x="23" y="102"/>
                  </a:lnTo>
                  <a:lnTo>
                    <a:pt x="26" y="108"/>
                  </a:lnTo>
                  <a:lnTo>
                    <a:pt x="32" y="113"/>
                  </a:lnTo>
                  <a:lnTo>
                    <a:pt x="28" y="122"/>
                  </a:lnTo>
                  <a:lnTo>
                    <a:pt x="34" y="122"/>
                  </a:lnTo>
                  <a:lnTo>
                    <a:pt x="37" y="122"/>
                  </a:lnTo>
                  <a:lnTo>
                    <a:pt x="39" y="126"/>
                  </a:lnTo>
                  <a:lnTo>
                    <a:pt x="41" y="128"/>
                  </a:lnTo>
                  <a:lnTo>
                    <a:pt x="34" y="128"/>
                  </a:lnTo>
                  <a:lnTo>
                    <a:pt x="26" y="126"/>
                  </a:lnTo>
                  <a:lnTo>
                    <a:pt x="24" y="132"/>
                  </a:lnTo>
                  <a:lnTo>
                    <a:pt x="24" y="135"/>
                  </a:lnTo>
                  <a:lnTo>
                    <a:pt x="30" y="137"/>
                  </a:lnTo>
                  <a:lnTo>
                    <a:pt x="32" y="143"/>
                  </a:lnTo>
                  <a:lnTo>
                    <a:pt x="30" y="144"/>
                  </a:lnTo>
                  <a:lnTo>
                    <a:pt x="28" y="146"/>
                  </a:lnTo>
                  <a:lnTo>
                    <a:pt x="26" y="144"/>
                  </a:lnTo>
                  <a:lnTo>
                    <a:pt x="24" y="144"/>
                  </a:lnTo>
                  <a:lnTo>
                    <a:pt x="21" y="141"/>
                  </a:lnTo>
                  <a:lnTo>
                    <a:pt x="17" y="139"/>
                  </a:lnTo>
                  <a:lnTo>
                    <a:pt x="12" y="148"/>
                  </a:lnTo>
                  <a:lnTo>
                    <a:pt x="10" y="156"/>
                  </a:lnTo>
                  <a:lnTo>
                    <a:pt x="12" y="159"/>
                  </a:lnTo>
                  <a:lnTo>
                    <a:pt x="13" y="163"/>
                  </a:lnTo>
                  <a:lnTo>
                    <a:pt x="19" y="167"/>
                  </a:lnTo>
                  <a:lnTo>
                    <a:pt x="23" y="174"/>
                  </a:lnTo>
                  <a:lnTo>
                    <a:pt x="19" y="183"/>
                  </a:lnTo>
                  <a:lnTo>
                    <a:pt x="19" y="191"/>
                  </a:lnTo>
                  <a:lnTo>
                    <a:pt x="21" y="194"/>
                  </a:lnTo>
                  <a:lnTo>
                    <a:pt x="23" y="194"/>
                  </a:lnTo>
                  <a:lnTo>
                    <a:pt x="30" y="193"/>
                  </a:lnTo>
                  <a:lnTo>
                    <a:pt x="36" y="194"/>
                  </a:lnTo>
                  <a:lnTo>
                    <a:pt x="41" y="202"/>
                  </a:lnTo>
                  <a:lnTo>
                    <a:pt x="45" y="205"/>
                  </a:lnTo>
                  <a:lnTo>
                    <a:pt x="48" y="207"/>
                  </a:lnTo>
                  <a:lnTo>
                    <a:pt x="50" y="209"/>
                  </a:lnTo>
                  <a:lnTo>
                    <a:pt x="54" y="207"/>
                  </a:lnTo>
                  <a:lnTo>
                    <a:pt x="60" y="209"/>
                  </a:lnTo>
                  <a:lnTo>
                    <a:pt x="65" y="220"/>
                  </a:lnTo>
                  <a:lnTo>
                    <a:pt x="69" y="226"/>
                  </a:lnTo>
                  <a:lnTo>
                    <a:pt x="74" y="229"/>
                  </a:lnTo>
                  <a:lnTo>
                    <a:pt x="80" y="22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61" name="Freeform 7"/>
            <p:cNvSpPr>
              <a:spLocks/>
            </p:cNvSpPr>
            <p:nvPr/>
          </p:nvSpPr>
          <p:spPr bwMode="auto">
            <a:xfrm>
              <a:off x="4594521" y="1902698"/>
              <a:ext cx="6783" cy="13231"/>
            </a:xfrm>
            <a:custGeom>
              <a:avLst/>
              <a:gdLst>
                <a:gd name="T0" fmla="*/ 1 w 13"/>
                <a:gd name="T1" fmla="*/ 0 h 26"/>
                <a:gd name="T2" fmla="*/ 0 w 13"/>
                <a:gd name="T3" fmla="*/ 4 h 26"/>
                <a:gd name="T4" fmla="*/ 0 w 13"/>
                <a:gd name="T5" fmla="*/ 8 h 26"/>
                <a:gd name="T6" fmla="*/ 1 w 13"/>
                <a:gd name="T7" fmla="*/ 11 h 26"/>
                <a:gd name="T8" fmla="*/ 3 w 13"/>
                <a:gd name="T9" fmla="*/ 15 h 26"/>
                <a:gd name="T10" fmla="*/ 1 w 13"/>
                <a:gd name="T11" fmla="*/ 22 h 26"/>
                <a:gd name="T12" fmla="*/ 0 w 13"/>
                <a:gd name="T13" fmla="*/ 26 h 26"/>
                <a:gd name="T14" fmla="*/ 3 w 13"/>
                <a:gd name="T15" fmla="*/ 26 h 26"/>
                <a:gd name="T16" fmla="*/ 5 w 13"/>
                <a:gd name="T17" fmla="*/ 26 h 26"/>
                <a:gd name="T18" fmla="*/ 7 w 13"/>
                <a:gd name="T19" fmla="*/ 24 h 26"/>
                <a:gd name="T20" fmla="*/ 9 w 13"/>
                <a:gd name="T21" fmla="*/ 22 h 26"/>
                <a:gd name="T22" fmla="*/ 11 w 13"/>
                <a:gd name="T23" fmla="*/ 19 h 26"/>
                <a:gd name="T24" fmla="*/ 13 w 13"/>
                <a:gd name="T25" fmla="*/ 13 h 26"/>
                <a:gd name="T26" fmla="*/ 13 w 13"/>
                <a:gd name="T27" fmla="*/ 8 h 26"/>
                <a:gd name="T28" fmla="*/ 11 w 13"/>
                <a:gd name="T29" fmla="*/ 4 h 26"/>
                <a:gd name="T30" fmla="*/ 5 w 13"/>
                <a:gd name="T31" fmla="*/ 0 h 26"/>
                <a:gd name="T32" fmla="*/ 1 w 13"/>
                <a:gd name="T33" fmla="*/ 0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3"/>
                <a:gd name="T52" fmla="*/ 0 h 26"/>
                <a:gd name="T53" fmla="*/ 13 w 13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3" h="26">
                  <a:moveTo>
                    <a:pt x="1" y="0"/>
                  </a:moveTo>
                  <a:lnTo>
                    <a:pt x="0" y="4"/>
                  </a:lnTo>
                  <a:lnTo>
                    <a:pt x="0" y="8"/>
                  </a:lnTo>
                  <a:lnTo>
                    <a:pt x="1" y="11"/>
                  </a:lnTo>
                  <a:lnTo>
                    <a:pt x="3" y="15"/>
                  </a:lnTo>
                  <a:lnTo>
                    <a:pt x="1" y="22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7" y="24"/>
                  </a:lnTo>
                  <a:lnTo>
                    <a:pt x="9" y="22"/>
                  </a:lnTo>
                  <a:lnTo>
                    <a:pt x="11" y="19"/>
                  </a:lnTo>
                  <a:lnTo>
                    <a:pt x="13" y="13"/>
                  </a:lnTo>
                  <a:lnTo>
                    <a:pt x="13" y="8"/>
                  </a:lnTo>
                  <a:lnTo>
                    <a:pt x="11" y="4"/>
                  </a:lnTo>
                  <a:lnTo>
                    <a:pt x="5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66" name="Freeform 8"/>
            <p:cNvSpPr>
              <a:spLocks noEditPoints="1"/>
            </p:cNvSpPr>
            <p:nvPr/>
          </p:nvSpPr>
          <p:spPr bwMode="auto">
            <a:xfrm>
              <a:off x="4815761" y="1563260"/>
              <a:ext cx="150798" cy="102289"/>
            </a:xfrm>
            <a:custGeom>
              <a:avLst/>
              <a:gdLst>
                <a:gd name="T0" fmla="*/ 102 w 289"/>
                <a:gd name="T1" fmla="*/ 28 h 201"/>
                <a:gd name="T2" fmla="*/ 211 w 289"/>
                <a:gd name="T3" fmla="*/ 83 h 201"/>
                <a:gd name="T4" fmla="*/ 226 w 289"/>
                <a:gd name="T5" fmla="*/ 67 h 201"/>
                <a:gd name="T6" fmla="*/ 222 w 289"/>
                <a:gd name="T7" fmla="*/ 55 h 201"/>
                <a:gd name="T8" fmla="*/ 276 w 289"/>
                <a:gd name="T9" fmla="*/ 115 h 201"/>
                <a:gd name="T10" fmla="*/ 209 w 289"/>
                <a:gd name="T11" fmla="*/ 91 h 201"/>
                <a:gd name="T12" fmla="*/ 213 w 289"/>
                <a:gd name="T13" fmla="*/ 89 h 201"/>
                <a:gd name="T14" fmla="*/ 191 w 289"/>
                <a:gd name="T15" fmla="*/ 96 h 201"/>
                <a:gd name="T16" fmla="*/ 156 w 289"/>
                <a:gd name="T17" fmla="*/ 76 h 201"/>
                <a:gd name="T18" fmla="*/ 148 w 289"/>
                <a:gd name="T19" fmla="*/ 98 h 201"/>
                <a:gd name="T20" fmla="*/ 167 w 289"/>
                <a:gd name="T21" fmla="*/ 102 h 201"/>
                <a:gd name="T22" fmla="*/ 189 w 289"/>
                <a:gd name="T23" fmla="*/ 109 h 201"/>
                <a:gd name="T24" fmla="*/ 176 w 289"/>
                <a:gd name="T25" fmla="*/ 92 h 201"/>
                <a:gd name="T26" fmla="*/ 146 w 289"/>
                <a:gd name="T27" fmla="*/ 102 h 201"/>
                <a:gd name="T28" fmla="*/ 126 w 289"/>
                <a:gd name="T29" fmla="*/ 94 h 201"/>
                <a:gd name="T30" fmla="*/ 152 w 289"/>
                <a:gd name="T31" fmla="*/ 118 h 201"/>
                <a:gd name="T32" fmla="*/ 254 w 289"/>
                <a:gd name="T33" fmla="*/ 102 h 201"/>
                <a:gd name="T34" fmla="*/ 180 w 289"/>
                <a:gd name="T35" fmla="*/ 126 h 201"/>
                <a:gd name="T36" fmla="*/ 189 w 289"/>
                <a:gd name="T37" fmla="*/ 133 h 201"/>
                <a:gd name="T38" fmla="*/ 159 w 289"/>
                <a:gd name="T39" fmla="*/ 129 h 201"/>
                <a:gd name="T40" fmla="*/ 169 w 289"/>
                <a:gd name="T41" fmla="*/ 150 h 201"/>
                <a:gd name="T42" fmla="*/ 169 w 289"/>
                <a:gd name="T43" fmla="*/ 137 h 201"/>
                <a:gd name="T44" fmla="*/ 154 w 289"/>
                <a:gd name="T45" fmla="*/ 176 h 201"/>
                <a:gd name="T46" fmla="*/ 161 w 289"/>
                <a:gd name="T47" fmla="*/ 174 h 201"/>
                <a:gd name="T48" fmla="*/ 163 w 289"/>
                <a:gd name="T49" fmla="*/ 194 h 201"/>
                <a:gd name="T50" fmla="*/ 133 w 289"/>
                <a:gd name="T51" fmla="*/ 194 h 201"/>
                <a:gd name="T52" fmla="*/ 102 w 289"/>
                <a:gd name="T53" fmla="*/ 85 h 201"/>
                <a:gd name="T54" fmla="*/ 106 w 289"/>
                <a:gd name="T55" fmla="*/ 85 h 201"/>
                <a:gd name="T56" fmla="*/ 187 w 289"/>
                <a:gd name="T57" fmla="*/ 87 h 201"/>
                <a:gd name="T58" fmla="*/ 178 w 289"/>
                <a:gd name="T59" fmla="*/ 68 h 201"/>
                <a:gd name="T60" fmla="*/ 235 w 289"/>
                <a:gd name="T61" fmla="*/ 181 h 201"/>
                <a:gd name="T62" fmla="*/ 278 w 289"/>
                <a:gd name="T63" fmla="*/ 177 h 201"/>
                <a:gd name="T64" fmla="*/ 281 w 289"/>
                <a:gd name="T65" fmla="*/ 155 h 201"/>
                <a:gd name="T66" fmla="*/ 266 w 289"/>
                <a:gd name="T67" fmla="*/ 157 h 201"/>
                <a:gd name="T68" fmla="*/ 231 w 289"/>
                <a:gd name="T69" fmla="*/ 174 h 201"/>
                <a:gd name="T70" fmla="*/ 220 w 289"/>
                <a:gd name="T71" fmla="*/ 148 h 201"/>
                <a:gd name="T72" fmla="*/ 237 w 289"/>
                <a:gd name="T73" fmla="*/ 133 h 201"/>
                <a:gd name="T74" fmla="*/ 172 w 289"/>
                <a:gd name="T75" fmla="*/ 165 h 201"/>
                <a:gd name="T76" fmla="*/ 198 w 289"/>
                <a:gd name="T77" fmla="*/ 181 h 201"/>
                <a:gd name="T78" fmla="*/ 228 w 289"/>
                <a:gd name="T79" fmla="*/ 159 h 201"/>
                <a:gd name="T80" fmla="*/ 189 w 289"/>
                <a:gd name="T81" fmla="*/ 144 h 201"/>
                <a:gd name="T82" fmla="*/ 135 w 289"/>
                <a:gd name="T83" fmla="*/ 168 h 201"/>
                <a:gd name="T84" fmla="*/ 157 w 289"/>
                <a:gd name="T85" fmla="*/ 170 h 201"/>
                <a:gd name="T86" fmla="*/ 157 w 289"/>
                <a:gd name="T87" fmla="*/ 144 h 201"/>
                <a:gd name="T88" fmla="*/ 130 w 289"/>
                <a:gd name="T89" fmla="*/ 139 h 201"/>
                <a:gd name="T90" fmla="*/ 113 w 289"/>
                <a:gd name="T91" fmla="*/ 159 h 201"/>
                <a:gd name="T92" fmla="*/ 67 w 289"/>
                <a:gd name="T93" fmla="*/ 109 h 201"/>
                <a:gd name="T94" fmla="*/ 85 w 289"/>
                <a:gd name="T95" fmla="*/ 126 h 201"/>
                <a:gd name="T96" fmla="*/ 84 w 289"/>
                <a:gd name="T97" fmla="*/ 104 h 201"/>
                <a:gd name="T98" fmla="*/ 48 w 289"/>
                <a:gd name="T99" fmla="*/ 100 h 201"/>
                <a:gd name="T100" fmla="*/ 32 w 289"/>
                <a:gd name="T101" fmla="*/ 107 h 201"/>
                <a:gd name="T102" fmla="*/ 6 w 289"/>
                <a:gd name="T103" fmla="*/ 63 h 201"/>
                <a:gd name="T104" fmla="*/ 30 w 289"/>
                <a:gd name="T105" fmla="*/ 68 h 201"/>
                <a:gd name="T106" fmla="*/ 71 w 289"/>
                <a:gd name="T107" fmla="*/ 78 h 201"/>
                <a:gd name="T108" fmla="*/ 87 w 289"/>
                <a:gd name="T109" fmla="*/ 55 h 201"/>
                <a:gd name="T110" fmla="*/ 67 w 289"/>
                <a:gd name="T111" fmla="*/ 39 h 201"/>
                <a:gd name="T112" fmla="*/ 26 w 289"/>
                <a:gd name="T113" fmla="*/ 46 h 201"/>
                <a:gd name="T114" fmla="*/ 6 w 289"/>
                <a:gd name="T115" fmla="*/ 63 h 201"/>
                <a:gd name="T116" fmla="*/ 48 w 289"/>
                <a:gd name="T117" fmla="*/ 35 h 201"/>
                <a:gd name="T118" fmla="*/ 63 w 289"/>
                <a:gd name="T119" fmla="*/ 30 h 201"/>
                <a:gd name="T120" fmla="*/ 19 w 289"/>
                <a:gd name="T121" fmla="*/ 4 h 201"/>
                <a:gd name="T122" fmla="*/ 4 w 289"/>
                <a:gd name="T123" fmla="*/ 13 h 20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9"/>
                <a:gd name="T187" fmla="*/ 0 h 201"/>
                <a:gd name="T188" fmla="*/ 289 w 289"/>
                <a:gd name="T189" fmla="*/ 201 h 20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9" h="201">
                  <a:moveTo>
                    <a:pt x="100" y="28"/>
                  </a:moveTo>
                  <a:lnTo>
                    <a:pt x="100" y="28"/>
                  </a:lnTo>
                  <a:lnTo>
                    <a:pt x="97" y="28"/>
                  </a:lnTo>
                  <a:lnTo>
                    <a:pt x="97" y="31"/>
                  </a:lnTo>
                  <a:lnTo>
                    <a:pt x="97" y="35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4" y="37"/>
                  </a:lnTo>
                  <a:lnTo>
                    <a:pt x="106" y="33"/>
                  </a:lnTo>
                  <a:lnTo>
                    <a:pt x="106" y="31"/>
                  </a:lnTo>
                  <a:lnTo>
                    <a:pt x="106" y="30"/>
                  </a:lnTo>
                  <a:lnTo>
                    <a:pt x="104" y="28"/>
                  </a:lnTo>
                  <a:lnTo>
                    <a:pt x="102" y="28"/>
                  </a:lnTo>
                  <a:lnTo>
                    <a:pt x="100" y="28"/>
                  </a:lnTo>
                  <a:close/>
                  <a:moveTo>
                    <a:pt x="198" y="65"/>
                  </a:moveTo>
                  <a:lnTo>
                    <a:pt x="196" y="67"/>
                  </a:lnTo>
                  <a:lnTo>
                    <a:pt x="196" y="68"/>
                  </a:lnTo>
                  <a:lnTo>
                    <a:pt x="194" y="68"/>
                  </a:lnTo>
                  <a:lnTo>
                    <a:pt x="194" y="70"/>
                  </a:lnTo>
                  <a:lnTo>
                    <a:pt x="194" y="72"/>
                  </a:lnTo>
                  <a:lnTo>
                    <a:pt x="194" y="74"/>
                  </a:lnTo>
                  <a:lnTo>
                    <a:pt x="196" y="74"/>
                  </a:lnTo>
                  <a:lnTo>
                    <a:pt x="196" y="76"/>
                  </a:lnTo>
                  <a:lnTo>
                    <a:pt x="200" y="78"/>
                  </a:lnTo>
                  <a:lnTo>
                    <a:pt x="206" y="81"/>
                  </a:lnTo>
                  <a:lnTo>
                    <a:pt x="207" y="81"/>
                  </a:lnTo>
                  <a:lnTo>
                    <a:pt x="211" y="83"/>
                  </a:lnTo>
                  <a:lnTo>
                    <a:pt x="211" y="78"/>
                  </a:lnTo>
                  <a:lnTo>
                    <a:pt x="211" y="74"/>
                  </a:lnTo>
                  <a:lnTo>
                    <a:pt x="211" y="72"/>
                  </a:lnTo>
                  <a:lnTo>
                    <a:pt x="209" y="70"/>
                  </a:lnTo>
                  <a:lnTo>
                    <a:pt x="209" y="68"/>
                  </a:lnTo>
                  <a:lnTo>
                    <a:pt x="207" y="68"/>
                  </a:lnTo>
                  <a:lnTo>
                    <a:pt x="204" y="67"/>
                  </a:lnTo>
                  <a:lnTo>
                    <a:pt x="200" y="65"/>
                  </a:lnTo>
                  <a:lnTo>
                    <a:pt x="198" y="65"/>
                  </a:lnTo>
                  <a:close/>
                  <a:moveTo>
                    <a:pt x="215" y="59"/>
                  </a:moveTo>
                  <a:lnTo>
                    <a:pt x="217" y="61"/>
                  </a:lnTo>
                  <a:lnTo>
                    <a:pt x="218" y="65"/>
                  </a:lnTo>
                  <a:lnTo>
                    <a:pt x="222" y="65"/>
                  </a:lnTo>
                  <a:lnTo>
                    <a:pt x="224" y="67"/>
                  </a:lnTo>
                  <a:lnTo>
                    <a:pt x="226" y="67"/>
                  </a:lnTo>
                  <a:lnTo>
                    <a:pt x="228" y="68"/>
                  </a:lnTo>
                  <a:lnTo>
                    <a:pt x="230" y="68"/>
                  </a:lnTo>
                  <a:lnTo>
                    <a:pt x="231" y="68"/>
                  </a:lnTo>
                  <a:lnTo>
                    <a:pt x="235" y="67"/>
                  </a:lnTo>
                  <a:lnTo>
                    <a:pt x="239" y="67"/>
                  </a:lnTo>
                  <a:lnTo>
                    <a:pt x="244" y="65"/>
                  </a:lnTo>
                  <a:lnTo>
                    <a:pt x="248" y="63"/>
                  </a:lnTo>
                  <a:lnTo>
                    <a:pt x="244" y="61"/>
                  </a:lnTo>
                  <a:lnTo>
                    <a:pt x="239" y="57"/>
                  </a:lnTo>
                  <a:lnTo>
                    <a:pt x="235" y="55"/>
                  </a:lnTo>
                  <a:lnTo>
                    <a:pt x="231" y="55"/>
                  </a:lnTo>
                  <a:lnTo>
                    <a:pt x="230" y="55"/>
                  </a:lnTo>
                  <a:lnTo>
                    <a:pt x="228" y="55"/>
                  </a:lnTo>
                  <a:lnTo>
                    <a:pt x="224" y="55"/>
                  </a:lnTo>
                  <a:lnTo>
                    <a:pt x="222" y="55"/>
                  </a:lnTo>
                  <a:lnTo>
                    <a:pt x="220" y="55"/>
                  </a:lnTo>
                  <a:lnTo>
                    <a:pt x="218" y="57"/>
                  </a:lnTo>
                  <a:lnTo>
                    <a:pt x="215" y="59"/>
                  </a:lnTo>
                  <a:close/>
                  <a:moveTo>
                    <a:pt x="276" y="92"/>
                  </a:moveTo>
                  <a:lnTo>
                    <a:pt x="272" y="96"/>
                  </a:lnTo>
                  <a:lnTo>
                    <a:pt x="272" y="98"/>
                  </a:lnTo>
                  <a:lnTo>
                    <a:pt x="270" y="100"/>
                  </a:lnTo>
                  <a:lnTo>
                    <a:pt x="270" y="102"/>
                  </a:lnTo>
                  <a:lnTo>
                    <a:pt x="270" y="104"/>
                  </a:lnTo>
                  <a:lnTo>
                    <a:pt x="272" y="107"/>
                  </a:lnTo>
                  <a:lnTo>
                    <a:pt x="272" y="109"/>
                  </a:lnTo>
                  <a:lnTo>
                    <a:pt x="274" y="113"/>
                  </a:lnTo>
                  <a:lnTo>
                    <a:pt x="276" y="115"/>
                  </a:lnTo>
                  <a:lnTo>
                    <a:pt x="278" y="115"/>
                  </a:lnTo>
                  <a:lnTo>
                    <a:pt x="278" y="116"/>
                  </a:lnTo>
                  <a:lnTo>
                    <a:pt x="279" y="116"/>
                  </a:lnTo>
                  <a:lnTo>
                    <a:pt x="281" y="118"/>
                  </a:lnTo>
                  <a:lnTo>
                    <a:pt x="283" y="118"/>
                  </a:lnTo>
                  <a:lnTo>
                    <a:pt x="289" y="118"/>
                  </a:lnTo>
                  <a:lnTo>
                    <a:pt x="283" y="105"/>
                  </a:lnTo>
                  <a:lnTo>
                    <a:pt x="276" y="92"/>
                  </a:lnTo>
                  <a:close/>
                  <a:moveTo>
                    <a:pt x="213" y="89"/>
                  </a:moveTo>
                  <a:lnTo>
                    <a:pt x="213" y="89"/>
                  </a:lnTo>
                  <a:lnTo>
                    <a:pt x="211" y="89"/>
                  </a:lnTo>
                  <a:lnTo>
                    <a:pt x="209" y="89"/>
                  </a:lnTo>
                  <a:lnTo>
                    <a:pt x="209" y="91"/>
                  </a:lnTo>
                  <a:lnTo>
                    <a:pt x="207" y="92"/>
                  </a:lnTo>
                  <a:lnTo>
                    <a:pt x="207" y="94"/>
                  </a:lnTo>
                  <a:lnTo>
                    <a:pt x="209" y="96"/>
                  </a:lnTo>
                  <a:lnTo>
                    <a:pt x="209" y="98"/>
                  </a:lnTo>
                  <a:lnTo>
                    <a:pt x="211" y="100"/>
                  </a:lnTo>
                  <a:lnTo>
                    <a:pt x="211" y="102"/>
                  </a:lnTo>
                  <a:lnTo>
                    <a:pt x="213" y="104"/>
                  </a:lnTo>
                  <a:lnTo>
                    <a:pt x="215" y="105"/>
                  </a:lnTo>
                  <a:lnTo>
                    <a:pt x="218" y="107"/>
                  </a:lnTo>
                  <a:lnTo>
                    <a:pt x="220" y="102"/>
                  </a:lnTo>
                  <a:lnTo>
                    <a:pt x="220" y="98"/>
                  </a:lnTo>
                  <a:lnTo>
                    <a:pt x="220" y="94"/>
                  </a:lnTo>
                  <a:lnTo>
                    <a:pt x="218" y="92"/>
                  </a:lnTo>
                  <a:lnTo>
                    <a:pt x="217" y="91"/>
                  </a:lnTo>
                  <a:lnTo>
                    <a:pt x="213" y="89"/>
                  </a:lnTo>
                  <a:close/>
                  <a:moveTo>
                    <a:pt x="185" y="92"/>
                  </a:moveTo>
                  <a:lnTo>
                    <a:pt x="183" y="92"/>
                  </a:lnTo>
                  <a:lnTo>
                    <a:pt x="183" y="94"/>
                  </a:lnTo>
                  <a:lnTo>
                    <a:pt x="181" y="94"/>
                  </a:lnTo>
                  <a:lnTo>
                    <a:pt x="181" y="96"/>
                  </a:lnTo>
                  <a:lnTo>
                    <a:pt x="180" y="98"/>
                  </a:lnTo>
                  <a:lnTo>
                    <a:pt x="181" y="100"/>
                  </a:lnTo>
                  <a:lnTo>
                    <a:pt x="183" y="102"/>
                  </a:lnTo>
                  <a:lnTo>
                    <a:pt x="187" y="104"/>
                  </a:lnTo>
                  <a:lnTo>
                    <a:pt x="189" y="102"/>
                  </a:lnTo>
                  <a:lnTo>
                    <a:pt x="191" y="102"/>
                  </a:lnTo>
                  <a:lnTo>
                    <a:pt x="191" y="100"/>
                  </a:lnTo>
                  <a:lnTo>
                    <a:pt x="191" y="96"/>
                  </a:lnTo>
                  <a:lnTo>
                    <a:pt x="189" y="94"/>
                  </a:lnTo>
                  <a:lnTo>
                    <a:pt x="187" y="92"/>
                  </a:lnTo>
                  <a:lnTo>
                    <a:pt x="185" y="92"/>
                  </a:lnTo>
                  <a:close/>
                  <a:moveTo>
                    <a:pt x="167" y="92"/>
                  </a:moveTo>
                  <a:lnTo>
                    <a:pt x="167" y="96"/>
                  </a:lnTo>
                  <a:lnTo>
                    <a:pt x="167" y="98"/>
                  </a:lnTo>
                  <a:lnTo>
                    <a:pt x="165" y="96"/>
                  </a:lnTo>
                  <a:lnTo>
                    <a:pt x="163" y="92"/>
                  </a:lnTo>
                  <a:lnTo>
                    <a:pt x="161" y="91"/>
                  </a:lnTo>
                  <a:lnTo>
                    <a:pt x="161" y="89"/>
                  </a:lnTo>
                  <a:lnTo>
                    <a:pt x="159" y="87"/>
                  </a:lnTo>
                  <a:lnTo>
                    <a:pt x="157" y="81"/>
                  </a:lnTo>
                  <a:lnTo>
                    <a:pt x="156" y="76"/>
                  </a:lnTo>
                  <a:lnTo>
                    <a:pt x="154" y="74"/>
                  </a:lnTo>
                  <a:lnTo>
                    <a:pt x="152" y="72"/>
                  </a:lnTo>
                  <a:lnTo>
                    <a:pt x="150" y="72"/>
                  </a:lnTo>
                  <a:lnTo>
                    <a:pt x="148" y="72"/>
                  </a:lnTo>
                  <a:lnTo>
                    <a:pt x="146" y="72"/>
                  </a:lnTo>
                  <a:lnTo>
                    <a:pt x="145" y="74"/>
                  </a:lnTo>
                  <a:lnTo>
                    <a:pt x="143" y="81"/>
                  </a:lnTo>
                  <a:lnTo>
                    <a:pt x="145" y="87"/>
                  </a:lnTo>
                  <a:lnTo>
                    <a:pt x="146" y="92"/>
                  </a:lnTo>
                  <a:lnTo>
                    <a:pt x="148" y="98"/>
                  </a:lnTo>
                  <a:lnTo>
                    <a:pt x="150" y="102"/>
                  </a:lnTo>
                  <a:lnTo>
                    <a:pt x="150" y="107"/>
                  </a:lnTo>
                  <a:lnTo>
                    <a:pt x="152" y="111"/>
                  </a:lnTo>
                  <a:lnTo>
                    <a:pt x="154" y="115"/>
                  </a:lnTo>
                  <a:lnTo>
                    <a:pt x="154" y="118"/>
                  </a:lnTo>
                  <a:lnTo>
                    <a:pt x="156" y="120"/>
                  </a:lnTo>
                  <a:lnTo>
                    <a:pt x="157" y="122"/>
                  </a:lnTo>
                  <a:lnTo>
                    <a:pt x="159" y="124"/>
                  </a:lnTo>
                  <a:lnTo>
                    <a:pt x="163" y="128"/>
                  </a:lnTo>
                  <a:lnTo>
                    <a:pt x="165" y="124"/>
                  </a:lnTo>
                  <a:lnTo>
                    <a:pt x="165" y="122"/>
                  </a:lnTo>
                  <a:lnTo>
                    <a:pt x="167" y="122"/>
                  </a:lnTo>
                  <a:lnTo>
                    <a:pt x="167" y="120"/>
                  </a:lnTo>
                  <a:lnTo>
                    <a:pt x="165" y="111"/>
                  </a:lnTo>
                  <a:lnTo>
                    <a:pt x="167" y="102"/>
                  </a:lnTo>
                  <a:lnTo>
                    <a:pt x="167" y="107"/>
                  </a:lnTo>
                  <a:lnTo>
                    <a:pt x="167" y="111"/>
                  </a:lnTo>
                  <a:lnTo>
                    <a:pt x="169" y="118"/>
                  </a:lnTo>
                  <a:lnTo>
                    <a:pt x="178" y="120"/>
                  </a:lnTo>
                  <a:lnTo>
                    <a:pt x="180" y="116"/>
                  </a:lnTo>
                  <a:lnTo>
                    <a:pt x="181" y="118"/>
                  </a:lnTo>
                  <a:lnTo>
                    <a:pt x="181" y="120"/>
                  </a:lnTo>
                  <a:lnTo>
                    <a:pt x="183" y="120"/>
                  </a:lnTo>
                  <a:lnTo>
                    <a:pt x="185" y="120"/>
                  </a:lnTo>
                  <a:lnTo>
                    <a:pt x="187" y="120"/>
                  </a:lnTo>
                  <a:lnTo>
                    <a:pt x="187" y="118"/>
                  </a:lnTo>
                  <a:lnTo>
                    <a:pt x="189" y="116"/>
                  </a:lnTo>
                  <a:lnTo>
                    <a:pt x="189" y="109"/>
                  </a:lnTo>
                  <a:lnTo>
                    <a:pt x="187" y="105"/>
                  </a:lnTo>
                  <a:lnTo>
                    <a:pt x="185" y="105"/>
                  </a:lnTo>
                  <a:lnTo>
                    <a:pt x="183" y="105"/>
                  </a:lnTo>
                  <a:lnTo>
                    <a:pt x="181" y="105"/>
                  </a:lnTo>
                  <a:lnTo>
                    <a:pt x="181" y="107"/>
                  </a:lnTo>
                  <a:lnTo>
                    <a:pt x="180" y="109"/>
                  </a:lnTo>
                  <a:lnTo>
                    <a:pt x="180" y="105"/>
                  </a:lnTo>
                  <a:lnTo>
                    <a:pt x="178" y="100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4" y="91"/>
                  </a:lnTo>
                  <a:lnTo>
                    <a:pt x="172" y="91"/>
                  </a:lnTo>
                  <a:lnTo>
                    <a:pt x="170" y="91"/>
                  </a:lnTo>
                  <a:lnTo>
                    <a:pt x="169" y="91"/>
                  </a:lnTo>
                  <a:lnTo>
                    <a:pt x="169" y="92"/>
                  </a:lnTo>
                  <a:lnTo>
                    <a:pt x="167" y="92"/>
                  </a:lnTo>
                  <a:close/>
                  <a:moveTo>
                    <a:pt x="130" y="96"/>
                  </a:moveTo>
                  <a:lnTo>
                    <a:pt x="133" y="98"/>
                  </a:lnTo>
                  <a:lnTo>
                    <a:pt x="137" y="98"/>
                  </a:lnTo>
                  <a:lnTo>
                    <a:pt x="139" y="100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5" y="102"/>
                  </a:lnTo>
                  <a:lnTo>
                    <a:pt x="146" y="102"/>
                  </a:lnTo>
                  <a:lnTo>
                    <a:pt x="148" y="100"/>
                  </a:lnTo>
                  <a:lnTo>
                    <a:pt x="146" y="96"/>
                  </a:lnTo>
                  <a:lnTo>
                    <a:pt x="145" y="92"/>
                  </a:lnTo>
                  <a:lnTo>
                    <a:pt x="143" y="89"/>
                  </a:lnTo>
                  <a:lnTo>
                    <a:pt x="141" y="87"/>
                  </a:lnTo>
                  <a:lnTo>
                    <a:pt x="139" y="87"/>
                  </a:lnTo>
                  <a:lnTo>
                    <a:pt x="137" y="85"/>
                  </a:lnTo>
                  <a:lnTo>
                    <a:pt x="133" y="83"/>
                  </a:lnTo>
                  <a:lnTo>
                    <a:pt x="132" y="83"/>
                  </a:lnTo>
                  <a:lnTo>
                    <a:pt x="128" y="85"/>
                  </a:lnTo>
                  <a:lnTo>
                    <a:pt x="126" y="87"/>
                  </a:lnTo>
                  <a:lnTo>
                    <a:pt x="124" y="89"/>
                  </a:lnTo>
                  <a:lnTo>
                    <a:pt x="124" y="92"/>
                  </a:lnTo>
                  <a:lnTo>
                    <a:pt x="126" y="94"/>
                  </a:lnTo>
                  <a:lnTo>
                    <a:pt x="128" y="94"/>
                  </a:lnTo>
                  <a:lnTo>
                    <a:pt x="130" y="96"/>
                  </a:lnTo>
                  <a:close/>
                  <a:moveTo>
                    <a:pt x="135" y="111"/>
                  </a:moveTo>
                  <a:lnTo>
                    <a:pt x="135" y="113"/>
                  </a:lnTo>
                  <a:lnTo>
                    <a:pt x="135" y="115"/>
                  </a:lnTo>
                  <a:lnTo>
                    <a:pt x="137" y="116"/>
                  </a:lnTo>
                  <a:lnTo>
                    <a:pt x="137" y="118"/>
                  </a:lnTo>
                  <a:lnTo>
                    <a:pt x="139" y="120"/>
                  </a:lnTo>
                  <a:lnTo>
                    <a:pt x="141" y="122"/>
                  </a:lnTo>
                  <a:lnTo>
                    <a:pt x="146" y="124"/>
                  </a:lnTo>
                  <a:lnTo>
                    <a:pt x="152" y="126"/>
                  </a:lnTo>
                  <a:lnTo>
                    <a:pt x="152" y="122"/>
                  </a:lnTo>
                  <a:lnTo>
                    <a:pt x="152" y="120"/>
                  </a:lnTo>
                  <a:lnTo>
                    <a:pt x="152" y="118"/>
                  </a:lnTo>
                  <a:lnTo>
                    <a:pt x="152" y="116"/>
                  </a:lnTo>
                  <a:lnTo>
                    <a:pt x="148" y="113"/>
                  </a:lnTo>
                  <a:lnTo>
                    <a:pt x="146" y="111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9"/>
                  </a:lnTo>
                  <a:lnTo>
                    <a:pt x="139" y="109"/>
                  </a:lnTo>
                  <a:lnTo>
                    <a:pt x="137" y="109"/>
                  </a:lnTo>
                  <a:lnTo>
                    <a:pt x="135" y="111"/>
                  </a:lnTo>
                  <a:close/>
                  <a:moveTo>
                    <a:pt x="257" y="98"/>
                  </a:moveTo>
                  <a:lnTo>
                    <a:pt x="255" y="100"/>
                  </a:lnTo>
                  <a:lnTo>
                    <a:pt x="254" y="102"/>
                  </a:lnTo>
                  <a:lnTo>
                    <a:pt x="252" y="104"/>
                  </a:lnTo>
                  <a:lnTo>
                    <a:pt x="252" y="105"/>
                  </a:lnTo>
                  <a:lnTo>
                    <a:pt x="252" y="111"/>
                  </a:lnTo>
                  <a:lnTo>
                    <a:pt x="255" y="115"/>
                  </a:lnTo>
                  <a:lnTo>
                    <a:pt x="259" y="115"/>
                  </a:lnTo>
                  <a:lnTo>
                    <a:pt x="261" y="115"/>
                  </a:lnTo>
                  <a:lnTo>
                    <a:pt x="263" y="111"/>
                  </a:lnTo>
                  <a:lnTo>
                    <a:pt x="263" y="107"/>
                  </a:lnTo>
                  <a:lnTo>
                    <a:pt x="263" y="102"/>
                  </a:lnTo>
                  <a:lnTo>
                    <a:pt x="259" y="98"/>
                  </a:lnTo>
                  <a:lnTo>
                    <a:pt x="257" y="98"/>
                  </a:lnTo>
                  <a:close/>
                  <a:moveTo>
                    <a:pt x="183" y="126"/>
                  </a:moveTo>
                  <a:lnTo>
                    <a:pt x="181" y="126"/>
                  </a:lnTo>
                  <a:lnTo>
                    <a:pt x="180" y="126"/>
                  </a:lnTo>
                  <a:lnTo>
                    <a:pt x="178" y="128"/>
                  </a:lnTo>
                  <a:lnTo>
                    <a:pt x="178" y="129"/>
                  </a:lnTo>
                  <a:lnTo>
                    <a:pt x="176" y="131"/>
                  </a:lnTo>
                  <a:lnTo>
                    <a:pt x="178" y="133"/>
                  </a:lnTo>
                  <a:lnTo>
                    <a:pt x="178" y="135"/>
                  </a:lnTo>
                  <a:lnTo>
                    <a:pt x="180" y="135"/>
                  </a:lnTo>
                  <a:lnTo>
                    <a:pt x="181" y="137"/>
                  </a:lnTo>
                  <a:lnTo>
                    <a:pt x="183" y="137"/>
                  </a:lnTo>
                  <a:lnTo>
                    <a:pt x="187" y="137"/>
                  </a:lnTo>
                  <a:lnTo>
                    <a:pt x="189" y="135"/>
                  </a:lnTo>
                  <a:lnTo>
                    <a:pt x="189" y="133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89" y="129"/>
                  </a:lnTo>
                  <a:lnTo>
                    <a:pt x="189" y="128"/>
                  </a:lnTo>
                  <a:lnTo>
                    <a:pt x="187" y="126"/>
                  </a:lnTo>
                  <a:lnTo>
                    <a:pt x="185" y="126"/>
                  </a:lnTo>
                  <a:lnTo>
                    <a:pt x="183" y="126"/>
                  </a:lnTo>
                  <a:close/>
                  <a:moveTo>
                    <a:pt x="163" y="128"/>
                  </a:moveTo>
                  <a:lnTo>
                    <a:pt x="163" y="128"/>
                  </a:lnTo>
                  <a:lnTo>
                    <a:pt x="161" y="128"/>
                  </a:lnTo>
                  <a:lnTo>
                    <a:pt x="161" y="129"/>
                  </a:lnTo>
                  <a:lnTo>
                    <a:pt x="159" y="129"/>
                  </a:lnTo>
                  <a:lnTo>
                    <a:pt x="159" y="133"/>
                  </a:lnTo>
                  <a:lnTo>
                    <a:pt x="159" y="139"/>
                  </a:lnTo>
                  <a:lnTo>
                    <a:pt x="159" y="140"/>
                  </a:lnTo>
                  <a:lnTo>
                    <a:pt x="161" y="140"/>
                  </a:lnTo>
                  <a:lnTo>
                    <a:pt x="161" y="142"/>
                  </a:lnTo>
                  <a:lnTo>
                    <a:pt x="163" y="142"/>
                  </a:lnTo>
                  <a:lnTo>
                    <a:pt x="165" y="140"/>
                  </a:lnTo>
                  <a:lnTo>
                    <a:pt x="165" y="142"/>
                  </a:lnTo>
                  <a:lnTo>
                    <a:pt x="165" y="144"/>
                  </a:lnTo>
                  <a:lnTo>
                    <a:pt x="165" y="146"/>
                  </a:lnTo>
                  <a:lnTo>
                    <a:pt x="165" y="148"/>
                  </a:lnTo>
                  <a:lnTo>
                    <a:pt x="167" y="148"/>
                  </a:lnTo>
                  <a:lnTo>
                    <a:pt x="169" y="150"/>
                  </a:lnTo>
                  <a:lnTo>
                    <a:pt x="170" y="150"/>
                  </a:lnTo>
                  <a:lnTo>
                    <a:pt x="172" y="150"/>
                  </a:lnTo>
                  <a:lnTo>
                    <a:pt x="174" y="150"/>
                  </a:lnTo>
                  <a:lnTo>
                    <a:pt x="176" y="148"/>
                  </a:lnTo>
                  <a:lnTo>
                    <a:pt x="176" y="146"/>
                  </a:lnTo>
                  <a:lnTo>
                    <a:pt x="176" y="144"/>
                  </a:lnTo>
                  <a:lnTo>
                    <a:pt x="178" y="142"/>
                  </a:lnTo>
                  <a:lnTo>
                    <a:pt x="176" y="142"/>
                  </a:lnTo>
                  <a:lnTo>
                    <a:pt x="176" y="140"/>
                  </a:lnTo>
                  <a:lnTo>
                    <a:pt x="174" y="139"/>
                  </a:lnTo>
                  <a:lnTo>
                    <a:pt x="172" y="137"/>
                  </a:lnTo>
                  <a:lnTo>
                    <a:pt x="170" y="137"/>
                  </a:lnTo>
                  <a:lnTo>
                    <a:pt x="169" y="137"/>
                  </a:lnTo>
                  <a:lnTo>
                    <a:pt x="169" y="139"/>
                  </a:lnTo>
                  <a:lnTo>
                    <a:pt x="167" y="139"/>
                  </a:lnTo>
                  <a:lnTo>
                    <a:pt x="169" y="137"/>
                  </a:lnTo>
                  <a:lnTo>
                    <a:pt x="169" y="135"/>
                  </a:lnTo>
                  <a:lnTo>
                    <a:pt x="167" y="131"/>
                  </a:lnTo>
                  <a:lnTo>
                    <a:pt x="165" y="128"/>
                  </a:lnTo>
                  <a:lnTo>
                    <a:pt x="163" y="128"/>
                  </a:lnTo>
                  <a:close/>
                  <a:moveTo>
                    <a:pt x="159" y="174"/>
                  </a:moveTo>
                  <a:lnTo>
                    <a:pt x="157" y="174"/>
                  </a:lnTo>
                  <a:lnTo>
                    <a:pt x="156" y="174"/>
                  </a:lnTo>
                  <a:lnTo>
                    <a:pt x="154" y="176"/>
                  </a:lnTo>
                  <a:lnTo>
                    <a:pt x="154" y="177"/>
                  </a:lnTo>
                  <a:lnTo>
                    <a:pt x="154" y="179"/>
                  </a:lnTo>
                  <a:lnTo>
                    <a:pt x="156" y="181"/>
                  </a:lnTo>
                  <a:lnTo>
                    <a:pt x="157" y="181"/>
                  </a:lnTo>
                  <a:lnTo>
                    <a:pt x="159" y="183"/>
                  </a:lnTo>
                  <a:lnTo>
                    <a:pt x="159" y="181"/>
                  </a:lnTo>
                  <a:lnTo>
                    <a:pt x="161" y="181"/>
                  </a:lnTo>
                  <a:lnTo>
                    <a:pt x="163" y="179"/>
                  </a:lnTo>
                  <a:lnTo>
                    <a:pt x="163" y="177"/>
                  </a:lnTo>
                  <a:lnTo>
                    <a:pt x="163" y="176"/>
                  </a:lnTo>
                  <a:lnTo>
                    <a:pt x="161" y="174"/>
                  </a:lnTo>
                  <a:lnTo>
                    <a:pt x="159" y="174"/>
                  </a:lnTo>
                  <a:close/>
                  <a:moveTo>
                    <a:pt x="156" y="183"/>
                  </a:moveTo>
                  <a:lnTo>
                    <a:pt x="154" y="185"/>
                  </a:lnTo>
                  <a:lnTo>
                    <a:pt x="152" y="185"/>
                  </a:lnTo>
                  <a:lnTo>
                    <a:pt x="148" y="190"/>
                  </a:lnTo>
                  <a:lnTo>
                    <a:pt x="148" y="196"/>
                  </a:lnTo>
                  <a:lnTo>
                    <a:pt x="150" y="200"/>
                  </a:lnTo>
                  <a:lnTo>
                    <a:pt x="154" y="201"/>
                  </a:lnTo>
                  <a:lnTo>
                    <a:pt x="156" y="201"/>
                  </a:lnTo>
                  <a:lnTo>
                    <a:pt x="159" y="200"/>
                  </a:lnTo>
                  <a:lnTo>
                    <a:pt x="161" y="198"/>
                  </a:lnTo>
                  <a:lnTo>
                    <a:pt x="163" y="194"/>
                  </a:lnTo>
                  <a:lnTo>
                    <a:pt x="163" y="189"/>
                  </a:lnTo>
                  <a:lnTo>
                    <a:pt x="159" y="185"/>
                  </a:lnTo>
                  <a:lnTo>
                    <a:pt x="157" y="185"/>
                  </a:lnTo>
                  <a:lnTo>
                    <a:pt x="156" y="183"/>
                  </a:lnTo>
                  <a:close/>
                  <a:moveTo>
                    <a:pt x="141" y="185"/>
                  </a:moveTo>
                  <a:lnTo>
                    <a:pt x="137" y="187"/>
                  </a:lnTo>
                  <a:lnTo>
                    <a:pt x="135" y="187"/>
                  </a:lnTo>
                  <a:lnTo>
                    <a:pt x="133" y="189"/>
                  </a:lnTo>
                  <a:lnTo>
                    <a:pt x="133" y="190"/>
                  </a:lnTo>
                  <a:lnTo>
                    <a:pt x="133" y="192"/>
                  </a:lnTo>
                  <a:lnTo>
                    <a:pt x="133" y="194"/>
                  </a:lnTo>
                  <a:lnTo>
                    <a:pt x="135" y="194"/>
                  </a:lnTo>
                  <a:lnTo>
                    <a:pt x="141" y="196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8" y="192"/>
                  </a:lnTo>
                  <a:lnTo>
                    <a:pt x="148" y="190"/>
                  </a:lnTo>
                  <a:lnTo>
                    <a:pt x="146" y="189"/>
                  </a:lnTo>
                  <a:lnTo>
                    <a:pt x="146" y="187"/>
                  </a:lnTo>
                  <a:lnTo>
                    <a:pt x="143" y="187"/>
                  </a:lnTo>
                  <a:lnTo>
                    <a:pt x="141" y="185"/>
                  </a:lnTo>
                  <a:close/>
                  <a:moveTo>
                    <a:pt x="102" y="85"/>
                  </a:moveTo>
                  <a:lnTo>
                    <a:pt x="100" y="85"/>
                  </a:lnTo>
                  <a:lnTo>
                    <a:pt x="98" y="87"/>
                  </a:lnTo>
                  <a:lnTo>
                    <a:pt x="97" y="91"/>
                  </a:lnTo>
                  <a:lnTo>
                    <a:pt x="98" y="94"/>
                  </a:lnTo>
                  <a:lnTo>
                    <a:pt x="100" y="96"/>
                  </a:lnTo>
                  <a:lnTo>
                    <a:pt x="102" y="96"/>
                  </a:lnTo>
                  <a:lnTo>
                    <a:pt x="104" y="96"/>
                  </a:lnTo>
                  <a:lnTo>
                    <a:pt x="106" y="96"/>
                  </a:lnTo>
                  <a:lnTo>
                    <a:pt x="106" y="94"/>
                  </a:lnTo>
                  <a:lnTo>
                    <a:pt x="108" y="92"/>
                  </a:lnTo>
                  <a:lnTo>
                    <a:pt x="108" y="91"/>
                  </a:lnTo>
                  <a:lnTo>
                    <a:pt x="108" y="87"/>
                  </a:lnTo>
                  <a:lnTo>
                    <a:pt x="106" y="87"/>
                  </a:lnTo>
                  <a:lnTo>
                    <a:pt x="106" y="85"/>
                  </a:lnTo>
                  <a:lnTo>
                    <a:pt x="104" y="85"/>
                  </a:lnTo>
                  <a:lnTo>
                    <a:pt x="102" y="85"/>
                  </a:lnTo>
                  <a:close/>
                  <a:moveTo>
                    <a:pt x="167" y="76"/>
                  </a:moveTo>
                  <a:lnTo>
                    <a:pt x="169" y="80"/>
                  </a:lnTo>
                  <a:lnTo>
                    <a:pt x="170" y="81"/>
                  </a:lnTo>
                  <a:lnTo>
                    <a:pt x="172" y="81"/>
                  </a:lnTo>
                  <a:lnTo>
                    <a:pt x="174" y="83"/>
                  </a:lnTo>
                  <a:lnTo>
                    <a:pt x="176" y="85"/>
                  </a:lnTo>
                  <a:lnTo>
                    <a:pt x="180" y="85"/>
                  </a:lnTo>
                  <a:lnTo>
                    <a:pt x="181" y="87"/>
                  </a:lnTo>
                  <a:lnTo>
                    <a:pt x="183" y="87"/>
                  </a:lnTo>
                  <a:lnTo>
                    <a:pt x="185" y="87"/>
                  </a:lnTo>
                  <a:lnTo>
                    <a:pt x="187" y="87"/>
                  </a:lnTo>
                  <a:lnTo>
                    <a:pt x="189" y="87"/>
                  </a:lnTo>
                  <a:lnTo>
                    <a:pt x="191" y="85"/>
                  </a:lnTo>
                  <a:lnTo>
                    <a:pt x="191" y="83"/>
                  </a:lnTo>
                  <a:lnTo>
                    <a:pt x="193" y="81"/>
                  </a:lnTo>
                  <a:lnTo>
                    <a:pt x="193" y="80"/>
                  </a:lnTo>
                  <a:lnTo>
                    <a:pt x="193" y="78"/>
                  </a:lnTo>
                  <a:lnTo>
                    <a:pt x="193" y="72"/>
                  </a:lnTo>
                  <a:lnTo>
                    <a:pt x="191" y="67"/>
                  </a:lnTo>
                  <a:lnTo>
                    <a:pt x="185" y="70"/>
                  </a:lnTo>
                  <a:lnTo>
                    <a:pt x="183" y="70"/>
                  </a:lnTo>
                  <a:lnTo>
                    <a:pt x="181" y="70"/>
                  </a:lnTo>
                  <a:lnTo>
                    <a:pt x="180" y="70"/>
                  </a:lnTo>
                  <a:lnTo>
                    <a:pt x="178" y="68"/>
                  </a:lnTo>
                  <a:lnTo>
                    <a:pt x="176" y="67"/>
                  </a:lnTo>
                  <a:lnTo>
                    <a:pt x="174" y="67"/>
                  </a:lnTo>
                  <a:lnTo>
                    <a:pt x="172" y="67"/>
                  </a:lnTo>
                  <a:lnTo>
                    <a:pt x="170" y="67"/>
                  </a:lnTo>
                  <a:lnTo>
                    <a:pt x="169" y="67"/>
                  </a:lnTo>
                  <a:lnTo>
                    <a:pt x="165" y="68"/>
                  </a:lnTo>
                  <a:lnTo>
                    <a:pt x="165" y="72"/>
                  </a:lnTo>
                  <a:lnTo>
                    <a:pt x="165" y="74"/>
                  </a:lnTo>
                  <a:lnTo>
                    <a:pt x="167" y="76"/>
                  </a:lnTo>
                  <a:close/>
                  <a:moveTo>
                    <a:pt x="233" y="179"/>
                  </a:moveTo>
                  <a:lnTo>
                    <a:pt x="233" y="179"/>
                  </a:lnTo>
                  <a:lnTo>
                    <a:pt x="235" y="181"/>
                  </a:lnTo>
                  <a:lnTo>
                    <a:pt x="239" y="183"/>
                  </a:lnTo>
                  <a:lnTo>
                    <a:pt x="241" y="185"/>
                  </a:lnTo>
                  <a:lnTo>
                    <a:pt x="242" y="185"/>
                  </a:lnTo>
                  <a:lnTo>
                    <a:pt x="244" y="187"/>
                  </a:lnTo>
                  <a:lnTo>
                    <a:pt x="246" y="187"/>
                  </a:lnTo>
                  <a:lnTo>
                    <a:pt x="248" y="187"/>
                  </a:lnTo>
                  <a:lnTo>
                    <a:pt x="250" y="187"/>
                  </a:lnTo>
                  <a:lnTo>
                    <a:pt x="254" y="187"/>
                  </a:lnTo>
                  <a:lnTo>
                    <a:pt x="255" y="187"/>
                  </a:lnTo>
                  <a:lnTo>
                    <a:pt x="257" y="187"/>
                  </a:lnTo>
                  <a:lnTo>
                    <a:pt x="261" y="187"/>
                  </a:lnTo>
                  <a:lnTo>
                    <a:pt x="265" y="185"/>
                  </a:lnTo>
                  <a:lnTo>
                    <a:pt x="274" y="179"/>
                  </a:lnTo>
                  <a:lnTo>
                    <a:pt x="278" y="177"/>
                  </a:lnTo>
                  <a:lnTo>
                    <a:pt x="279" y="177"/>
                  </a:lnTo>
                  <a:lnTo>
                    <a:pt x="281" y="176"/>
                  </a:lnTo>
                  <a:lnTo>
                    <a:pt x="281" y="174"/>
                  </a:lnTo>
                  <a:lnTo>
                    <a:pt x="283" y="172"/>
                  </a:lnTo>
                  <a:lnTo>
                    <a:pt x="283" y="170"/>
                  </a:lnTo>
                  <a:lnTo>
                    <a:pt x="283" y="168"/>
                  </a:lnTo>
                  <a:lnTo>
                    <a:pt x="283" y="166"/>
                  </a:lnTo>
                  <a:lnTo>
                    <a:pt x="283" y="163"/>
                  </a:lnTo>
                  <a:lnTo>
                    <a:pt x="283" y="161"/>
                  </a:lnTo>
                  <a:lnTo>
                    <a:pt x="281" y="157"/>
                  </a:lnTo>
                  <a:lnTo>
                    <a:pt x="281" y="155"/>
                  </a:lnTo>
                  <a:lnTo>
                    <a:pt x="279" y="153"/>
                  </a:lnTo>
                  <a:lnTo>
                    <a:pt x="278" y="152"/>
                  </a:lnTo>
                  <a:lnTo>
                    <a:pt x="276" y="152"/>
                  </a:lnTo>
                  <a:lnTo>
                    <a:pt x="274" y="152"/>
                  </a:lnTo>
                  <a:lnTo>
                    <a:pt x="270" y="152"/>
                  </a:lnTo>
                  <a:lnTo>
                    <a:pt x="268" y="153"/>
                  </a:lnTo>
                  <a:lnTo>
                    <a:pt x="268" y="155"/>
                  </a:lnTo>
                  <a:lnTo>
                    <a:pt x="266" y="157"/>
                  </a:lnTo>
                  <a:lnTo>
                    <a:pt x="266" y="159"/>
                  </a:lnTo>
                  <a:lnTo>
                    <a:pt x="266" y="157"/>
                  </a:lnTo>
                  <a:lnTo>
                    <a:pt x="263" y="157"/>
                  </a:lnTo>
                  <a:lnTo>
                    <a:pt x="259" y="157"/>
                  </a:lnTo>
                  <a:lnTo>
                    <a:pt x="250" y="157"/>
                  </a:lnTo>
                  <a:lnTo>
                    <a:pt x="242" y="159"/>
                  </a:lnTo>
                  <a:lnTo>
                    <a:pt x="241" y="159"/>
                  </a:lnTo>
                  <a:lnTo>
                    <a:pt x="239" y="159"/>
                  </a:lnTo>
                  <a:lnTo>
                    <a:pt x="237" y="161"/>
                  </a:lnTo>
                  <a:lnTo>
                    <a:pt x="237" y="163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3" y="166"/>
                  </a:lnTo>
                  <a:lnTo>
                    <a:pt x="233" y="168"/>
                  </a:lnTo>
                  <a:lnTo>
                    <a:pt x="231" y="170"/>
                  </a:lnTo>
                  <a:lnTo>
                    <a:pt x="231" y="172"/>
                  </a:lnTo>
                  <a:lnTo>
                    <a:pt x="231" y="174"/>
                  </a:lnTo>
                  <a:lnTo>
                    <a:pt x="231" y="176"/>
                  </a:lnTo>
                  <a:lnTo>
                    <a:pt x="233" y="177"/>
                  </a:lnTo>
                  <a:lnTo>
                    <a:pt x="233" y="179"/>
                  </a:lnTo>
                  <a:close/>
                  <a:moveTo>
                    <a:pt x="202" y="133"/>
                  </a:moveTo>
                  <a:lnTo>
                    <a:pt x="204" y="139"/>
                  </a:lnTo>
                  <a:lnTo>
                    <a:pt x="206" y="140"/>
                  </a:lnTo>
                  <a:lnTo>
                    <a:pt x="207" y="142"/>
                  </a:lnTo>
                  <a:lnTo>
                    <a:pt x="209" y="144"/>
                  </a:lnTo>
                  <a:lnTo>
                    <a:pt x="211" y="144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7" y="148"/>
                  </a:lnTo>
                  <a:lnTo>
                    <a:pt x="220" y="148"/>
                  </a:lnTo>
                  <a:lnTo>
                    <a:pt x="224" y="148"/>
                  </a:lnTo>
                  <a:lnTo>
                    <a:pt x="228" y="148"/>
                  </a:lnTo>
                  <a:lnTo>
                    <a:pt x="230" y="146"/>
                  </a:lnTo>
                  <a:lnTo>
                    <a:pt x="231" y="146"/>
                  </a:lnTo>
                  <a:lnTo>
                    <a:pt x="233" y="146"/>
                  </a:lnTo>
                  <a:lnTo>
                    <a:pt x="233" y="144"/>
                  </a:lnTo>
                  <a:lnTo>
                    <a:pt x="235" y="144"/>
                  </a:lnTo>
                  <a:lnTo>
                    <a:pt x="235" y="142"/>
                  </a:lnTo>
                  <a:lnTo>
                    <a:pt x="237" y="142"/>
                  </a:lnTo>
                  <a:lnTo>
                    <a:pt x="237" y="140"/>
                  </a:lnTo>
                  <a:lnTo>
                    <a:pt x="237" y="139"/>
                  </a:lnTo>
                  <a:lnTo>
                    <a:pt x="237" y="137"/>
                  </a:lnTo>
                  <a:lnTo>
                    <a:pt x="237" y="135"/>
                  </a:lnTo>
                  <a:lnTo>
                    <a:pt x="237" y="133"/>
                  </a:lnTo>
                  <a:lnTo>
                    <a:pt x="235" y="131"/>
                  </a:lnTo>
                  <a:lnTo>
                    <a:pt x="233" y="129"/>
                  </a:lnTo>
                  <a:lnTo>
                    <a:pt x="224" y="129"/>
                  </a:lnTo>
                  <a:lnTo>
                    <a:pt x="215" y="129"/>
                  </a:lnTo>
                  <a:lnTo>
                    <a:pt x="209" y="131"/>
                  </a:lnTo>
                  <a:lnTo>
                    <a:pt x="206" y="131"/>
                  </a:lnTo>
                  <a:lnTo>
                    <a:pt x="202" y="133"/>
                  </a:lnTo>
                  <a:close/>
                  <a:moveTo>
                    <a:pt x="187" y="144"/>
                  </a:moveTo>
                  <a:lnTo>
                    <a:pt x="178" y="153"/>
                  </a:lnTo>
                  <a:lnTo>
                    <a:pt x="176" y="155"/>
                  </a:lnTo>
                  <a:lnTo>
                    <a:pt x="174" y="157"/>
                  </a:lnTo>
                  <a:lnTo>
                    <a:pt x="172" y="159"/>
                  </a:lnTo>
                  <a:lnTo>
                    <a:pt x="172" y="161"/>
                  </a:lnTo>
                  <a:lnTo>
                    <a:pt x="172" y="163"/>
                  </a:lnTo>
                  <a:lnTo>
                    <a:pt x="172" y="165"/>
                  </a:lnTo>
                  <a:lnTo>
                    <a:pt x="172" y="166"/>
                  </a:lnTo>
                  <a:lnTo>
                    <a:pt x="172" y="168"/>
                  </a:lnTo>
                  <a:lnTo>
                    <a:pt x="174" y="170"/>
                  </a:lnTo>
                  <a:lnTo>
                    <a:pt x="174" y="172"/>
                  </a:lnTo>
                  <a:lnTo>
                    <a:pt x="176" y="174"/>
                  </a:lnTo>
                  <a:lnTo>
                    <a:pt x="178" y="176"/>
                  </a:lnTo>
                  <a:lnTo>
                    <a:pt x="180" y="177"/>
                  </a:lnTo>
                  <a:lnTo>
                    <a:pt x="181" y="177"/>
                  </a:lnTo>
                  <a:lnTo>
                    <a:pt x="185" y="179"/>
                  </a:lnTo>
                  <a:lnTo>
                    <a:pt x="187" y="181"/>
                  </a:lnTo>
                  <a:lnTo>
                    <a:pt x="189" y="181"/>
                  </a:lnTo>
                  <a:lnTo>
                    <a:pt x="193" y="181"/>
                  </a:lnTo>
                  <a:lnTo>
                    <a:pt x="196" y="181"/>
                  </a:lnTo>
                  <a:lnTo>
                    <a:pt x="198" y="181"/>
                  </a:lnTo>
                  <a:lnTo>
                    <a:pt x="202" y="179"/>
                  </a:lnTo>
                  <a:lnTo>
                    <a:pt x="204" y="179"/>
                  </a:lnTo>
                  <a:lnTo>
                    <a:pt x="206" y="179"/>
                  </a:lnTo>
                  <a:lnTo>
                    <a:pt x="209" y="177"/>
                  </a:lnTo>
                  <a:lnTo>
                    <a:pt x="211" y="177"/>
                  </a:lnTo>
                  <a:lnTo>
                    <a:pt x="218" y="172"/>
                  </a:lnTo>
                  <a:lnTo>
                    <a:pt x="226" y="168"/>
                  </a:lnTo>
                  <a:lnTo>
                    <a:pt x="226" y="166"/>
                  </a:lnTo>
                  <a:lnTo>
                    <a:pt x="228" y="166"/>
                  </a:lnTo>
                  <a:lnTo>
                    <a:pt x="228" y="165"/>
                  </a:lnTo>
                  <a:lnTo>
                    <a:pt x="228" y="163"/>
                  </a:lnTo>
                  <a:lnTo>
                    <a:pt x="228" y="161"/>
                  </a:lnTo>
                  <a:lnTo>
                    <a:pt x="228" y="159"/>
                  </a:lnTo>
                  <a:lnTo>
                    <a:pt x="226" y="157"/>
                  </a:lnTo>
                  <a:lnTo>
                    <a:pt x="224" y="155"/>
                  </a:lnTo>
                  <a:lnTo>
                    <a:pt x="222" y="155"/>
                  </a:lnTo>
                  <a:lnTo>
                    <a:pt x="220" y="153"/>
                  </a:lnTo>
                  <a:lnTo>
                    <a:pt x="213" y="152"/>
                  </a:lnTo>
                  <a:lnTo>
                    <a:pt x="204" y="150"/>
                  </a:lnTo>
                  <a:lnTo>
                    <a:pt x="202" y="150"/>
                  </a:lnTo>
                  <a:lnTo>
                    <a:pt x="200" y="148"/>
                  </a:lnTo>
                  <a:lnTo>
                    <a:pt x="198" y="146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1" y="144"/>
                  </a:lnTo>
                  <a:lnTo>
                    <a:pt x="189" y="144"/>
                  </a:lnTo>
                  <a:lnTo>
                    <a:pt x="187" y="144"/>
                  </a:lnTo>
                  <a:close/>
                  <a:moveTo>
                    <a:pt x="143" y="142"/>
                  </a:moveTo>
                  <a:lnTo>
                    <a:pt x="143" y="144"/>
                  </a:lnTo>
                  <a:lnTo>
                    <a:pt x="143" y="146"/>
                  </a:lnTo>
                  <a:lnTo>
                    <a:pt x="141" y="148"/>
                  </a:lnTo>
                  <a:lnTo>
                    <a:pt x="139" y="153"/>
                  </a:lnTo>
                  <a:lnTo>
                    <a:pt x="135" y="157"/>
                  </a:lnTo>
                  <a:lnTo>
                    <a:pt x="135" y="159"/>
                  </a:lnTo>
                  <a:lnTo>
                    <a:pt x="135" y="161"/>
                  </a:lnTo>
                  <a:lnTo>
                    <a:pt x="133" y="163"/>
                  </a:lnTo>
                  <a:lnTo>
                    <a:pt x="133" y="165"/>
                  </a:lnTo>
                  <a:lnTo>
                    <a:pt x="133" y="168"/>
                  </a:lnTo>
                  <a:lnTo>
                    <a:pt x="135" y="168"/>
                  </a:lnTo>
                  <a:lnTo>
                    <a:pt x="135" y="170"/>
                  </a:lnTo>
                  <a:lnTo>
                    <a:pt x="139" y="172"/>
                  </a:lnTo>
                  <a:lnTo>
                    <a:pt x="141" y="172"/>
                  </a:lnTo>
                  <a:lnTo>
                    <a:pt x="143" y="172"/>
                  </a:lnTo>
                  <a:lnTo>
                    <a:pt x="145" y="172"/>
                  </a:lnTo>
                  <a:lnTo>
                    <a:pt x="146" y="172"/>
                  </a:lnTo>
                  <a:lnTo>
                    <a:pt x="148" y="170"/>
                  </a:lnTo>
                  <a:lnTo>
                    <a:pt x="150" y="170"/>
                  </a:lnTo>
                  <a:lnTo>
                    <a:pt x="152" y="168"/>
                  </a:lnTo>
                  <a:lnTo>
                    <a:pt x="154" y="168"/>
                  </a:lnTo>
                  <a:lnTo>
                    <a:pt x="156" y="168"/>
                  </a:lnTo>
                  <a:lnTo>
                    <a:pt x="157" y="168"/>
                  </a:lnTo>
                  <a:lnTo>
                    <a:pt x="157" y="170"/>
                  </a:lnTo>
                  <a:lnTo>
                    <a:pt x="159" y="172"/>
                  </a:lnTo>
                  <a:lnTo>
                    <a:pt x="161" y="172"/>
                  </a:lnTo>
                  <a:lnTo>
                    <a:pt x="163" y="172"/>
                  </a:lnTo>
                  <a:lnTo>
                    <a:pt x="167" y="172"/>
                  </a:lnTo>
                  <a:lnTo>
                    <a:pt x="167" y="170"/>
                  </a:lnTo>
                  <a:lnTo>
                    <a:pt x="167" y="168"/>
                  </a:lnTo>
                  <a:lnTo>
                    <a:pt x="167" y="166"/>
                  </a:lnTo>
                  <a:lnTo>
                    <a:pt x="167" y="165"/>
                  </a:lnTo>
                  <a:lnTo>
                    <a:pt x="167" y="163"/>
                  </a:lnTo>
                  <a:lnTo>
                    <a:pt x="167" y="161"/>
                  </a:lnTo>
                  <a:lnTo>
                    <a:pt x="165" y="157"/>
                  </a:lnTo>
                  <a:lnTo>
                    <a:pt x="163" y="153"/>
                  </a:lnTo>
                  <a:lnTo>
                    <a:pt x="161" y="150"/>
                  </a:lnTo>
                  <a:lnTo>
                    <a:pt x="159" y="148"/>
                  </a:lnTo>
                  <a:lnTo>
                    <a:pt x="157" y="144"/>
                  </a:lnTo>
                  <a:lnTo>
                    <a:pt x="156" y="144"/>
                  </a:lnTo>
                  <a:lnTo>
                    <a:pt x="156" y="142"/>
                  </a:lnTo>
                  <a:lnTo>
                    <a:pt x="152" y="140"/>
                  </a:lnTo>
                  <a:lnTo>
                    <a:pt x="152" y="139"/>
                  </a:lnTo>
                  <a:lnTo>
                    <a:pt x="150" y="139"/>
                  </a:lnTo>
                  <a:lnTo>
                    <a:pt x="148" y="139"/>
                  </a:lnTo>
                  <a:lnTo>
                    <a:pt x="146" y="139"/>
                  </a:lnTo>
                  <a:lnTo>
                    <a:pt x="145" y="139"/>
                  </a:lnTo>
                  <a:lnTo>
                    <a:pt x="143" y="140"/>
                  </a:lnTo>
                  <a:lnTo>
                    <a:pt x="143" y="142"/>
                  </a:lnTo>
                  <a:close/>
                  <a:moveTo>
                    <a:pt x="135" y="140"/>
                  </a:moveTo>
                  <a:lnTo>
                    <a:pt x="133" y="139"/>
                  </a:lnTo>
                  <a:lnTo>
                    <a:pt x="132" y="139"/>
                  </a:lnTo>
                  <a:lnTo>
                    <a:pt x="130" y="139"/>
                  </a:lnTo>
                  <a:lnTo>
                    <a:pt x="126" y="140"/>
                  </a:lnTo>
                  <a:lnTo>
                    <a:pt x="122" y="142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5" y="146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9" y="150"/>
                  </a:lnTo>
                  <a:lnTo>
                    <a:pt x="109" y="152"/>
                  </a:lnTo>
                  <a:lnTo>
                    <a:pt x="109" y="153"/>
                  </a:lnTo>
                  <a:lnTo>
                    <a:pt x="109" y="155"/>
                  </a:lnTo>
                  <a:lnTo>
                    <a:pt x="111" y="157"/>
                  </a:lnTo>
                  <a:lnTo>
                    <a:pt x="111" y="159"/>
                  </a:lnTo>
                  <a:lnTo>
                    <a:pt x="113" y="159"/>
                  </a:lnTo>
                  <a:lnTo>
                    <a:pt x="115" y="161"/>
                  </a:lnTo>
                  <a:lnTo>
                    <a:pt x="117" y="161"/>
                  </a:lnTo>
                  <a:lnTo>
                    <a:pt x="119" y="161"/>
                  </a:lnTo>
                  <a:lnTo>
                    <a:pt x="122" y="161"/>
                  </a:lnTo>
                  <a:lnTo>
                    <a:pt x="124" y="159"/>
                  </a:lnTo>
                  <a:lnTo>
                    <a:pt x="126" y="159"/>
                  </a:lnTo>
                  <a:lnTo>
                    <a:pt x="128" y="157"/>
                  </a:lnTo>
                  <a:lnTo>
                    <a:pt x="132" y="153"/>
                  </a:lnTo>
                  <a:lnTo>
                    <a:pt x="135" y="150"/>
                  </a:lnTo>
                  <a:lnTo>
                    <a:pt x="135" y="148"/>
                  </a:lnTo>
                  <a:lnTo>
                    <a:pt x="137" y="146"/>
                  </a:lnTo>
                  <a:lnTo>
                    <a:pt x="135" y="142"/>
                  </a:lnTo>
                  <a:lnTo>
                    <a:pt x="135" y="140"/>
                  </a:lnTo>
                  <a:close/>
                  <a:moveTo>
                    <a:pt x="67" y="107"/>
                  </a:moveTo>
                  <a:lnTo>
                    <a:pt x="67" y="109"/>
                  </a:lnTo>
                  <a:lnTo>
                    <a:pt x="67" y="111"/>
                  </a:lnTo>
                  <a:lnTo>
                    <a:pt x="67" y="113"/>
                  </a:lnTo>
                  <a:lnTo>
                    <a:pt x="69" y="115"/>
                  </a:lnTo>
                  <a:lnTo>
                    <a:pt x="69" y="116"/>
                  </a:lnTo>
                  <a:lnTo>
                    <a:pt x="71" y="116"/>
                  </a:lnTo>
                  <a:lnTo>
                    <a:pt x="71" y="118"/>
                  </a:lnTo>
                  <a:lnTo>
                    <a:pt x="72" y="120"/>
                  </a:lnTo>
                  <a:lnTo>
                    <a:pt x="74" y="122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80" y="126"/>
                  </a:lnTo>
                  <a:lnTo>
                    <a:pt x="84" y="126"/>
                  </a:lnTo>
                  <a:lnTo>
                    <a:pt x="85" y="126"/>
                  </a:lnTo>
                  <a:lnTo>
                    <a:pt x="89" y="126"/>
                  </a:lnTo>
                  <a:lnTo>
                    <a:pt x="91" y="126"/>
                  </a:lnTo>
                  <a:lnTo>
                    <a:pt x="95" y="124"/>
                  </a:lnTo>
                  <a:lnTo>
                    <a:pt x="98" y="122"/>
                  </a:lnTo>
                  <a:lnTo>
                    <a:pt x="98" y="120"/>
                  </a:lnTo>
                  <a:lnTo>
                    <a:pt x="98" y="116"/>
                  </a:lnTo>
                  <a:lnTo>
                    <a:pt x="97" y="116"/>
                  </a:lnTo>
                  <a:lnTo>
                    <a:pt x="97" y="115"/>
                  </a:lnTo>
                  <a:lnTo>
                    <a:pt x="95" y="113"/>
                  </a:lnTo>
                  <a:lnTo>
                    <a:pt x="93" y="109"/>
                  </a:lnTo>
                  <a:lnTo>
                    <a:pt x="89" y="107"/>
                  </a:lnTo>
                  <a:lnTo>
                    <a:pt x="87" y="107"/>
                  </a:lnTo>
                  <a:lnTo>
                    <a:pt x="85" y="105"/>
                  </a:lnTo>
                  <a:lnTo>
                    <a:pt x="84" y="104"/>
                  </a:lnTo>
                  <a:lnTo>
                    <a:pt x="82" y="104"/>
                  </a:lnTo>
                  <a:lnTo>
                    <a:pt x="80" y="104"/>
                  </a:lnTo>
                  <a:lnTo>
                    <a:pt x="78" y="104"/>
                  </a:lnTo>
                  <a:lnTo>
                    <a:pt x="76" y="104"/>
                  </a:lnTo>
                  <a:lnTo>
                    <a:pt x="74" y="104"/>
                  </a:lnTo>
                  <a:lnTo>
                    <a:pt x="72" y="104"/>
                  </a:lnTo>
                  <a:lnTo>
                    <a:pt x="71" y="104"/>
                  </a:lnTo>
                  <a:lnTo>
                    <a:pt x="69" y="105"/>
                  </a:lnTo>
                  <a:lnTo>
                    <a:pt x="67" y="107"/>
                  </a:lnTo>
                  <a:close/>
                  <a:moveTo>
                    <a:pt x="52" y="109"/>
                  </a:moveTo>
                  <a:lnTo>
                    <a:pt x="52" y="105"/>
                  </a:lnTo>
                  <a:lnTo>
                    <a:pt x="50" y="104"/>
                  </a:lnTo>
                  <a:lnTo>
                    <a:pt x="50" y="102"/>
                  </a:lnTo>
                  <a:lnTo>
                    <a:pt x="48" y="100"/>
                  </a:lnTo>
                  <a:lnTo>
                    <a:pt x="47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39" y="96"/>
                  </a:lnTo>
                  <a:lnTo>
                    <a:pt x="36" y="96"/>
                  </a:lnTo>
                  <a:lnTo>
                    <a:pt x="34" y="96"/>
                  </a:lnTo>
                  <a:lnTo>
                    <a:pt x="30" y="96"/>
                  </a:lnTo>
                  <a:lnTo>
                    <a:pt x="30" y="98"/>
                  </a:lnTo>
                  <a:lnTo>
                    <a:pt x="30" y="100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5"/>
                  </a:lnTo>
                  <a:lnTo>
                    <a:pt x="32" y="107"/>
                  </a:lnTo>
                  <a:lnTo>
                    <a:pt x="34" y="107"/>
                  </a:lnTo>
                  <a:lnTo>
                    <a:pt x="36" y="109"/>
                  </a:lnTo>
                  <a:lnTo>
                    <a:pt x="37" y="111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7" y="113"/>
                  </a:lnTo>
                  <a:lnTo>
                    <a:pt x="48" y="113"/>
                  </a:lnTo>
                  <a:lnTo>
                    <a:pt x="50" y="113"/>
                  </a:lnTo>
                  <a:lnTo>
                    <a:pt x="52" y="111"/>
                  </a:lnTo>
                  <a:lnTo>
                    <a:pt x="52" y="109"/>
                  </a:lnTo>
                  <a:close/>
                  <a:moveTo>
                    <a:pt x="6" y="63"/>
                  </a:moveTo>
                  <a:lnTo>
                    <a:pt x="6" y="63"/>
                  </a:lnTo>
                  <a:lnTo>
                    <a:pt x="6" y="65"/>
                  </a:lnTo>
                  <a:lnTo>
                    <a:pt x="6" y="67"/>
                  </a:lnTo>
                  <a:lnTo>
                    <a:pt x="8" y="68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3" y="72"/>
                  </a:lnTo>
                  <a:lnTo>
                    <a:pt x="15" y="72"/>
                  </a:lnTo>
                  <a:lnTo>
                    <a:pt x="17" y="72"/>
                  </a:lnTo>
                  <a:lnTo>
                    <a:pt x="19" y="72"/>
                  </a:lnTo>
                  <a:lnTo>
                    <a:pt x="23" y="72"/>
                  </a:lnTo>
                  <a:lnTo>
                    <a:pt x="24" y="72"/>
                  </a:lnTo>
                  <a:lnTo>
                    <a:pt x="26" y="70"/>
                  </a:lnTo>
                  <a:lnTo>
                    <a:pt x="30" y="68"/>
                  </a:lnTo>
                  <a:lnTo>
                    <a:pt x="32" y="68"/>
                  </a:lnTo>
                  <a:lnTo>
                    <a:pt x="34" y="67"/>
                  </a:lnTo>
                  <a:lnTo>
                    <a:pt x="36" y="65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45" y="68"/>
                  </a:lnTo>
                  <a:lnTo>
                    <a:pt x="50" y="72"/>
                  </a:lnTo>
                  <a:lnTo>
                    <a:pt x="54" y="74"/>
                  </a:lnTo>
                  <a:lnTo>
                    <a:pt x="58" y="74"/>
                  </a:lnTo>
                  <a:lnTo>
                    <a:pt x="60" y="76"/>
                  </a:lnTo>
                  <a:lnTo>
                    <a:pt x="63" y="76"/>
                  </a:lnTo>
                  <a:lnTo>
                    <a:pt x="65" y="76"/>
                  </a:lnTo>
                  <a:lnTo>
                    <a:pt x="67" y="78"/>
                  </a:lnTo>
                  <a:lnTo>
                    <a:pt x="71" y="78"/>
                  </a:lnTo>
                  <a:lnTo>
                    <a:pt x="72" y="78"/>
                  </a:lnTo>
                  <a:lnTo>
                    <a:pt x="76" y="78"/>
                  </a:lnTo>
                  <a:lnTo>
                    <a:pt x="80" y="76"/>
                  </a:lnTo>
                  <a:lnTo>
                    <a:pt x="82" y="76"/>
                  </a:lnTo>
                  <a:lnTo>
                    <a:pt x="85" y="74"/>
                  </a:lnTo>
                  <a:lnTo>
                    <a:pt x="89" y="72"/>
                  </a:lnTo>
                  <a:lnTo>
                    <a:pt x="91" y="70"/>
                  </a:lnTo>
                  <a:lnTo>
                    <a:pt x="91" y="68"/>
                  </a:lnTo>
                  <a:lnTo>
                    <a:pt x="93" y="67"/>
                  </a:lnTo>
                  <a:lnTo>
                    <a:pt x="93" y="65"/>
                  </a:lnTo>
                  <a:lnTo>
                    <a:pt x="93" y="63"/>
                  </a:lnTo>
                  <a:lnTo>
                    <a:pt x="91" y="63"/>
                  </a:lnTo>
                  <a:lnTo>
                    <a:pt x="91" y="59"/>
                  </a:lnTo>
                  <a:lnTo>
                    <a:pt x="87" y="55"/>
                  </a:lnTo>
                  <a:lnTo>
                    <a:pt x="87" y="54"/>
                  </a:lnTo>
                  <a:lnTo>
                    <a:pt x="85" y="48"/>
                  </a:lnTo>
                  <a:lnTo>
                    <a:pt x="84" y="43"/>
                  </a:lnTo>
                  <a:lnTo>
                    <a:pt x="82" y="41"/>
                  </a:lnTo>
                  <a:lnTo>
                    <a:pt x="82" y="39"/>
                  </a:lnTo>
                  <a:lnTo>
                    <a:pt x="80" y="37"/>
                  </a:lnTo>
                  <a:lnTo>
                    <a:pt x="78" y="35"/>
                  </a:lnTo>
                  <a:lnTo>
                    <a:pt x="74" y="35"/>
                  </a:lnTo>
                  <a:lnTo>
                    <a:pt x="72" y="35"/>
                  </a:lnTo>
                  <a:lnTo>
                    <a:pt x="71" y="35"/>
                  </a:lnTo>
                  <a:lnTo>
                    <a:pt x="69" y="37"/>
                  </a:lnTo>
                  <a:lnTo>
                    <a:pt x="67" y="37"/>
                  </a:lnTo>
                  <a:lnTo>
                    <a:pt x="67" y="39"/>
                  </a:lnTo>
                  <a:lnTo>
                    <a:pt x="61" y="44"/>
                  </a:lnTo>
                  <a:lnTo>
                    <a:pt x="58" y="50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2"/>
                  </a:lnTo>
                  <a:lnTo>
                    <a:pt x="45" y="48"/>
                  </a:lnTo>
                  <a:lnTo>
                    <a:pt x="41" y="43"/>
                  </a:lnTo>
                  <a:lnTo>
                    <a:pt x="39" y="43"/>
                  </a:lnTo>
                  <a:lnTo>
                    <a:pt x="37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6" y="46"/>
                  </a:lnTo>
                  <a:lnTo>
                    <a:pt x="21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0" y="46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5"/>
                  </a:lnTo>
                  <a:lnTo>
                    <a:pt x="8" y="57"/>
                  </a:lnTo>
                  <a:lnTo>
                    <a:pt x="8" y="59"/>
                  </a:lnTo>
                  <a:lnTo>
                    <a:pt x="6" y="63"/>
                  </a:lnTo>
                  <a:close/>
                  <a:moveTo>
                    <a:pt x="26" y="30"/>
                  </a:moveTo>
                  <a:lnTo>
                    <a:pt x="28" y="28"/>
                  </a:lnTo>
                  <a:lnTo>
                    <a:pt x="30" y="28"/>
                  </a:lnTo>
                  <a:lnTo>
                    <a:pt x="32" y="28"/>
                  </a:lnTo>
                  <a:lnTo>
                    <a:pt x="32" y="30"/>
                  </a:lnTo>
                  <a:lnTo>
                    <a:pt x="36" y="31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5" y="31"/>
                  </a:lnTo>
                  <a:lnTo>
                    <a:pt x="47" y="31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48" y="35"/>
                  </a:lnTo>
                  <a:lnTo>
                    <a:pt x="48" y="37"/>
                  </a:lnTo>
                  <a:lnTo>
                    <a:pt x="50" y="39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6" y="41"/>
                  </a:lnTo>
                  <a:lnTo>
                    <a:pt x="58" y="41"/>
                  </a:lnTo>
                  <a:lnTo>
                    <a:pt x="60" y="41"/>
                  </a:lnTo>
                  <a:lnTo>
                    <a:pt x="60" y="39"/>
                  </a:lnTo>
                  <a:lnTo>
                    <a:pt x="61" y="39"/>
                  </a:lnTo>
                  <a:lnTo>
                    <a:pt x="63" y="37"/>
                  </a:lnTo>
                  <a:lnTo>
                    <a:pt x="63" y="35"/>
                  </a:lnTo>
                  <a:lnTo>
                    <a:pt x="63" y="33"/>
                  </a:lnTo>
                  <a:lnTo>
                    <a:pt x="63" y="31"/>
                  </a:lnTo>
                  <a:lnTo>
                    <a:pt x="63" y="30"/>
                  </a:lnTo>
                  <a:lnTo>
                    <a:pt x="63" y="28"/>
                  </a:lnTo>
                  <a:lnTo>
                    <a:pt x="61" y="26"/>
                  </a:lnTo>
                  <a:lnTo>
                    <a:pt x="61" y="24"/>
                  </a:lnTo>
                  <a:lnTo>
                    <a:pt x="60" y="22"/>
                  </a:lnTo>
                  <a:lnTo>
                    <a:pt x="58" y="20"/>
                  </a:lnTo>
                  <a:lnTo>
                    <a:pt x="56" y="19"/>
                  </a:lnTo>
                  <a:lnTo>
                    <a:pt x="54" y="19"/>
                  </a:lnTo>
                  <a:lnTo>
                    <a:pt x="52" y="17"/>
                  </a:lnTo>
                  <a:lnTo>
                    <a:pt x="48" y="17"/>
                  </a:lnTo>
                  <a:lnTo>
                    <a:pt x="47" y="15"/>
                  </a:lnTo>
                  <a:lnTo>
                    <a:pt x="39" y="13"/>
                  </a:lnTo>
                  <a:lnTo>
                    <a:pt x="30" y="11"/>
                  </a:lnTo>
                  <a:lnTo>
                    <a:pt x="24" y="7"/>
                  </a:lnTo>
                  <a:lnTo>
                    <a:pt x="19" y="4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6" y="15"/>
                  </a:lnTo>
                  <a:lnTo>
                    <a:pt x="8" y="19"/>
                  </a:lnTo>
                  <a:lnTo>
                    <a:pt x="12" y="24"/>
                  </a:lnTo>
                  <a:lnTo>
                    <a:pt x="13" y="31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21" y="33"/>
                  </a:lnTo>
                  <a:lnTo>
                    <a:pt x="23" y="31"/>
                  </a:lnTo>
                  <a:lnTo>
                    <a:pt x="24" y="31"/>
                  </a:lnTo>
                  <a:lnTo>
                    <a:pt x="26" y="31"/>
                  </a:lnTo>
                  <a:lnTo>
                    <a:pt x="26" y="3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67" name="Freeform 9"/>
            <p:cNvSpPr>
              <a:spLocks/>
            </p:cNvSpPr>
            <p:nvPr/>
          </p:nvSpPr>
          <p:spPr bwMode="auto">
            <a:xfrm>
              <a:off x="4478683" y="1926107"/>
              <a:ext cx="36525" cy="25445"/>
            </a:xfrm>
            <a:custGeom>
              <a:avLst/>
              <a:gdLst>
                <a:gd name="T0" fmla="*/ 2 w 70"/>
                <a:gd name="T1" fmla="*/ 35 h 50"/>
                <a:gd name="T2" fmla="*/ 7 w 70"/>
                <a:gd name="T3" fmla="*/ 43 h 50"/>
                <a:gd name="T4" fmla="*/ 13 w 70"/>
                <a:gd name="T5" fmla="*/ 47 h 50"/>
                <a:gd name="T6" fmla="*/ 20 w 70"/>
                <a:gd name="T7" fmla="*/ 50 h 50"/>
                <a:gd name="T8" fmla="*/ 26 w 70"/>
                <a:gd name="T9" fmla="*/ 50 h 50"/>
                <a:gd name="T10" fmla="*/ 39 w 70"/>
                <a:gd name="T11" fmla="*/ 50 h 50"/>
                <a:gd name="T12" fmla="*/ 53 w 70"/>
                <a:gd name="T13" fmla="*/ 47 h 50"/>
                <a:gd name="T14" fmla="*/ 61 w 70"/>
                <a:gd name="T15" fmla="*/ 48 h 50"/>
                <a:gd name="T16" fmla="*/ 65 w 70"/>
                <a:gd name="T17" fmla="*/ 47 h 50"/>
                <a:gd name="T18" fmla="*/ 68 w 70"/>
                <a:gd name="T19" fmla="*/ 45 h 50"/>
                <a:gd name="T20" fmla="*/ 70 w 70"/>
                <a:gd name="T21" fmla="*/ 43 h 50"/>
                <a:gd name="T22" fmla="*/ 70 w 70"/>
                <a:gd name="T23" fmla="*/ 35 h 50"/>
                <a:gd name="T24" fmla="*/ 65 w 70"/>
                <a:gd name="T25" fmla="*/ 26 h 50"/>
                <a:gd name="T26" fmla="*/ 65 w 70"/>
                <a:gd name="T27" fmla="*/ 19 h 50"/>
                <a:gd name="T28" fmla="*/ 63 w 70"/>
                <a:gd name="T29" fmla="*/ 11 h 50"/>
                <a:gd name="T30" fmla="*/ 61 w 70"/>
                <a:gd name="T31" fmla="*/ 8 h 50"/>
                <a:gd name="T32" fmla="*/ 59 w 70"/>
                <a:gd name="T33" fmla="*/ 4 h 50"/>
                <a:gd name="T34" fmla="*/ 53 w 70"/>
                <a:gd name="T35" fmla="*/ 2 h 50"/>
                <a:gd name="T36" fmla="*/ 46 w 70"/>
                <a:gd name="T37" fmla="*/ 0 h 50"/>
                <a:gd name="T38" fmla="*/ 42 w 70"/>
                <a:gd name="T39" fmla="*/ 0 h 50"/>
                <a:gd name="T40" fmla="*/ 39 w 70"/>
                <a:gd name="T41" fmla="*/ 2 h 50"/>
                <a:gd name="T42" fmla="*/ 35 w 70"/>
                <a:gd name="T43" fmla="*/ 4 h 50"/>
                <a:gd name="T44" fmla="*/ 31 w 70"/>
                <a:gd name="T45" fmla="*/ 6 h 50"/>
                <a:gd name="T46" fmla="*/ 26 w 70"/>
                <a:gd name="T47" fmla="*/ 13 h 50"/>
                <a:gd name="T48" fmla="*/ 18 w 70"/>
                <a:gd name="T49" fmla="*/ 19 h 50"/>
                <a:gd name="T50" fmla="*/ 11 w 70"/>
                <a:gd name="T51" fmla="*/ 22 h 50"/>
                <a:gd name="T52" fmla="*/ 4 w 70"/>
                <a:gd name="T53" fmla="*/ 26 h 50"/>
                <a:gd name="T54" fmla="*/ 2 w 70"/>
                <a:gd name="T55" fmla="*/ 28 h 50"/>
                <a:gd name="T56" fmla="*/ 0 w 70"/>
                <a:gd name="T57" fmla="*/ 30 h 50"/>
                <a:gd name="T58" fmla="*/ 0 w 70"/>
                <a:gd name="T59" fmla="*/ 32 h 50"/>
                <a:gd name="T60" fmla="*/ 2 w 70"/>
                <a:gd name="T61" fmla="*/ 35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0"/>
                <a:gd name="T94" fmla="*/ 0 h 50"/>
                <a:gd name="T95" fmla="*/ 70 w 70"/>
                <a:gd name="T96" fmla="*/ 50 h 5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0" h="50">
                  <a:moveTo>
                    <a:pt x="2" y="35"/>
                  </a:moveTo>
                  <a:lnTo>
                    <a:pt x="7" y="43"/>
                  </a:lnTo>
                  <a:lnTo>
                    <a:pt x="13" y="47"/>
                  </a:lnTo>
                  <a:lnTo>
                    <a:pt x="20" y="50"/>
                  </a:lnTo>
                  <a:lnTo>
                    <a:pt x="26" y="50"/>
                  </a:lnTo>
                  <a:lnTo>
                    <a:pt x="39" y="50"/>
                  </a:lnTo>
                  <a:lnTo>
                    <a:pt x="53" y="47"/>
                  </a:lnTo>
                  <a:lnTo>
                    <a:pt x="61" y="48"/>
                  </a:lnTo>
                  <a:lnTo>
                    <a:pt x="65" y="47"/>
                  </a:lnTo>
                  <a:lnTo>
                    <a:pt x="68" y="45"/>
                  </a:lnTo>
                  <a:lnTo>
                    <a:pt x="70" y="43"/>
                  </a:lnTo>
                  <a:lnTo>
                    <a:pt x="70" y="35"/>
                  </a:lnTo>
                  <a:lnTo>
                    <a:pt x="65" y="26"/>
                  </a:lnTo>
                  <a:lnTo>
                    <a:pt x="65" y="19"/>
                  </a:lnTo>
                  <a:lnTo>
                    <a:pt x="63" y="11"/>
                  </a:lnTo>
                  <a:lnTo>
                    <a:pt x="61" y="8"/>
                  </a:lnTo>
                  <a:lnTo>
                    <a:pt x="59" y="4"/>
                  </a:lnTo>
                  <a:lnTo>
                    <a:pt x="53" y="2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9" y="2"/>
                  </a:lnTo>
                  <a:lnTo>
                    <a:pt x="35" y="4"/>
                  </a:lnTo>
                  <a:lnTo>
                    <a:pt x="31" y="6"/>
                  </a:lnTo>
                  <a:lnTo>
                    <a:pt x="26" y="13"/>
                  </a:lnTo>
                  <a:lnTo>
                    <a:pt x="18" y="19"/>
                  </a:lnTo>
                  <a:lnTo>
                    <a:pt x="11" y="22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68" name="Freeform 10"/>
            <p:cNvSpPr>
              <a:spLocks/>
            </p:cNvSpPr>
            <p:nvPr/>
          </p:nvSpPr>
          <p:spPr bwMode="auto">
            <a:xfrm>
              <a:off x="4636786" y="1986667"/>
              <a:ext cx="20872" cy="40203"/>
            </a:xfrm>
            <a:custGeom>
              <a:avLst/>
              <a:gdLst>
                <a:gd name="T0" fmla="*/ 0 w 40"/>
                <a:gd name="T1" fmla="*/ 18 h 79"/>
                <a:gd name="T2" fmla="*/ 2 w 40"/>
                <a:gd name="T3" fmla="*/ 33 h 79"/>
                <a:gd name="T4" fmla="*/ 4 w 40"/>
                <a:gd name="T5" fmla="*/ 48 h 79"/>
                <a:gd name="T6" fmla="*/ 5 w 40"/>
                <a:gd name="T7" fmla="*/ 62 h 79"/>
                <a:gd name="T8" fmla="*/ 5 w 40"/>
                <a:gd name="T9" fmla="*/ 75 h 79"/>
                <a:gd name="T10" fmla="*/ 11 w 40"/>
                <a:gd name="T11" fmla="*/ 77 h 79"/>
                <a:gd name="T12" fmla="*/ 18 w 40"/>
                <a:gd name="T13" fmla="*/ 79 h 79"/>
                <a:gd name="T14" fmla="*/ 26 w 40"/>
                <a:gd name="T15" fmla="*/ 79 h 79"/>
                <a:gd name="T16" fmla="*/ 33 w 40"/>
                <a:gd name="T17" fmla="*/ 73 h 79"/>
                <a:gd name="T18" fmla="*/ 37 w 40"/>
                <a:gd name="T19" fmla="*/ 59 h 79"/>
                <a:gd name="T20" fmla="*/ 40 w 40"/>
                <a:gd name="T21" fmla="*/ 46 h 79"/>
                <a:gd name="T22" fmla="*/ 31 w 40"/>
                <a:gd name="T23" fmla="*/ 22 h 79"/>
                <a:gd name="T24" fmla="*/ 20 w 40"/>
                <a:gd name="T25" fmla="*/ 0 h 79"/>
                <a:gd name="T26" fmla="*/ 20 w 40"/>
                <a:gd name="T27" fmla="*/ 1 h 79"/>
                <a:gd name="T28" fmla="*/ 15 w 40"/>
                <a:gd name="T29" fmla="*/ 9 h 79"/>
                <a:gd name="T30" fmla="*/ 9 w 40"/>
                <a:gd name="T31" fmla="*/ 14 h 79"/>
                <a:gd name="T32" fmla="*/ 0 w 40"/>
                <a:gd name="T33" fmla="*/ 18 h 7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79"/>
                <a:gd name="T53" fmla="*/ 40 w 40"/>
                <a:gd name="T54" fmla="*/ 79 h 7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79">
                  <a:moveTo>
                    <a:pt x="0" y="18"/>
                  </a:moveTo>
                  <a:lnTo>
                    <a:pt x="2" y="33"/>
                  </a:lnTo>
                  <a:lnTo>
                    <a:pt x="4" y="48"/>
                  </a:lnTo>
                  <a:lnTo>
                    <a:pt x="5" y="62"/>
                  </a:lnTo>
                  <a:lnTo>
                    <a:pt x="5" y="75"/>
                  </a:lnTo>
                  <a:lnTo>
                    <a:pt x="11" y="77"/>
                  </a:lnTo>
                  <a:lnTo>
                    <a:pt x="18" y="79"/>
                  </a:lnTo>
                  <a:lnTo>
                    <a:pt x="26" y="79"/>
                  </a:lnTo>
                  <a:lnTo>
                    <a:pt x="33" y="73"/>
                  </a:lnTo>
                  <a:lnTo>
                    <a:pt x="37" y="59"/>
                  </a:lnTo>
                  <a:lnTo>
                    <a:pt x="40" y="46"/>
                  </a:lnTo>
                  <a:lnTo>
                    <a:pt x="31" y="22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15" y="9"/>
                  </a:lnTo>
                  <a:lnTo>
                    <a:pt x="9" y="1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69" name="Freeform 11"/>
            <p:cNvSpPr>
              <a:spLocks/>
            </p:cNvSpPr>
            <p:nvPr/>
          </p:nvSpPr>
          <p:spPr bwMode="auto">
            <a:xfrm>
              <a:off x="4618523" y="2027888"/>
              <a:ext cx="3653" cy="8651"/>
            </a:xfrm>
            <a:custGeom>
              <a:avLst/>
              <a:gdLst>
                <a:gd name="T0" fmla="*/ 2 w 7"/>
                <a:gd name="T1" fmla="*/ 0 h 17"/>
                <a:gd name="T2" fmla="*/ 0 w 7"/>
                <a:gd name="T3" fmla="*/ 9 h 17"/>
                <a:gd name="T4" fmla="*/ 2 w 7"/>
                <a:gd name="T5" fmla="*/ 17 h 17"/>
                <a:gd name="T6" fmla="*/ 5 w 7"/>
                <a:gd name="T7" fmla="*/ 13 h 17"/>
                <a:gd name="T8" fmla="*/ 7 w 7"/>
                <a:gd name="T9" fmla="*/ 7 h 17"/>
                <a:gd name="T10" fmla="*/ 7 w 7"/>
                <a:gd name="T11" fmla="*/ 4 h 17"/>
                <a:gd name="T12" fmla="*/ 5 w 7"/>
                <a:gd name="T13" fmla="*/ 0 h 17"/>
                <a:gd name="T14" fmla="*/ 3 w 7"/>
                <a:gd name="T15" fmla="*/ 0 h 17"/>
                <a:gd name="T16" fmla="*/ 2 w 7"/>
                <a:gd name="T17" fmla="*/ 0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7"/>
                <a:gd name="T29" fmla="*/ 7 w 7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7">
                  <a:moveTo>
                    <a:pt x="2" y="0"/>
                  </a:moveTo>
                  <a:lnTo>
                    <a:pt x="0" y="9"/>
                  </a:lnTo>
                  <a:lnTo>
                    <a:pt x="2" y="17"/>
                  </a:lnTo>
                  <a:lnTo>
                    <a:pt x="5" y="13"/>
                  </a:lnTo>
                  <a:lnTo>
                    <a:pt x="7" y="7"/>
                  </a:lnTo>
                  <a:lnTo>
                    <a:pt x="7" y="4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70" name="Freeform 12"/>
            <p:cNvSpPr>
              <a:spLocks/>
            </p:cNvSpPr>
            <p:nvPr/>
          </p:nvSpPr>
          <p:spPr bwMode="auto">
            <a:xfrm>
              <a:off x="4678008" y="1800408"/>
              <a:ext cx="224892" cy="74300"/>
            </a:xfrm>
            <a:custGeom>
              <a:avLst/>
              <a:gdLst>
                <a:gd name="T0" fmla="*/ 19 w 431"/>
                <a:gd name="T1" fmla="*/ 122 h 146"/>
                <a:gd name="T2" fmla="*/ 30 w 431"/>
                <a:gd name="T3" fmla="*/ 133 h 146"/>
                <a:gd name="T4" fmla="*/ 32 w 431"/>
                <a:gd name="T5" fmla="*/ 146 h 146"/>
                <a:gd name="T6" fmla="*/ 48 w 431"/>
                <a:gd name="T7" fmla="*/ 142 h 146"/>
                <a:gd name="T8" fmla="*/ 56 w 431"/>
                <a:gd name="T9" fmla="*/ 116 h 146"/>
                <a:gd name="T10" fmla="*/ 69 w 431"/>
                <a:gd name="T11" fmla="*/ 122 h 146"/>
                <a:gd name="T12" fmla="*/ 80 w 431"/>
                <a:gd name="T13" fmla="*/ 122 h 146"/>
                <a:gd name="T14" fmla="*/ 95 w 431"/>
                <a:gd name="T15" fmla="*/ 105 h 146"/>
                <a:gd name="T16" fmla="*/ 111 w 431"/>
                <a:gd name="T17" fmla="*/ 114 h 146"/>
                <a:gd name="T18" fmla="*/ 137 w 431"/>
                <a:gd name="T19" fmla="*/ 85 h 146"/>
                <a:gd name="T20" fmla="*/ 137 w 431"/>
                <a:gd name="T21" fmla="*/ 94 h 146"/>
                <a:gd name="T22" fmla="*/ 146 w 431"/>
                <a:gd name="T23" fmla="*/ 96 h 146"/>
                <a:gd name="T24" fmla="*/ 152 w 431"/>
                <a:gd name="T25" fmla="*/ 85 h 146"/>
                <a:gd name="T26" fmla="*/ 157 w 431"/>
                <a:gd name="T27" fmla="*/ 92 h 146"/>
                <a:gd name="T28" fmla="*/ 174 w 431"/>
                <a:gd name="T29" fmla="*/ 94 h 146"/>
                <a:gd name="T30" fmla="*/ 187 w 431"/>
                <a:gd name="T31" fmla="*/ 83 h 146"/>
                <a:gd name="T32" fmla="*/ 196 w 431"/>
                <a:gd name="T33" fmla="*/ 77 h 146"/>
                <a:gd name="T34" fmla="*/ 211 w 431"/>
                <a:gd name="T35" fmla="*/ 74 h 146"/>
                <a:gd name="T36" fmla="*/ 224 w 431"/>
                <a:gd name="T37" fmla="*/ 72 h 146"/>
                <a:gd name="T38" fmla="*/ 240 w 431"/>
                <a:gd name="T39" fmla="*/ 74 h 146"/>
                <a:gd name="T40" fmla="*/ 272 w 431"/>
                <a:gd name="T41" fmla="*/ 70 h 146"/>
                <a:gd name="T42" fmla="*/ 300 w 431"/>
                <a:gd name="T43" fmla="*/ 74 h 146"/>
                <a:gd name="T44" fmla="*/ 320 w 431"/>
                <a:gd name="T45" fmla="*/ 79 h 146"/>
                <a:gd name="T46" fmla="*/ 344 w 431"/>
                <a:gd name="T47" fmla="*/ 75 h 146"/>
                <a:gd name="T48" fmla="*/ 359 w 431"/>
                <a:gd name="T49" fmla="*/ 77 h 146"/>
                <a:gd name="T50" fmla="*/ 385 w 431"/>
                <a:gd name="T51" fmla="*/ 70 h 146"/>
                <a:gd name="T52" fmla="*/ 407 w 431"/>
                <a:gd name="T53" fmla="*/ 70 h 146"/>
                <a:gd name="T54" fmla="*/ 429 w 431"/>
                <a:gd name="T55" fmla="*/ 42 h 146"/>
                <a:gd name="T56" fmla="*/ 429 w 431"/>
                <a:gd name="T57" fmla="*/ 27 h 146"/>
                <a:gd name="T58" fmla="*/ 407 w 431"/>
                <a:gd name="T59" fmla="*/ 16 h 146"/>
                <a:gd name="T60" fmla="*/ 381 w 431"/>
                <a:gd name="T61" fmla="*/ 18 h 146"/>
                <a:gd name="T62" fmla="*/ 353 w 431"/>
                <a:gd name="T63" fmla="*/ 27 h 146"/>
                <a:gd name="T64" fmla="*/ 320 w 431"/>
                <a:gd name="T65" fmla="*/ 20 h 146"/>
                <a:gd name="T66" fmla="*/ 285 w 431"/>
                <a:gd name="T67" fmla="*/ 9 h 146"/>
                <a:gd name="T68" fmla="*/ 261 w 431"/>
                <a:gd name="T69" fmla="*/ 9 h 146"/>
                <a:gd name="T70" fmla="*/ 250 w 431"/>
                <a:gd name="T71" fmla="*/ 11 h 146"/>
                <a:gd name="T72" fmla="*/ 228 w 431"/>
                <a:gd name="T73" fmla="*/ 7 h 146"/>
                <a:gd name="T74" fmla="*/ 194 w 431"/>
                <a:gd name="T75" fmla="*/ 3 h 146"/>
                <a:gd name="T76" fmla="*/ 172 w 431"/>
                <a:gd name="T77" fmla="*/ 9 h 146"/>
                <a:gd name="T78" fmla="*/ 150 w 431"/>
                <a:gd name="T79" fmla="*/ 16 h 146"/>
                <a:gd name="T80" fmla="*/ 133 w 431"/>
                <a:gd name="T81" fmla="*/ 24 h 146"/>
                <a:gd name="T82" fmla="*/ 122 w 431"/>
                <a:gd name="T83" fmla="*/ 13 h 146"/>
                <a:gd name="T84" fmla="*/ 113 w 431"/>
                <a:gd name="T85" fmla="*/ 11 h 146"/>
                <a:gd name="T86" fmla="*/ 109 w 431"/>
                <a:gd name="T87" fmla="*/ 18 h 146"/>
                <a:gd name="T88" fmla="*/ 117 w 431"/>
                <a:gd name="T89" fmla="*/ 31 h 146"/>
                <a:gd name="T90" fmla="*/ 102 w 431"/>
                <a:gd name="T91" fmla="*/ 33 h 146"/>
                <a:gd name="T92" fmla="*/ 104 w 431"/>
                <a:gd name="T93" fmla="*/ 51 h 146"/>
                <a:gd name="T94" fmla="*/ 87 w 431"/>
                <a:gd name="T95" fmla="*/ 42 h 146"/>
                <a:gd name="T96" fmla="*/ 83 w 431"/>
                <a:gd name="T97" fmla="*/ 46 h 146"/>
                <a:gd name="T98" fmla="*/ 80 w 431"/>
                <a:gd name="T99" fmla="*/ 55 h 146"/>
                <a:gd name="T100" fmla="*/ 61 w 431"/>
                <a:gd name="T101" fmla="*/ 61 h 146"/>
                <a:gd name="T102" fmla="*/ 59 w 431"/>
                <a:gd name="T103" fmla="*/ 68 h 146"/>
                <a:gd name="T104" fmla="*/ 58 w 431"/>
                <a:gd name="T105" fmla="*/ 75 h 146"/>
                <a:gd name="T106" fmla="*/ 35 w 431"/>
                <a:gd name="T107" fmla="*/ 66 h 146"/>
                <a:gd name="T108" fmla="*/ 24 w 431"/>
                <a:gd name="T109" fmla="*/ 75 h 146"/>
                <a:gd name="T110" fmla="*/ 2 w 431"/>
                <a:gd name="T111" fmla="*/ 74 h 146"/>
                <a:gd name="T112" fmla="*/ 11 w 431"/>
                <a:gd name="T113" fmla="*/ 83 h 146"/>
                <a:gd name="T114" fmla="*/ 21 w 431"/>
                <a:gd name="T115" fmla="*/ 96 h 146"/>
                <a:gd name="T116" fmla="*/ 0 w 431"/>
                <a:gd name="T117" fmla="*/ 98 h 1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1"/>
                <a:gd name="T178" fmla="*/ 0 h 146"/>
                <a:gd name="T179" fmla="*/ 431 w 431"/>
                <a:gd name="T180" fmla="*/ 146 h 1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1" h="146">
                  <a:moveTo>
                    <a:pt x="0" y="98"/>
                  </a:moveTo>
                  <a:lnTo>
                    <a:pt x="8" y="107"/>
                  </a:lnTo>
                  <a:lnTo>
                    <a:pt x="19" y="122"/>
                  </a:lnTo>
                  <a:lnTo>
                    <a:pt x="22" y="127"/>
                  </a:lnTo>
                  <a:lnTo>
                    <a:pt x="28" y="131"/>
                  </a:lnTo>
                  <a:lnTo>
                    <a:pt x="30" y="133"/>
                  </a:lnTo>
                  <a:lnTo>
                    <a:pt x="32" y="135"/>
                  </a:lnTo>
                  <a:lnTo>
                    <a:pt x="34" y="140"/>
                  </a:lnTo>
                  <a:lnTo>
                    <a:pt x="32" y="146"/>
                  </a:lnTo>
                  <a:lnTo>
                    <a:pt x="41" y="146"/>
                  </a:lnTo>
                  <a:lnTo>
                    <a:pt x="46" y="146"/>
                  </a:lnTo>
                  <a:lnTo>
                    <a:pt x="48" y="142"/>
                  </a:lnTo>
                  <a:lnTo>
                    <a:pt x="50" y="138"/>
                  </a:lnTo>
                  <a:lnTo>
                    <a:pt x="52" y="127"/>
                  </a:lnTo>
                  <a:lnTo>
                    <a:pt x="56" y="116"/>
                  </a:lnTo>
                  <a:lnTo>
                    <a:pt x="61" y="124"/>
                  </a:lnTo>
                  <a:lnTo>
                    <a:pt x="63" y="133"/>
                  </a:lnTo>
                  <a:lnTo>
                    <a:pt x="69" y="122"/>
                  </a:lnTo>
                  <a:lnTo>
                    <a:pt x="72" y="109"/>
                  </a:lnTo>
                  <a:lnTo>
                    <a:pt x="76" y="118"/>
                  </a:lnTo>
                  <a:lnTo>
                    <a:pt x="80" y="122"/>
                  </a:lnTo>
                  <a:lnTo>
                    <a:pt x="85" y="120"/>
                  </a:lnTo>
                  <a:lnTo>
                    <a:pt x="91" y="112"/>
                  </a:lnTo>
                  <a:lnTo>
                    <a:pt x="95" y="105"/>
                  </a:lnTo>
                  <a:lnTo>
                    <a:pt x="96" y="98"/>
                  </a:lnTo>
                  <a:lnTo>
                    <a:pt x="102" y="107"/>
                  </a:lnTo>
                  <a:lnTo>
                    <a:pt x="111" y="114"/>
                  </a:lnTo>
                  <a:lnTo>
                    <a:pt x="130" y="92"/>
                  </a:lnTo>
                  <a:lnTo>
                    <a:pt x="137" y="83"/>
                  </a:lnTo>
                  <a:lnTo>
                    <a:pt x="137" y="85"/>
                  </a:lnTo>
                  <a:lnTo>
                    <a:pt x="137" y="90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9" y="96"/>
                  </a:lnTo>
                  <a:lnTo>
                    <a:pt x="141" y="98"/>
                  </a:lnTo>
                  <a:lnTo>
                    <a:pt x="146" y="96"/>
                  </a:lnTo>
                  <a:lnTo>
                    <a:pt x="150" y="90"/>
                  </a:lnTo>
                  <a:lnTo>
                    <a:pt x="152" y="87"/>
                  </a:lnTo>
                  <a:lnTo>
                    <a:pt x="152" y="85"/>
                  </a:lnTo>
                  <a:lnTo>
                    <a:pt x="157" y="85"/>
                  </a:lnTo>
                  <a:lnTo>
                    <a:pt x="157" y="88"/>
                  </a:lnTo>
                  <a:lnTo>
                    <a:pt x="157" y="92"/>
                  </a:lnTo>
                  <a:lnTo>
                    <a:pt x="157" y="94"/>
                  </a:lnTo>
                  <a:lnTo>
                    <a:pt x="167" y="94"/>
                  </a:lnTo>
                  <a:lnTo>
                    <a:pt x="174" y="94"/>
                  </a:lnTo>
                  <a:lnTo>
                    <a:pt x="183" y="92"/>
                  </a:lnTo>
                  <a:lnTo>
                    <a:pt x="189" y="88"/>
                  </a:lnTo>
                  <a:lnTo>
                    <a:pt x="187" y="83"/>
                  </a:lnTo>
                  <a:lnTo>
                    <a:pt x="185" y="77"/>
                  </a:lnTo>
                  <a:lnTo>
                    <a:pt x="191" y="75"/>
                  </a:lnTo>
                  <a:lnTo>
                    <a:pt x="196" y="77"/>
                  </a:lnTo>
                  <a:lnTo>
                    <a:pt x="200" y="79"/>
                  </a:lnTo>
                  <a:lnTo>
                    <a:pt x="202" y="79"/>
                  </a:lnTo>
                  <a:lnTo>
                    <a:pt x="211" y="74"/>
                  </a:lnTo>
                  <a:lnTo>
                    <a:pt x="216" y="72"/>
                  </a:lnTo>
                  <a:lnTo>
                    <a:pt x="220" y="72"/>
                  </a:lnTo>
                  <a:lnTo>
                    <a:pt x="224" y="72"/>
                  </a:lnTo>
                  <a:lnTo>
                    <a:pt x="228" y="75"/>
                  </a:lnTo>
                  <a:lnTo>
                    <a:pt x="231" y="77"/>
                  </a:lnTo>
                  <a:lnTo>
                    <a:pt x="240" y="74"/>
                  </a:lnTo>
                  <a:lnTo>
                    <a:pt x="252" y="68"/>
                  </a:lnTo>
                  <a:lnTo>
                    <a:pt x="264" y="72"/>
                  </a:lnTo>
                  <a:lnTo>
                    <a:pt x="272" y="70"/>
                  </a:lnTo>
                  <a:lnTo>
                    <a:pt x="279" y="68"/>
                  </a:lnTo>
                  <a:lnTo>
                    <a:pt x="287" y="66"/>
                  </a:lnTo>
                  <a:lnTo>
                    <a:pt x="300" y="74"/>
                  </a:lnTo>
                  <a:lnTo>
                    <a:pt x="309" y="79"/>
                  </a:lnTo>
                  <a:lnTo>
                    <a:pt x="314" y="79"/>
                  </a:lnTo>
                  <a:lnTo>
                    <a:pt x="320" y="79"/>
                  </a:lnTo>
                  <a:lnTo>
                    <a:pt x="327" y="74"/>
                  </a:lnTo>
                  <a:lnTo>
                    <a:pt x="336" y="72"/>
                  </a:lnTo>
                  <a:lnTo>
                    <a:pt x="344" y="75"/>
                  </a:lnTo>
                  <a:lnTo>
                    <a:pt x="351" y="77"/>
                  </a:lnTo>
                  <a:lnTo>
                    <a:pt x="355" y="77"/>
                  </a:lnTo>
                  <a:lnTo>
                    <a:pt x="359" y="77"/>
                  </a:lnTo>
                  <a:lnTo>
                    <a:pt x="366" y="72"/>
                  </a:lnTo>
                  <a:lnTo>
                    <a:pt x="375" y="68"/>
                  </a:lnTo>
                  <a:lnTo>
                    <a:pt x="385" y="70"/>
                  </a:lnTo>
                  <a:lnTo>
                    <a:pt x="392" y="72"/>
                  </a:lnTo>
                  <a:lnTo>
                    <a:pt x="397" y="72"/>
                  </a:lnTo>
                  <a:lnTo>
                    <a:pt x="407" y="70"/>
                  </a:lnTo>
                  <a:lnTo>
                    <a:pt x="418" y="59"/>
                  </a:lnTo>
                  <a:lnTo>
                    <a:pt x="425" y="50"/>
                  </a:lnTo>
                  <a:lnTo>
                    <a:pt x="429" y="42"/>
                  </a:lnTo>
                  <a:lnTo>
                    <a:pt x="431" y="37"/>
                  </a:lnTo>
                  <a:lnTo>
                    <a:pt x="431" y="31"/>
                  </a:lnTo>
                  <a:lnTo>
                    <a:pt x="429" y="27"/>
                  </a:lnTo>
                  <a:lnTo>
                    <a:pt x="425" y="24"/>
                  </a:lnTo>
                  <a:lnTo>
                    <a:pt x="420" y="22"/>
                  </a:lnTo>
                  <a:lnTo>
                    <a:pt x="407" y="16"/>
                  </a:lnTo>
                  <a:lnTo>
                    <a:pt x="396" y="14"/>
                  </a:lnTo>
                  <a:lnTo>
                    <a:pt x="386" y="16"/>
                  </a:lnTo>
                  <a:lnTo>
                    <a:pt x="381" y="18"/>
                  </a:lnTo>
                  <a:lnTo>
                    <a:pt x="373" y="24"/>
                  </a:lnTo>
                  <a:lnTo>
                    <a:pt x="368" y="29"/>
                  </a:lnTo>
                  <a:lnTo>
                    <a:pt x="353" y="27"/>
                  </a:lnTo>
                  <a:lnTo>
                    <a:pt x="338" y="27"/>
                  </a:lnTo>
                  <a:lnTo>
                    <a:pt x="329" y="24"/>
                  </a:lnTo>
                  <a:lnTo>
                    <a:pt x="320" y="20"/>
                  </a:lnTo>
                  <a:lnTo>
                    <a:pt x="309" y="22"/>
                  </a:lnTo>
                  <a:lnTo>
                    <a:pt x="298" y="22"/>
                  </a:lnTo>
                  <a:lnTo>
                    <a:pt x="285" y="9"/>
                  </a:lnTo>
                  <a:lnTo>
                    <a:pt x="272" y="0"/>
                  </a:lnTo>
                  <a:lnTo>
                    <a:pt x="266" y="3"/>
                  </a:lnTo>
                  <a:lnTo>
                    <a:pt x="261" y="9"/>
                  </a:lnTo>
                  <a:lnTo>
                    <a:pt x="257" y="11"/>
                  </a:lnTo>
                  <a:lnTo>
                    <a:pt x="253" y="13"/>
                  </a:lnTo>
                  <a:lnTo>
                    <a:pt x="250" y="11"/>
                  </a:lnTo>
                  <a:lnTo>
                    <a:pt x="242" y="7"/>
                  </a:lnTo>
                  <a:lnTo>
                    <a:pt x="235" y="9"/>
                  </a:lnTo>
                  <a:lnTo>
                    <a:pt x="228" y="7"/>
                  </a:lnTo>
                  <a:lnTo>
                    <a:pt x="215" y="2"/>
                  </a:lnTo>
                  <a:lnTo>
                    <a:pt x="203" y="0"/>
                  </a:lnTo>
                  <a:lnTo>
                    <a:pt x="194" y="3"/>
                  </a:lnTo>
                  <a:lnTo>
                    <a:pt x="187" y="7"/>
                  </a:lnTo>
                  <a:lnTo>
                    <a:pt x="179" y="7"/>
                  </a:lnTo>
                  <a:lnTo>
                    <a:pt x="172" y="9"/>
                  </a:lnTo>
                  <a:lnTo>
                    <a:pt x="165" y="14"/>
                  </a:lnTo>
                  <a:lnTo>
                    <a:pt x="157" y="18"/>
                  </a:lnTo>
                  <a:lnTo>
                    <a:pt x="150" y="16"/>
                  </a:lnTo>
                  <a:lnTo>
                    <a:pt x="144" y="14"/>
                  </a:lnTo>
                  <a:lnTo>
                    <a:pt x="139" y="18"/>
                  </a:lnTo>
                  <a:lnTo>
                    <a:pt x="133" y="24"/>
                  </a:lnTo>
                  <a:lnTo>
                    <a:pt x="128" y="20"/>
                  </a:lnTo>
                  <a:lnTo>
                    <a:pt x="124" y="14"/>
                  </a:lnTo>
                  <a:lnTo>
                    <a:pt x="122" y="13"/>
                  </a:lnTo>
                  <a:lnTo>
                    <a:pt x="119" y="11"/>
                  </a:lnTo>
                  <a:lnTo>
                    <a:pt x="117" y="11"/>
                  </a:lnTo>
                  <a:lnTo>
                    <a:pt x="113" y="11"/>
                  </a:lnTo>
                  <a:lnTo>
                    <a:pt x="111" y="13"/>
                  </a:lnTo>
                  <a:lnTo>
                    <a:pt x="109" y="16"/>
                  </a:lnTo>
                  <a:lnTo>
                    <a:pt x="109" y="18"/>
                  </a:lnTo>
                  <a:lnTo>
                    <a:pt x="111" y="22"/>
                  </a:lnTo>
                  <a:lnTo>
                    <a:pt x="115" y="27"/>
                  </a:lnTo>
                  <a:lnTo>
                    <a:pt x="117" y="31"/>
                  </a:lnTo>
                  <a:lnTo>
                    <a:pt x="111" y="33"/>
                  </a:lnTo>
                  <a:lnTo>
                    <a:pt x="106" y="33"/>
                  </a:lnTo>
                  <a:lnTo>
                    <a:pt x="102" y="33"/>
                  </a:lnTo>
                  <a:lnTo>
                    <a:pt x="102" y="37"/>
                  </a:lnTo>
                  <a:lnTo>
                    <a:pt x="104" y="42"/>
                  </a:lnTo>
                  <a:lnTo>
                    <a:pt x="104" y="51"/>
                  </a:lnTo>
                  <a:lnTo>
                    <a:pt x="98" y="46"/>
                  </a:lnTo>
                  <a:lnTo>
                    <a:pt x="91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3" y="42"/>
                  </a:lnTo>
                  <a:lnTo>
                    <a:pt x="83" y="46"/>
                  </a:lnTo>
                  <a:lnTo>
                    <a:pt x="83" y="51"/>
                  </a:lnTo>
                  <a:lnTo>
                    <a:pt x="83" y="59"/>
                  </a:lnTo>
                  <a:lnTo>
                    <a:pt x="80" y="55"/>
                  </a:lnTo>
                  <a:lnTo>
                    <a:pt x="74" y="53"/>
                  </a:lnTo>
                  <a:lnTo>
                    <a:pt x="67" y="57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8" y="66"/>
                  </a:lnTo>
                  <a:lnTo>
                    <a:pt x="59" y="68"/>
                  </a:lnTo>
                  <a:lnTo>
                    <a:pt x="61" y="70"/>
                  </a:lnTo>
                  <a:lnTo>
                    <a:pt x="59" y="74"/>
                  </a:lnTo>
                  <a:lnTo>
                    <a:pt x="58" y="75"/>
                  </a:lnTo>
                  <a:lnTo>
                    <a:pt x="50" y="72"/>
                  </a:lnTo>
                  <a:lnTo>
                    <a:pt x="41" y="66"/>
                  </a:lnTo>
                  <a:lnTo>
                    <a:pt x="35" y="66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4" y="75"/>
                  </a:lnTo>
                  <a:lnTo>
                    <a:pt x="15" y="72"/>
                  </a:lnTo>
                  <a:lnTo>
                    <a:pt x="2" y="70"/>
                  </a:lnTo>
                  <a:lnTo>
                    <a:pt x="2" y="74"/>
                  </a:lnTo>
                  <a:lnTo>
                    <a:pt x="4" y="77"/>
                  </a:lnTo>
                  <a:lnTo>
                    <a:pt x="8" y="81"/>
                  </a:lnTo>
                  <a:lnTo>
                    <a:pt x="11" y="83"/>
                  </a:lnTo>
                  <a:lnTo>
                    <a:pt x="21" y="88"/>
                  </a:lnTo>
                  <a:lnTo>
                    <a:pt x="26" y="96"/>
                  </a:lnTo>
                  <a:lnTo>
                    <a:pt x="21" y="96"/>
                  </a:lnTo>
                  <a:lnTo>
                    <a:pt x="13" y="94"/>
                  </a:lnTo>
                  <a:lnTo>
                    <a:pt x="6" y="96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71" name="Freeform 13"/>
            <p:cNvSpPr>
              <a:spLocks/>
            </p:cNvSpPr>
            <p:nvPr/>
          </p:nvSpPr>
          <p:spPr bwMode="auto">
            <a:xfrm>
              <a:off x="4354497" y="1892520"/>
              <a:ext cx="350644" cy="236131"/>
            </a:xfrm>
            <a:custGeom>
              <a:avLst/>
              <a:gdLst>
                <a:gd name="T0" fmla="*/ 641 w 672"/>
                <a:gd name="T1" fmla="*/ 319 h 464"/>
                <a:gd name="T2" fmla="*/ 581 w 672"/>
                <a:gd name="T3" fmla="*/ 264 h 464"/>
                <a:gd name="T4" fmla="*/ 559 w 672"/>
                <a:gd name="T5" fmla="*/ 270 h 464"/>
                <a:gd name="T6" fmla="*/ 550 w 672"/>
                <a:gd name="T7" fmla="*/ 290 h 464"/>
                <a:gd name="T8" fmla="*/ 548 w 672"/>
                <a:gd name="T9" fmla="*/ 318 h 464"/>
                <a:gd name="T10" fmla="*/ 517 w 672"/>
                <a:gd name="T11" fmla="*/ 327 h 464"/>
                <a:gd name="T12" fmla="*/ 495 w 672"/>
                <a:gd name="T13" fmla="*/ 334 h 464"/>
                <a:gd name="T14" fmla="*/ 480 w 672"/>
                <a:gd name="T15" fmla="*/ 336 h 464"/>
                <a:gd name="T16" fmla="*/ 498 w 672"/>
                <a:gd name="T17" fmla="*/ 316 h 464"/>
                <a:gd name="T18" fmla="*/ 500 w 672"/>
                <a:gd name="T19" fmla="*/ 288 h 464"/>
                <a:gd name="T20" fmla="*/ 471 w 672"/>
                <a:gd name="T21" fmla="*/ 294 h 464"/>
                <a:gd name="T22" fmla="*/ 447 w 672"/>
                <a:gd name="T23" fmla="*/ 288 h 464"/>
                <a:gd name="T24" fmla="*/ 410 w 672"/>
                <a:gd name="T25" fmla="*/ 264 h 464"/>
                <a:gd name="T26" fmla="*/ 371 w 672"/>
                <a:gd name="T27" fmla="*/ 262 h 464"/>
                <a:gd name="T28" fmla="*/ 354 w 672"/>
                <a:gd name="T29" fmla="*/ 266 h 464"/>
                <a:gd name="T30" fmla="*/ 336 w 672"/>
                <a:gd name="T31" fmla="*/ 246 h 464"/>
                <a:gd name="T32" fmla="*/ 345 w 672"/>
                <a:gd name="T33" fmla="*/ 231 h 464"/>
                <a:gd name="T34" fmla="*/ 380 w 672"/>
                <a:gd name="T35" fmla="*/ 210 h 464"/>
                <a:gd name="T36" fmla="*/ 376 w 672"/>
                <a:gd name="T37" fmla="*/ 201 h 464"/>
                <a:gd name="T38" fmla="*/ 323 w 672"/>
                <a:gd name="T39" fmla="*/ 196 h 464"/>
                <a:gd name="T40" fmla="*/ 308 w 672"/>
                <a:gd name="T41" fmla="*/ 210 h 464"/>
                <a:gd name="T42" fmla="*/ 293 w 672"/>
                <a:gd name="T43" fmla="*/ 188 h 464"/>
                <a:gd name="T44" fmla="*/ 212 w 672"/>
                <a:gd name="T45" fmla="*/ 175 h 464"/>
                <a:gd name="T46" fmla="*/ 199 w 672"/>
                <a:gd name="T47" fmla="*/ 162 h 464"/>
                <a:gd name="T48" fmla="*/ 158 w 672"/>
                <a:gd name="T49" fmla="*/ 162 h 464"/>
                <a:gd name="T50" fmla="*/ 114 w 672"/>
                <a:gd name="T51" fmla="*/ 185 h 464"/>
                <a:gd name="T52" fmla="*/ 83 w 672"/>
                <a:gd name="T53" fmla="*/ 173 h 464"/>
                <a:gd name="T54" fmla="*/ 73 w 672"/>
                <a:gd name="T55" fmla="*/ 140 h 464"/>
                <a:gd name="T56" fmla="*/ 72 w 672"/>
                <a:gd name="T57" fmla="*/ 114 h 464"/>
                <a:gd name="T58" fmla="*/ 88 w 672"/>
                <a:gd name="T59" fmla="*/ 98 h 464"/>
                <a:gd name="T60" fmla="*/ 129 w 672"/>
                <a:gd name="T61" fmla="*/ 103 h 464"/>
                <a:gd name="T62" fmla="*/ 151 w 672"/>
                <a:gd name="T63" fmla="*/ 111 h 464"/>
                <a:gd name="T64" fmla="*/ 158 w 672"/>
                <a:gd name="T65" fmla="*/ 81 h 464"/>
                <a:gd name="T66" fmla="*/ 166 w 672"/>
                <a:gd name="T67" fmla="*/ 57 h 464"/>
                <a:gd name="T68" fmla="*/ 134 w 672"/>
                <a:gd name="T69" fmla="*/ 22 h 464"/>
                <a:gd name="T70" fmla="*/ 120 w 672"/>
                <a:gd name="T71" fmla="*/ 26 h 464"/>
                <a:gd name="T72" fmla="*/ 86 w 672"/>
                <a:gd name="T73" fmla="*/ 70 h 464"/>
                <a:gd name="T74" fmla="*/ 51 w 672"/>
                <a:gd name="T75" fmla="*/ 79 h 464"/>
                <a:gd name="T76" fmla="*/ 38 w 672"/>
                <a:gd name="T77" fmla="*/ 120 h 464"/>
                <a:gd name="T78" fmla="*/ 18 w 672"/>
                <a:gd name="T79" fmla="*/ 131 h 464"/>
                <a:gd name="T80" fmla="*/ 0 w 672"/>
                <a:gd name="T81" fmla="*/ 140 h 464"/>
                <a:gd name="T82" fmla="*/ 14 w 672"/>
                <a:gd name="T83" fmla="*/ 188 h 464"/>
                <a:gd name="T84" fmla="*/ 48 w 672"/>
                <a:gd name="T85" fmla="*/ 249 h 464"/>
                <a:gd name="T86" fmla="*/ 66 w 672"/>
                <a:gd name="T87" fmla="*/ 242 h 464"/>
                <a:gd name="T88" fmla="*/ 142 w 672"/>
                <a:gd name="T89" fmla="*/ 268 h 464"/>
                <a:gd name="T90" fmla="*/ 231 w 672"/>
                <a:gd name="T91" fmla="*/ 279 h 464"/>
                <a:gd name="T92" fmla="*/ 279 w 672"/>
                <a:gd name="T93" fmla="*/ 325 h 464"/>
                <a:gd name="T94" fmla="*/ 482 w 672"/>
                <a:gd name="T95" fmla="*/ 462 h 464"/>
                <a:gd name="T96" fmla="*/ 524 w 672"/>
                <a:gd name="T97" fmla="*/ 451 h 464"/>
                <a:gd name="T98" fmla="*/ 585 w 672"/>
                <a:gd name="T99" fmla="*/ 430 h 464"/>
                <a:gd name="T100" fmla="*/ 646 w 672"/>
                <a:gd name="T101" fmla="*/ 423 h 464"/>
                <a:gd name="T102" fmla="*/ 665 w 672"/>
                <a:gd name="T103" fmla="*/ 390 h 46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72"/>
                <a:gd name="T157" fmla="*/ 0 h 464"/>
                <a:gd name="T158" fmla="*/ 672 w 672"/>
                <a:gd name="T159" fmla="*/ 464 h 46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72" h="464">
                  <a:moveTo>
                    <a:pt x="672" y="392"/>
                  </a:moveTo>
                  <a:lnTo>
                    <a:pt x="666" y="375"/>
                  </a:lnTo>
                  <a:lnTo>
                    <a:pt x="659" y="356"/>
                  </a:lnTo>
                  <a:lnTo>
                    <a:pt x="650" y="338"/>
                  </a:lnTo>
                  <a:lnTo>
                    <a:pt x="641" y="319"/>
                  </a:lnTo>
                  <a:lnTo>
                    <a:pt x="622" y="303"/>
                  </a:lnTo>
                  <a:lnTo>
                    <a:pt x="600" y="283"/>
                  </a:lnTo>
                  <a:lnTo>
                    <a:pt x="591" y="270"/>
                  </a:lnTo>
                  <a:lnTo>
                    <a:pt x="585" y="264"/>
                  </a:lnTo>
                  <a:lnTo>
                    <a:pt x="581" y="264"/>
                  </a:lnTo>
                  <a:lnTo>
                    <a:pt x="578" y="264"/>
                  </a:lnTo>
                  <a:lnTo>
                    <a:pt x="574" y="266"/>
                  </a:lnTo>
                  <a:lnTo>
                    <a:pt x="572" y="270"/>
                  </a:lnTo>
                  <a:lnTo>
                    <a:pt x="565" y="268"/>
                  </a:lnTo>
                  <a:lnTo>
                    <a:pt x="559" y="270"/>
                  </a:lnTo>
                  <a:lnTo>
                    <a:pt x="557" y="270"/>
                  </a:lnTo>
                  <a:lnTo>
                    <a:pt x="556" y="273"/>
                  </a:lnTo>
                  <a:lnTo>
                    <a:pt x="556" y="277"/>
                  </a:lnTo>
                  <a:lnTo>
                    <a:pt x="554" y="283"/>
                  </a:lnTo>
                  <a:lnTo>
                    <a:pt x="550" y="290"/>
                  </a:lnTo>
                  <a:lnTo>
                    <a:pt x="545" y="299"/>
                  </a:lnTo>
                  <a:lnTo>
                    <a:pt x="545" y="303"/>
                  </a:lnTo>
                  <a:lnTo>
                    <a:pt x="548" y="305"/>
                  </a:lnTo>
                  <a:lnTo>
                    <a:pt x="550" y="308"/>
                  </a:lnTo>
                  <a:lnTo>
                    <a:pt x="548" y="318"/>
                  </a:lnTo>
                  <a:lnTo>
                    <a:pt x="543" y="323"/>
                  </a:lnTo>
                  <a:lnTo>
                    <a:pt x="539" y="327"/>
                  </a:lnTo>
                  <a:lnTo>
                    <a:pt x="533" y="331"/>
                  </a:lnTo>
                  <a:lnTo>
                    <a:pt x="526" y="334"/>
                  </a:lnTo>
                  <a:lnTo>
                    <a:pt x="517" y="327"/>
                  </a:lnTo>
                  <a:lnTo>
                    <a:pt x="504" y="319"/>
                  </a:lnTo>
                  <a:lnTo>
                    <a:pt x="500" y="321"/>
                  </a:lnTo>
                  <a:lnTo>
                    <a:pt x="497" y="325"/>
                  </a:lnTo>
                  <a:lnTo>
                    <a:pt x="495" y="329"/>
                  </a:lnTo>
                  <a:lnTo>
                    <a:pt x="495" y="334"/>
                  </a:lnTo>
                  <a:lnTo>
                    <a:pt x="493" y="338"/>
                  </a:lnTo>
                  <a:lnTo>
                    <a:pt x="491" y="342"/>
                  </a:lnTo>
                  <a:lnTo>
                    <a:pt x="487" y="343"/>
                  </a:lnTo>
                  <a:lnTo>
                    <a:pt x="484" y="342"/>
                  </a:lnTo>
                  <a:lnTo>
                    <a:pt x="480" y="336"/>
                  </a:lnTo>
                  <a:lnTo>
                    <a:pt x="480" y="331"/>
                  </a:lnTo>
                  <a:lnTo>
                    <a:pt x="480" y="327"/>
                  </a:lnTo>
                  <a:lnTo>
                    <a:pt x="484" y="323"/>
                  </a:lnTo>
                  <a:lnTo>
                    <a:pt x="491" y="318"/>
                  </a:lnTo>
                  <a:lnTo>
                    <a:pt x="498" y="316"/>
                  </a:lnTo>
                  <a:lnTo>
                    <a:pt x="497" y="305"/>
                  </a:lnTo>
                  <a:lnTo>
                    <a:pt x="498" y="297"/>
                  </a:lnTo>
                  <a:lnTo>
                    <a:pt x="504" y="295"/>
                  </a:lnTo>
                  <a:lnTo>
                    <a:pt x="504" y="292"/>
                  </a:lnTo>
                  <a:lnTo>
                    <a:pt x="500" y="288"/>
                  </a:lnTo>
                  <a:lnTo>
                    <a:pt x="493" y="286"/>
                  </a:lnTo>
                  <a:lnTo>
                    <a:pt x="482" y="286"/>
                  </a:lnTo>
                  <a:lnTo>
                    <a:pt x="478" y="288"/>
                  </a:lnTo>
                  <a:lnTo>
                    <a:pt x="474" y="292"/>
                  </a:lnTo>
                  <a:lnTo>
                    <a:pt x="471" y="294"/>
                  </a:lnTo>
                  <a:lnTo>
                    <a:pt x="469" y="290"/>
                  </a:lnTo>
                  <a:lnTo>
                    <a:pt x="465" y="288"/>
                  </a:lnTo>
                  <a:lnTo>
                    <a:pt x="461" y="286"/>
                  </a:lnTo>
                  <a:lnTo>
                    <a:pt x="456" y="286"/>
                  </a:lnTo>
                  <a:lnTo>
                    <a:pt x="447" y="288"/>
                  </a:lnTo>
                  <a:lnTo>
                    <a:pt x="436" y="290"/>
                  </a:lnTo>
                  <a:lnTo>
                    <a:pt x="428" y="284"/>
                  </a:lnTo>
                  <a:lnTo>
                    <a:pt x="421" y="275"/>
                  </a:lnTo>
                  <a:lnTo>
                    <a:pt x="417" y="270"/>
                  </a:lnTo>
                  <a:lnTo>
                    <a:pt x="410" y="264"/>
                  </a:lnTo>
                  <a:lnTo>
                    <a:pt x="402" y="260"/>
                  </a:lnTo>
                  <a:lnTo>
                    <a:pt x="389" y="257"/>
                  </a:lnTo>
                  <a:lnTo>
                    <a:pt x="382" y="257"/>
                  </a:lnTo>
                  <a:lnTo>
                    <a:pt x="376" y="258"/>
                  </a:lnTo>
                  <a:lnTo>
                    <a:pt x="371" y="262"/>
                  </a:lnTo>
                  <a:lnTo>
                    <a:pt x="367" y="264"/>
                  </a:lnTo>
                  <a:lnTo>
                    <a:pt x="364" y="270"/>
                  </a:lnTo>
                  <a:lnTo>
                    <a:pt x="358" y="271"/>
                  </a:lnTo>
                  <a:lnTo>
                    <a:pt x="356" y="270"/>
                  </a:lnTo>
                  <a:lnTo>
                    <a:pt x="354" y="266"/>
                  </a:lnTo>
                  <a:lnTo>
                    <a:pt x="352" y="258"/>
                  </a:lnTo>
                  <a:lnTo>
                    <a:pt x="351" y="251"/>
                  </a:lnTo>
                  <a:lnTo>
                    <a:pt x="347" y="249"/>
                  </a:lnTo>
                  <a:lnTo>
                    <a:pt x="340" y="247"/>
                  </a:lnTo>
                  <a:lnTo>
                    <a:pt x="336" y="246"/>
                  </a:lnTo>
                  <a:lnTo>
                    <a:pt x="334" y="244"/>
                  </a:lnTo>
                  <a:lnTo>
                    <a:pt x="332" y="238"/>
                  </a:lnTo>
                  <a:lnTo>
                    <a:pt x="332" y="231"/>
                  </a:lnTo>
                  <a:lnTo>
                    <a:pt x="341" y="233"/>
                  </a:lnTo>
                  <a:lnTo>
                    <a:pt x="345" y="231"/>
                  </a:lnTo>
                  <a:lnTo>
                    <a:pt x="347" y="225"/>
                  </a:lnTo>
                  <a:lnTo>
                    <a:pt x="351" y="218"/>
                  </a:lnTo>
                  <a:lnTo>
                    <a:pt x="360" y="214"/>
                  </a:lnTo>
                  <a:lnTo>
                    <a:pt x="373" y="205"/>
                  </a:lnTo>
                  <a:lnTo>
                    <a:pt x="380" y="210"/>
                  </a:lnTo>
                  <a:lnTo>
                    <a:pt x="388" y="212"/>
                  </a:lnTo>
                  <a:lnTo>
                    <a:pt x="389" y="209"/>
                  </a:lnTo>
                  <a:lnTo>
                    <a:pt x="388" y="205"/>
                  </a:lnTo>
                  <a:lnTo>
                    <a:pt x="384" y="203"/>
                  </a:lnTo>
                  <a:lnTo>
                    <a:pt x="376" y="201"/>
                  </a:lnTo>
                  <a:lnTo>
                    <a:pt x="365" y="199"/>
                  </a:lnTo>
                  <a:lnTo>
                    <a:pt x="351" y="198"/>
                  </a:lnTo>
                  <a:lnTo>
                    <a:pt x="336" y="192"/>
                  </a:lnTo>
                  <a:lnTo>
                    <a:pt x="325" y="190"/>
                  </a:lnTo>
                  <a:lnTo>
                    <a:pt x="323" y="196"/>
                  </a:lnTo>
                  <a:lnTo>
                    <a:pt x="321" y="205"/>
                  </a:lnTo>
                  <a:lnTo>
                    <a:pt x="321" y="207"/>
                  </a:lnTo>
                  <a:lnTo>
                    <a:pt x="317" y="210"/>
                  </a:lnTo>
                  <a:lnTo>
                    <a:pt x="314" y="212"/>
                  </a:lnTo>
                  <a:lnTo>
                    <a:pt x="308" y="210"/>
                  </a:lnTo>
                  <a:lnTo>
                    <a:pt x="308" y="205"/>
                  </a:lnTo>
                  <a:lnTo>
                    <a:pt x="310" y="201"/>
                  </a:lnTo>
                  <a:lnTo>
                    <a:pt x="310" y="196"/>
                  </a:lnTo>
                  <a:lnTo>
                    <a:pt x="306" y="190"/>
                  </a:lnTo>
                  <a:lnTo>
                    <a:pt x="293" y="188"/>
                  </a:lnTo>
                  <a:lnTo>
                    <a:pt x="280" y="188"/>
                  </a:lnTo>
                  <a:lnTo>
                    <a:pt x="271" y="181"/>
                  </a:lnTo>
                  <a:lnTo>
                    <a:pt x="264" y="177"/>
                  </a:lnTo>
                  <a:lnTo>
                    <a:pt x="247" y="175"/>
                  </a:lnTo>
                  <a:lnTo>
                    <a:pt x="212" y="175"/>
                  </a:lnTo>
                  <a:lnTo>
                    <a:pt x="206" y="173"/>
                  </a:lnTo>
                  <a:lnTo>
                    <a:pt x="205" y="172"/>
                  </a:lnTo>
                  <a:lnTo>
                    <a:pt x="203" y="170"/>
                  </a:lnTo>
                  <a:lnTo>
                    <a:pt x="201" y="168"/>
                  </a:lnTo>
                  <a:lnTo>
                    <a:pt x="199" y="162"/>
                  </a:lnTo>
                  <a:lnTo>
                    <a:pt x="197" y="159"/>
                  </a:lnTo>
                  <a:lnTo>
                    <a:pt x="192" y="164"/>
                  </a:lnTo>
                  <a:lnTo>
                    <a:pt x="184" y="172"/>
                  </a:lnTo>
                  <a:lnTo>
                    <a:pt x="170" y="168"/>
                  </a:lnTo>
                  <a:lnTo>
                    <a:pt x="158" y="162"/>
                  </a:lnTo>
                  <a:lnTo>
                    <a:pt x="147" y="170"/>
                  </a:lnTo>
                  <a:lnTo>
                    <a:pt x="136" y="177"/>
                  </a:lnTo>
                  <a:lnTo>
                    <a:pt x="129" y="181"/>
                  </a:lnTo>
                  <a:lnTo>
                    <a:pt x="123" y="183"/>
                  </a:lnTo>
                  <a:lnTo>
                    <a:pt x="114" y="185"/>
                  </a:lnTo>
                  <a:lnTo>
                    <a:pt x="107" y="186"/>
                  </a:lnTo>
                  <a:lnTo>
                    <a:pt x="98" y="185"/>
                  </a:lnTo>
                  <a:lnTo>
                    <a:pt x="92" y="181"/>
                  </a:lnTo>
                  <a:lnTo>
                    <a:pt x="86" y="177"/>
                  </a:lnTo>
                  <a:lnTo>
                    <a:pt x="83" y="173"/>
                  </a:lnTo>
                  <a:lnTo>
                    <a:pt x="75" y="166"/>
                  </a:lnTo>
                  <a:lnTo>
                    <a:pt x="68" y="159"/>
                  </a:lnTo>
                  <a:lnTo>
                    <a:pt x="68" y="153"/>
                  </a:lnTo>
                  <a:lnTo>
                    <a:pt x="70" y="148"/>
                  </a:lnTo>
                  <a:lnTo>
                    <a:pt x="73" y="140"/>
                  </a:lnTo>
                  <a:lnTo>
                    <a:pt x="77" y="133"/>
                  </a:lnTo>
                  <a:lnTo>
                    <a:pt x="75" y="127"/>
                  </a:lnTo>
                  <a:lnTo>
                    <a:pt x="72" y="122"/>
                  </a:lnTo>
                  <a:lnTo>
                    <a:pt x="72" y="118"/>
                  </a:lnTo>
                  <a:lnTo>
                    <a:pt x="72" y="114"/>
                  </a:lnTo>
                  <a:lnTo>
                    <a:pt x="72" y="111"/>
                  </a:lnTo>
                  <a:lnTo>
                    <a:pt x="75" y="105"/>
                  </a:lnTo>
                  <a:lnTo>
                    <a:pt x="79" y="101"/>
                  </a:lnTo>
                  <a:lnTo>
                    <a:pt x="83" y="100"/>
                  </a:lnTo>
                  <a:lnTo>
                    <a:pt x="88" y="98"/>
                  </a:lnTo>
                  <a:lnTo>
                    <a:pt x="94" y="100"/>
                  </a:lnTo>
                  <a:lnTo>
                    <a:pt x="107" y="96"/>
                  </a:lnTo>
                  <a:lnTo>
                    <a:pt x="114" y="94"/>
                  </a:lnTo>
                  <a:lnTo>
                    <a:pt x="122" y="98"/>
                  </a:lnTo>
                  <a:lnTo>
                    <a:pt x="129" y="103"/>
                  </a:lnTo>
                  <a:lnTo>
                    <a:pt x="131" y="107"/>
                  </a:lnTo>
                  <a:lnTo>
                    <a:pt x="136" y="111"/>
                  </a:lnTo>
                  <a:lnTo>
                    <a:pt x="140" y="116"/>
                  </a:lnTo>
                  <a:lnTo>
                    <a:pt x="146" y="118"/>
                  </a:lnTo>
                  <a:lnTo>
                    <a:pt x="151" y="111"/>
                  </a:lnTo>
                  <a:lnTo>
                    <a:pt x="153" y="100"/>
                  </a:lnTo>
                  <a:lnTo>
                    <a:pt x="155" y="98"/>
                  </a:lnTo>
                  <a:lnTo>
                    <a:pt x="157" y="90"/>
                  </a:lnTo>
                  <a:lnTo>
                    <a:pt x="158" y="81"/>
                  </a:lnTo>
                  <a:lnTo>
                    <a:pt x="158" y="76"/>
                  </a:lnTo>
                  <a:lnTo>
                    <a:pt x="158" y="70"/>
                  </a:lnTo>
                  <a:lnTo>
                    <a:pt x="160" y="64"/>
                  </a:lnTo>
                  <a:lnTo>
                    <a:pt x="164" y="61"/>
                  </a:lnTo>
                  <a:lnTo>
                    <a:pt x="166" y="57"/>
                  </a:lnTo>
                  <a:lnTo>
                    <a:pt x="166" y="55"/>
                  </a:lnTo>
                  <a:lnTo>
                    <a:pt x="162" y="46"/>
                  </a:lnTo>
                  <a:lnTo>
                    <a:pt x="155" y="37"/>
                  </a:lnTo>
                  <a:lnTo>
                    <a:pt x="144" y="29"/>
                  </a:lnTo>
                  <a:lnTo>
                    <a:pt x="134" y="22"/>
                  </a:lnTo>
                  <a:lnTo>
                    <a:pt x="131" y="11"/>
                  </a:lnTo>
                  <a:lnTo>
                    <a:pt x="129" y="0"/>
                  </a:lnTo>
                  <a:lnTo>
                    <a:pt x="125" y="5"/>
                  </a:lnTo>
                  <a:lnTo>
                    <a:pt x="122" y="15"/>
                  </a:lnTo>
                  <a:lnTo>
                    <a:pt x="120" y="26"/>
                  </a:lnTo>
                  <a:lnTo>
                    <a:pt x="120" y="37"/>
                  </a:lnTo>
                  <a:lnTo>
                    <a:pt x="110" y="46"/>
                  </a:lnTo>
                  <a:lnTo>
                    <a:pt x="103" y="50"/>
                  </a:lnTo>
                  <a:lnTo>
                    <a:pt x="96" y="61"/>
                  </a:lnTo>
                  <a:lnTo>
                    <a:pt x="86" y="70"/>
                  </a:lnTo>
                  <a:lnTo>
                    <a:pt x="77" y="68"/>
                  </a:lnTo>
                  <a:lnTo>
                    <a:pt x="70" y="66"/>
                  </a:lnTo>
                  <a:lnTo>
                    <a:pt x="64" y="72"/>
                  </a:lnTo>
                  <a:lnTo>
                    <a:pt x="61" y="76"/>
                  </a:lnTo>
                  <a:lnTo>
                    <a:pt x="51" y="79"/>
                  </a:lnTo>
                  <a:lnTo>
                    <a:pt x="44" y="83"/>
                  </a:lnTo>
                  <a:lnTo>
                    <a:pt x="42" y="96"/>
                  </a:lnTo>
                  <a:lnTo>
                    <a:pt x="44" y="109"/>
                  </a:lnTo>
                  <a:lnTo>
                    <a:pt x="42" y="114"/>
                  </a:lnTo>
                  <a:lnTo>
                    <a:pt x="38" y="120"/>
                  </a:lnTo>
                  <a:lnTo>
                    <a:pt x="35" y="122"/>
                  </a:lnTo>
                  <a:lnTo>
                    <a:pt x="29" y="124"/>
                  </a:lnTo>
                  <a:lnTo>
                    <a:pt x="22" y="125"/>
                  </a:lnTo>
                  <a:lnTo>
                    <a:pt x="20" y="127"/>
                  </a:lnTo>
                  <a:lnTo>
                    <a:pt x="18" y="131"/>
                  </a:lnTo>
                  <a:lnTo>
                    <a:pt x="16" y="138"/>
                  </a:lnTo>
                  <a:lnTo>
                    <a:pt x="14" y="140"/>
                  </a:lnTo>
                  <a:lnTo>
                    <a:pt x="9" y="142"/>
                  </a:lnTo>
                  <a:lnTo>
                    <a:pt x="5" y="140"/>
                  </a:lnTo>
                  <a:lnTo>
                    <a:pt x="0" y="140"/>
                  </a:lnTo>
                  <a:lnTo>
                    <a:pt x="0" y="151"/>
                  </a:lnTo>
                  <a:lnTo>
                    <a:pt x="1" y="164"/>
                  </a:lnTo>
                  <a:lnTo>
                    <a:pt x="5" y="172"/>
                  </a:lnTo>
                  <a:lnTo>
                    <a:pt x="9" y="179"/>
                  </a:lnTo>
                  <a:lnTo>
                    <a:pt x="14" y="188"/>
                  </a:lnTo>
                  <a:lnTo>
                    <a:pt x="22" y="198"/>
                  </a:lnTo>
                  <a:lnTo>
                    <a:pt x="31" y="225"/>
                  </a:lnTo>
                  <a:lnTo>
                    <a:pt x="38" y="244"/>
                  </a:lnTo>
                  <a:lnTo>
                    <a:pt x="42" y="247"/>
                  </a:lnTo>
                  <a:lnTo>
                    <a:pt x="48" y="249"/>
                  </a:lnTo>
                  <a:lnTo>
                    <a:pt x="55" y="251"/>
                  </a:lnTo>
                  <a:lnTo>
                    <a:pt x="64" y="251"/>
                  </a:lnTo>
                  <a:lnTo>
                    <a:pt x="62" y="246"/>
                  </a:lnTo>
                  <a:lnTo>
                    <a:pt x="61" y="242"/>
                  </a:lnTo>
                  <a:lnTo>
                    <a:pt x="66" y="242"/>
                  </a:lnTo>
                  <a:lnTo>
                    <a:pt x="75" y="242"/>
                  </a:lnTo>
                  <a:lnTo>
                    <a:pt x="90" y="251"/>
                  </a:lnTo>
                  <a:lnTo>
                    <a:pt x="107" y="264"/>
                  </a:lnTo>
                  <a:lnTo>
                    <a:pt x="123" y="264"/>
                  </a:lnTo>
                  <a:lnTo>
                    <a:pt x="142" y="268"/>
                  </a:lnTo>
                  <a:lnTo>
                    <a:pt x="160" y="271"/>
                  </a:lnTo>
                  <a:lnTo>
                    <a:pt x="181" y="275"/>
                  </a:lnTo>
                  <a:lnTo>
                    <a:pt x="199" y="279"/>
                  </a:lnTo>
                  <a:lnTo>
                    <a:pt x="216" y="281"/>
                  </a:lnTo>
                  <a:lnTo>
                    <a:pt x="231" y="279"/>
                  </a:lnTo>
                  <a:lnTo>
                    <a:pt x="243" y="277"/>
                  </a:lnTo>
                  <a:lnTo>
                    <a:pt x="247" y="288"/>
                  </a:lnTo>
                  <a:lnTo>
                    <a:pt x="255" y="299"/>
                  </a:lnTo>
                  <a:lnTo>
                    <a:pt x="266" y="312"/>
                  </a:lnTo>
                  <a:lnTo>
                    <a:pt x="279" y="325"/>
                  </a:lnTo>
                  <a:lnTo>
                    <a:pt x="312" y="353"/>
                  </a:lnTo>
                  <a:lnTo>
                    <a:pt x="347" y="379"/>
                  </a:lnTo>
                  <a:lnTo>
                    <a:pt x="421" y="427"/>
                  </a:lnTo>
                  <a:lnTo>
                    <a:pt x="471" y="460"/>
                  </a:lnTo>
                  <a:lnTo>
                    <a:pt x="482" y="462"/>
                  </a:lnTo>
                  <a:lnTo>
                    <a:pt x="491" y="464"/>
                  </a:lnTo>
                  <a:lnTo>
                    <a:pt x="498" y="464"/>
                  </a:lnTo>
                  <a:lnTo>
                    <a:pt x="506" y="462"/>
                  </a:lnTo>
                  <a:lnTo>
                    <a:pt x="517" y="458"/>
                  </a:lnTo>
                  <a:lnTo>
                    <a:pt x="524" y="451"/>
                  </a:lnTo>
                  <a:lnTo>
                    <a:pt x="537" y="436"/>
                  </a:lnTo>
                  <a:lnTo>
                    <a:pt x="548" y="427"/>
                  </a:lnTo>
                  <a:lnTo>
                    <a:pt x="563" y="428"/>
                  </a:lnTo>
                  <a:lnTo>
                    <a:pt x="580" y="432"/>
                  </a:lnTo>
                  <a:lnTo>
                    <a:pt x="585" y="430"/>
                  </a:lnTo>
                  <a:lnTo>
                    <a:pt x="593" y="425"/>
                  </a:lnTo>
                  <a:lnTo>
                    <a:pt x="604" y="421"/>
                  </a:lnTo>
                  <a:lnTo>
                    <a:pt x="620" y="417"/>
                  </a:lnTo>
                  <a:lnTo>
                    <a:pt x="633" y="419"/>
                  </a:lnTo>
                  <a:lnTo>
                    <a:pt x="646" y="423"/>
                  </a:lnTo>
                  <a:lnTo>
                    <a:pt x="650" y="417"/>
                  </a:lnTo>
                  <a:lnTo>
                    <a:pt x="654" y="410"/>
                  </a:lnTo>
                  <a:lnTo>
                    <a:pt x="657" y="403"/>
                  </a:lnTo>
                  <a:lnTo>
                    <a:pt x="659" y="392"/>
                  </a:lnTo>
                  <a:lnTo>
                    <a:pt x="665" y="390"/>
                  </a:lnTo>
                  <a:lnTo>
                    <a:pt x="672" y="39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72" name="Freeform 14"/>
            <p:cNvSpPr>
              <a:spLocks noEditPoints="1"/>
            </p:cNvSpPr>
            <p:nvPr/>
          </p:nvSpPr>
          <p:spPr bwMode="auto">
            <a:xfrm>
              <a:off x="6555937" y="2397351"/>
              <a:ext cx="75138" cy="440201"/>
            </a:xfrm>
            <a:custGeom>
              <a:avLst/>
              <a:gdLst>
                <a:gd name="T0" fmla="*/ 52 w 144"/>
                <a:gd name="T1" fmla="*/ 20 h 865"/>
                <a:gd name="T2" fmla="*/ 40 w 144"/>
                <a:gd name="T3" fmla="*/ 31 h 865"/>
                <a:gd name="T4" fmla="*/ 20 w 144"/>
                <a:gd name="T5" fmla="*/ 48 h 865"/>
                <a:gd name="T6" fmla="*/ 61 w 144"/>
                <a:gd name="T7" fmla="*/ 67 h 865"/>
                <a:gd name="T8" fmla="*/ 55 w 144"/>
                <a:gd name="T9" fmla="*/ 91 h 865"/>
                <a:gd name="T10" fmla="*/ 79 w 144"/>
                <a:gd name="T11" fmla="*/ 100 h 865"/>
                <a:gd name="T12" fmla="*/ 96 w 144"/>
                <a:gd name="T13" fmla="*/ 59 h 865"/>
                <a:gd name="T14" fmla="*/ 85 w 144"/>
                <a:gd name="T15" fmla="*/ 9 h 865"/>
                <a:gd name="T16" fmla="*/ 87 w 144"/>
                <a:gd name="T17" fmla="*/ 203 h 865"/>
                <a:gd name="T18" fmla="*/ 81 w 144"/>
                <a:gd name="T19" fmla="*/ 218 h 865"/>
                <a:gd name="T20" fmla="*/ 96 w 144"/>
                <a:gd name="T21" fmla="*/ 224 h 865"/>
                <a:gd name="T22" fmla="*/ 114 w 144"/>
                <a:gd name="T23" fmla="*/ 211 h 865"/>
                <a:gd name="T24" fmla="*/ 90 w 144"/>
                <a:gd name="T25" fmla="*/ 201 h 865"/>
                <a:gd name="T26" fmla="*/ 103 w 144"/>
                <a:gd name="T27" fmla="*/ 150 h 865"/>
                <a:gd name="T28" fmla="*/ 83 w 144"/>
                <a:gd name="T29" fmla="*/ 133 h 865"/>
                <a:gd name="T30" fmla="*/ 77 w 144"/>
                <a:gd name="T31" fmla="*/ 157 h 865"/>
                <a:gd name="T32" fmla="*/ 90 w 144"/>
                <a:gd name="T33" fmla="*/ 174 h 865"/>
                <a:gd name="T34" fmla="*/ 94 w 144"/>
                <a:gd name="T35" fmla="*/ 189 h 865"/>
                <a:gd name="T36" fmla="*/ 107 w 144"/>
                <a:gd name="T37" fmla="*/ 183 h 865"/>
                <a:gd name="T38" fmla="*/ 103 w 144"/>
                <a:gd name="T39" fmla="*/ 172 h 865"/>
                <a:gd name="T40" fmla="*/ 114 w 144"/>
                <a:gd name="T41" fmla="*/ 320 h 865"/>
                <a:gd name="T42" fmla="*/ 137 w 144"/>
                <a:gd name="T43" fmla="*/ 331 h 865"/>
                <a:gd name="T44" fmla="*/ 114 w 144"/>
                <a:gd name="T45" fmla="*/ 285 h 865"/>
                <a:gd name="T46" fmla="*/ 105 w 144"/>
                <a:gd name="T47" fmla="*/ 294 h 865"/>
                <a:gd name="T48" fmla="*/ 111 w 144"/>
                <a:gd name="T49" fmla="*/ 305 h 865"/>
                <a:gd name="T50" fmla="*/ 124 w 144"/>
                <a:gd name="T51" fmla="*/ 301 h 865"/>
                <a:gd name="T52" fmla="*/ 124 w 144"/>
                <a:gd name="T53" fmla="*/ 288 h 865"/>
                <a:gd name="T54" fmla="*/ 122 w 144"/>
                <a:gd name="T55" fmla="*/ 359 h 865"/>
                <a:gd name="T56" fmla="*/ 124 w 144"/>
                <a:gd name="T57" fmla="*/ 379 h 865"/>
                <a:gd name="T58" fmla="*/ 120 w 144"/>
                <a:gd name="T59" fmla="*/ 412 h 865"/>
                <a:gd name="T60" fmla="*/ 140 w 144"/>
                <a:gd name="T61" fmla="*/ 427 h 865"/>
                <a:gd name="T62" fmla="*/ 144 w 144"/>
                <a:gd name="T63" fmla="*/ 392 h 865"/>
                <a:gd name="T64" fmla="*/ 137 w 144"/>
                <a:gd name="T65" fmla="*/ 371 h 865"/>
                <a:gd name="T66" fmla="*/ 92 w 144"/>
                <a:gd name="T67" fmla="*/ 458 h 865"/>
                <a:gd name="T68" fmla="*/ 85 w 144"/>
                <a:gd name="T69" fmla="*/ 473 h 865"/>
                <a:gd name="T70" fmla="*/ 100 w 144"/>
                <a:gd name="T71" fmla="*/ 475 h 865"/>
                <a:gd name="T72" fmla="*/ 116 w 144"/>
                <a:gd name="T73" fmla="*/ 481 h 865"/>
                <a:gd name="T74" fmla="*/ 111 w 144"/>
                <a:gd name="T75" fmla="*/ 464 h 865"/>
                <a:gd name="T76" fmla="*/ 96 w 144"/>
                <a:gd name="T77" fmla="*/ 458 h 865"/>
                <a:gd name="T78" fmla="*/ 76 w 144"/>
                <a:gd name="T79" fmla="*/ 819 h 865"/>
                <a:gd name="T80" fmla="*/ 83 w 144"/>
                <a:gd name="T81" fmla="*/ 795 h 865"/>
                <a:gd name="T82" fmla="*/ 9 w 144"/>
                <a:gd name="T83" fmla="*/ 776 h 865"/>
                <a:gd name="T84" fmla="*/ 7 w 144"/>
                <a:gd name="T85" fmla="*/ 808 h 865"/>
                <a:gd name="T86" fmla="*/ 4 w 144"/>
                <a:gd name="T87" fmla="*/ 861 h 865"/>
                <a:gd name="T88" fmla="*/ 31 w 144"/>
                <a:gd name="T89" fmla="*/ 822 h 865"/>
                <a:gd name="T90" fmla="*/ 42 w 144"/>
                <a:gd name="T91" fmla="*/ 784 h 865"/>
                <a:gd name="T92" fmla="*/ 29 w 144"/>
                <a:gd name="T93" fmla="*/ 658 h 865"/>
                <a:gd name="T94" fmla="*/ 33 w 144"/>
                <a:gd name="T95" fmla="*/ 686 h 865"/>
                <a:gd name="T96" fmla="*/ 35 w 144"/>
                <a:gd name="T97" fmla="*/ 734 h 865"/>
                <a:gd name="T98" fmla="*/ 61 w 144"/>
                <a:gd name="T99" fmla="*/ 754 h 865"/>
                <a:gd name="T100" fmla="*/ 64 w 144"/>
                <a:gd name="T101" fmla="*/ 711 h 865"/>
                <a:gd name="T102" fmla="*/ 79 w 144"/>
                <a:gd name="T103" fmla="*/ 654 h 865"/>
                <a:gd name="T104" fmla="*/ 90 w 144"/>
                <a:gd name="T105" fmla="*/ 617 h 865"/>
                <a:gd name="T106" fmla="*/ 68 w 144"/>
                <a:gd name="T107" fmla="*/ 614 h 865"/>
                <a:gd name="T108" fmla="*/ 101 w 144"/>
                <a:gd name="T109" fmla="*/ 510 h 865"/>
                <a:gd name="T110" fmla="*/ 87 w 144"/>
                <a:gd name="T111" fmla="*/ 578 h 865"/>
                <a:gd name="T112" fmla="*/ 107 w 144"/>
                <a:gd name="T113" fmla="*/ 584 h 865"/>
                <a:gd name="T114" fmla="*/ 120 w 144"/>
                <a:gd name="T115" fmla="*/ 523 h 86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4"/>
                <a:gd name="T175" fmla="*/ 0 h 865"/>
                <a:gd name="T176" fmla="*/ 144 w 144"/>
                <a:gd name="T177" fmla="*/ 865 h 86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4" h="865">
                  <a:moveTo>
                    <a:pt x="61" y="0"/>
                  </a:moveTo>
                  <a:lnTo>
                    <a:pt x="63" y="13"/>
                  </a:lnTo>
                  <a:lnTo>
                    <a:pt x="63" y="17"/>
                  </a:lnTo>
                  <a:lnTo>
                    <a:pt x="61" y="17"/>
                  </a:lnTo>
                  <a:lnTo>
                    <a:pt x="57" y="17"/>
                  </a:lnTo>
                  <a:lnTo>
                    <a:pt x="53" y="19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6" y="26"/>
                  </a:lnTo>
                  <a:lnTo>
                    <a:pt x="46" y="30"/>
                  </a:lnTo>
                  <a:lnTo>
                    <a:pt x="46" y="33"/>
                  </a:lnTo>
                  <a:lnTo>
                    <a:pt x="46" y="35"/>
                  </a:lnTo>
                  <a:lnTo>
                    <a:pt x="42" y="33"/>
                  </a:lnTo>
                  <a:lnTo>
                    <a:pt x="40" y="31"/>
                  </a:lnTo>
                  <a:lnTo>
                    <a:pt x="37" y="31"/>
                  </a:lnTo>
                  <a:lnTo>
                    <a:pt x="35" y="31"/>
                  </a:lnTo>
                  <a:lnTo>
                    <a:pt x="31" y="31"/>
                  </a:lnTo>
                  <a:lnTo>
                    <a:pt x="28" y="33"/>
                  </a:lnTo>
                  <a:lnTo>
                    <a:pt x="26" y="35"/>
                  </a:lnTo>
                  <a:lnTo>
                    <a:pt x="20" y="41"/>
                  </a:lnTo>
                  <a:lnTo>
                    <a:pt x="20" y="48"/>
                  </a:lnTo>
                  <a:lnTo>
                    <a:pt x="26" y="54"/>
                  </a:lnTo>
                  <a:lnTo>
                    <a:pt x="31" y="54"/>
                  </a:lnTo>
                  <a:lnTo>
                    <a:pt x="33" y="52"/>
                  </a:lnTo>
                  <a:lnTo>
                    <a:pt x="42" y="48"/>
                  </a:lnTo>
                  <a:lnTo>
                    <a:pt x="50" y="44"/>
                  </a:lnTo>
                  <a:lnTo>
                    <a:pt x="55" y="56"/>
                  </a:lnTo>
                  <a:lnTo>
                    <a:pt x="61" y="67"/>
                  </a:lnTo>
                  <a:lnTo>
                    <a:pt x="61" y="68"/>
                  </a:lnTo>
                  <a:lnTo>
                    <a:pt x="57" y="74"/>
                  </a:lnTo>
                  <a:lnTo>
                    <a:pt x="55" y="81"/>
                  </a:lnTo>
                  <a:lnTo>
                    <a:pt x="55" y="83"/>
                  </a:lnTo>
                  <a:lnTo>
                    <a:pt x="53" y="87"/>
                  </a:lnTo>
                  <a:lnTo>
                    <a:pt x="55" y="91"/>
                  </a:lnTo>
                  <a:lnTo>
                    <a:pt x="57" y="94"/>
                  </a:lnTo>
                  <a:lnTo>
                    <a:pt x="59" y="98"/>
                  </a:lnTo>
                  <a:lnTo>
                    <a:pt x="63" y="102"/>
                  </a:lnTo>
                  <a:lnTo>
                    <a:pt x="68" y="104"/>
                  </a:lnTo>
                  <a:lnTo>
                    <a:pt x="74" y="104"/>
                  </a:lnTo>
                  <a:lnTo>
                    <a:pt x="77" y="102"/>
                  </a:lnTo>
                  <a:lnTo>
                    <a:pt x="79" y="100"/>
                  </a:lnTo>
                  <a:lnTo>
                    <a:pt x="81" y="96"/>
                  </a:lnTo>
                  <a:lnTo>
                    <a:pt x="83" y="92"/>
                  </a:lnTo>
                  <a:lnTo>
                    <a:pt x="85" y="87"/>
                  </a:lnTo>
                  <a:lnTo>
                    <a:pt x="87" y="78"/>
                  </a:lnTo>
                  <a:lnTo>
                    <a:pt x="90" y="67"/>
                  </a:lnTo>
                  <a:lnTo>
                    <a:pt x="92" y="65"/>
                  </a:lnTo>
                  <a:lnTo>
                    <a:pt x="96" y="59"/>
                  </a:lnTo>
                  <a:lnTo>
                    <a:pt x="90" y="50"/>
                  </a:lnTo>
                  <a:lnTo>
                    <a:pt x="85" y="39"/>
                  </a:lnTo>
                  <a:lnTo>
                    <a:pt x="79" y="28"/>
                  </a:lnTo>
                  <a:lnTo>
                    <a:pt x="90" y="31"/>
                  </a:lnTo>
                  <a:lnTo>
                    <a:pt x="88" y="17"/>
                  </a:lnTo>
                  <a:lnTo>
                    <a:pt x="87" y="13"/>
                  </a:lnTo>
                  <a:lnTo>
                    <a:pt x="85" y="9"/>
                  </a:lnTo>
                  <a:lnTo>
                    <a:pt x="83" y="7"/>
                  </a:lnTo>
                  <a:lnTo>
                    <a:pt x="81" y="6"/>
                  </a:lnTo>
                  <a:lnTo>
                    <a:pt x="77" y="4"/>
                  </a:lnTo>
                  <a:lnTo>
                    <a:pt x="74" y="4"/>
                  </a:lnTo>
                  <a:lnTo>
                    <a:pt x="61" y="0"/>
                  </a:lnTo>
                  <a:close/>
                  <a:moveTo>
                    <a:pt x="90" y="201"/>
                  </a:moveTo>
                  <a:lnTo>
                    <a:pt x="87" y="203"/>
                  </a:lnTo>
                  <a:lnTo>
                    <a:pt x="85" y="205"/>
                  </a:lnTo>
                  <a:lnTo>
                    <a:pt x="83" y="207"/>
                  </a:lnTo>
                  <a:lnTo>
                    <a:pt x="81" y="209"/>
                  </a:lnTo>
                  <a:lnTo>
                    <a:pt x="81" y="211"/>
                  </a:lnTo>
                  <a:lnTo>
                    <a:pt x="81" y="213"/>
                  </a:lnTo>
                  <a:lnTo>
                    <a:pt x="81" y="214"/>
                  </a:lnTo>
                  <a:lnTo>
                    <a:pt x="81" y="218"/>
                  </a:lnTo>
                  <a:lnTo>
                    <a:pt x="83" y="220"/>
                  </a:lnTo>
                  <a:lnTo>
                    <a:pt x="85" y="220"/>
                  </a:lnTo>
                  <a:lnTo>
                    <a:pt x="87" y="222"/>
                  </a:lnTo>
                  <a:lnTo>
                    <a:pt x="90" y="222"/>
                  </a:lnTo>
                  <a:lnTo>
                    <a:pt x="94" y="222"/>
                  </a:lnTo>
                  <a:lnTo>
                    <a:pt x="96" y="222"/>
                  </a:lnTo>
                  <a:lnTo>
                    <a:pt x="96" y="224"/>
                  </a:lnTo>
                  <a:lnTo>
                    <a:pt x="100" y="227"/>
                  </a:lnTo>
                  <a:lnTo>
                    <a:pt x="109" y="233"/>
                  </a:lnTo>
                  <a:lnTo>
                    <a:pt x="114" y="224"/>
                  </a:lnTo>
                  <a:lnTo>
                    <a:pt x="114" y="220"/>
                  </a:lnTo>
                  <a:lnTo>
                    <a:pt x="116" y="216"/>
                  </a:lnTo>
                  <a:lnTo>
                    <a:pt x="116" y="213"/>
                  </a:lnTo>
                  <a:lnTo>
                    <a:pt x="114" y="211"/>
                  </a:lnTo>
                  <a:lnTo>
                    <a:pt x="114" y="207"/>
                  </a:lnTo>
                  <a:lnTo>
                    <a:pt x="112" y="205"/>
                  </a:lnTo>
                  <a:lnTo>
                    <a:pt x="101" y="192"/>
                  </a:lnTo>
                  <a:lnTo>
                    <a:pt x="98" y="205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0" y="201"/>
                  </a:lnTo>
                  <a:close/>
                  <a:moveTo>
                    <a:pt x="98" y="170"/>
                  </a:moveTo>
                  <a:lnTo>
                    <a:pt x="96" y="170"/>
                  </a:lnTo>
                  <a:lnTo>
                    <a:pt x="101" y="163"/>
                  </a:lnTo>
                  <a:lnTo>
                    <a:pt x="103" y="157"/>
                  </a:lnTo>
                  <a:lnTo>
                    <a:pt x="103" y="155"/>
                  </a:lnTo>
                  <a:lnTo>
                    <a:pt x="103" y="152"/>
                  </a:lnTo>
                  <a:lnTo>
                    <a:pt x="103" y="150"/>
                  </a:lnTo>
                  <a:lnTo>
                    <a:pt x="103" y="146"/>
                  </a:lnTo>
                  <a:lnTo>
                    <a:pt x="101" y="144"/>
                  </a:lnTo>
                  <a:lnTo>
                    <a:pt x="100" y="142"/>
                  </a:lnTo>
                  <a:lnTo>
                    <a:pt x="98" y="141"/>
                  </a:lnTo>
                  <a:lnTo>
                    <a:pt x="94" y="137"/>
                  </a:lnTo>
                  <a:lnTo>
                    <a:pt x="88" y="135"/>
                  </a:lnTo>
                  <a:lnTo>
                    <a:pt x="83" y="133"/>
                  </a:lnTo>
                  <a:lnTo>
                    <a:pt x="79" y="139"/>
                  </a:lnTo>
                  <a:lnTo>
                    <a:pt x="77" y="141"/>
                  </a:lnTo>
                  <a:lnTo>
                    <a:pt x="77" y="144"/>
                  </a:lnTo>
                  <a:lnTo>
                    <a:pt x="77" y="148"/>
                  </a:lnTo>
                  <a:lnTo>
                    <a:pt x="77" y="152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9" y="161"/>
                  </a:lnTo>
                  <a:lnTo>
                    <a:pt x="81" y="165"/>
                  </a:lnTo>
                  <a:lnTo>
                    <a:pt x="83" y="166"/>
                  </a:lnTo>
                  <a:lnTo>
                    <a:pt x="85" y="168"/>
                  </a:lnTo>
                  <a:lnTo>
                    <a:pt x="87" y="170"/>
                  </a:lnTo>
                  <a:lnTo>
                    <a:pt x="92" y="172"/>
                  </a:lnTo>
                  <a:lnTo>
                    <a:pt x="90" y="174"/>
                  </a:lnTo>
                  <a:lnTo>
                    <a:pt x="88" y="177"/>
                  </a:lnTo>
                  <a:lnTo>
                    <a:pt x="88" y="181"/>
                  </a:lnTo>
                  <a:lnTo>
                    <a:pt x="88" y="183"/>
                  </a:lnTo>
                  <a:lnTo>
                    <a:pt x="90" y="185"/>
                  </a:lnTo>
                  <a:lnTo>
                    <a:pt x="90" y="187"/>
                  </a:lnTo>
                  <a:lnTo>
                    <a:pt x="92" y="187"/>
                  </a:lnTo>
                  <a:lnTo>
                    <a:pt x="94" y="189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100" y="189"/>
                  </a:lnTo>
                  <a:lnTo>
                    <a:pt x="101" y="189"/>
                  </a:lnTo>
                  <a:lnTo>
                    <a:pt x="103" y="187"/>
                  </a:lnTo>
                  <a:lnTo>
                    <a:pt x="105" y="187"/>
                  </a:lnTo>
                  <a:lnTo>
                    <a:pt x="107" y="183"/>
                  </a:lnTo>
                  <a:lnTo>
                    <a:pt x="107" y="181"/>
                  </a:lnTo>
                  <a:lnTo>
                    <a:pt x="107" y="179"/>
                  </a:lnTo>
                  <a:lnTo>
                    <a:pt x="107" y="177"/>
                  </a:lnTo>
                  <a:lnTo>
                    <a:pt x="107" y="176"/>
                  </a:lnTo>
                  <a:lnTo>
                    <a:pt x="105" y="176"/>
                  </a:lnTo>
                  <a:lnTo>
                    <a:pt x="105" y="174"/>
                  </a:lnTo>
                  <a:lnTo>
                    <a:pt x="103" y="172"/>
                  </a:lnTo>
                  <a:lnTo>
                    <a:pt x="101" y="172"/>
                  </a:lnTo>
                  <a:lnTo>
                    <a:pt x="100" y="170"/>
                  </a:lnTo>
                  <a:lnTo>
                    <a:pt x="98" y="170"/>
                  </a:lnTo>
                  <a:close/>
                  <a:moveTo>
                    <a:pt x="124" y="311"/>
                  </a:moveTo>
                  <a:lnTo>
                    <a:pt x="118" y="312"/>
                  </a:lnTo>
                  <a:lnTo>
                    <a:pt x="116" y="316"/>
                  </a:lnTo>
                  <a:lnTo>
                    <a:pt x="114" y="320"/>
                  </a:lnTo>
                  <a:lnTo>
                    <a:pt x="114" y="323"/>
                  </a:lnTo>
                  <a:lnTo>
                    <a:pt x="114" y="327"/>
                  </a:lnTo>
                  <a:lnTo>
                    <a:pt x="118" y="331"/>
                  </a:lnTo>
                  <a:lnTo>
                    <a:pt x="120" y="335"/>
                  </a:lnTo>
                  <a:lnTo>
                    <a:pt x="125" y="336"/>
                  </a:lnTo>
                  <a:lnTo>
                    <a:pt x="131" y="335"/>
                  </a:lnTo>
                  <a:lnTo>
                    <a:pt x="137" y="331"/>
                  </a:lnTo>
                  <a:lnTo>
                    <a:pt x="138" y="325"/>
                  </a:lnTo>
                  <a:lnTo>
                    <a:pt x="137" y="322"/>
                  </a:lnTo>
                  <a:lnTo>
                    <a:pt x="135" y="318"/>
                  </a:lnTo>
                  <a:lnTo>
                    <a:pt x="133" y="314"/>
                  </a:lnTo>
                  <a:lnTo>
                    <a:pt x="129" y="312"/>
                  </a:lnTo>
                  <a:lnTo>
                    <a:pt x="124" y="311"/>
                  </a:lnTo>
                  <a:close/>
                  <a:moveTo>
                    <a:pt x="114" y="285"/>
                  </a:moveTo>
                  <a:lnTo>
                    <a:pt x="112" y="285"/>
                  </a:lnTo>
                  <a:lnTo>
                    <a:pt x="111" y="285"/>
                  </a:lnTo>
                  <a:lnTo>
                    <a:pt x="109" y="286"/>
                  </a:lnTo>
                  <a:lnTo>
                    <a:pt x="107" y="288"/>
                  </a:lnTo>
                  <a:lnTo>
                    <a:pt x="105" y="288"/>
                  </a:lnTo>
                  <a:lnTo>
                    <a:pt x="105" y="290"/>
                  </a:lnTo>
                  <a:lnTo>
                    <a:pt x="105" y="294"/>
                  </a:lnTo>
                  <a:lnTo>
                    <a:pt x="103" y="296"/>
                  </a:lnTo>
                  <a:lnTo>
                    <a:pt x="105" y="298"/>
                  </a:lnTo>
                  <a:lnTo>
                    <a:pt x="105" y="299"/>
                  </a:lnTo>
                  <a:lnTo>
                    <a:pt x="105" y="301"/>
                  </a:lnTo>
                  <a:lnTo>
                    <a:pt x="107" y="303"/>
                  </a:lnTo>
                  <a:lnTo>
                    <a:pt x="109" y="305"/>
                  </a:lnTo>
                  <a:lnTo>
                    <a:pt x="111" y="305"/>
                  </a:lnTo>
                  <a:lnTo>
                    <a:pt x="112" y="307"/>
                  </a:lnTo>
                  <a:lnTo>
                    <a:pt x="114" y="307"/>
                  </a:lnTo>
                  <a:lnTo>
                    <a:pt x="118" y="307"/>
                  </a:lnTo>
                  <a:lnTo>
                    <a:pt x="120" y="305"/>
                  </a:lnTo>
                  <a:lnTo>
                    <a:pt x="122" y="305"/>
                  </a:lnTo>
                  <a:lnTo>
                    <a:pt x="124" y="303"/>
                  </a:lnTo>
                  <a:lnTo>
                    <a:pt x="124" y="301"/>
                  </a:lnTo>
                  <a:lnTo>
                    <a:pt x="125" y="299"/>
                  </a:lnTo>
                  <a:lnTo>
                    <a:pt x="125" y="298"/>
                  </a:lnTo>
                  <a:lnTo>
                    <a:pt x="125" y="296"/>
                  </a:lnTo>
                  <a:lnTo>
                    <a:pt x="125" y="294"/>
                  </a:lnTo>
                  <a:lnTo>
                    <a:pt x="125" y="290"/>
                  </a:lnTo>
                  <a:lnTo>
                    <a:pt x="124" y="288"/>
                  </a:lnTo>
                  <a:lnTo>
                    <a:pt x="122" y="286"/>
                  </a:lnTo>
                  <a:lnTo>
                    <a:pt x="120" y="285"/>
                  </a:lnTo>
                  <a:lnTo>
                    <a:pt x="118" y="285"/>
                  </a:lnTo>
                  <a:lnTo>
                    <a:pt x="114" y="285"/>
                  </a:lnTo>
                  <a:close/>
                  <a:moveTo>
                    <a:pt x="127" y="357"/>
                  </a:moveTo>
                  <a:lnTo>
                    <a:pt x="124" y="357"/>
                  </a:lnTo>
                  <a:lnTo>
                    <a:pt x="122" y="359"/>
                  </a:lnTo>
                  <a:lnTo>
                    <a:pt x="120" y="360"/>
                  </a:lnTo>
                  <a:lnTo>
                    <a:pt x="118" y="364"/>
                  </a:lnTo>
                  <a:lnTo>
                    <a:pt x="118" y="368"/>
                  </a:lnTo>
                  <a:lnTo>
                    <a:pt x="118" y="373"/>
                  </a:lnTo>
                  <a:lnTo>
                    <a:pt x="120" y="377"/>
                  </a:lnTo>
                  <a:lnTo>
                    <a:pt x="122" y="377"/>
                  </a:lnTo>
                  <a:lnTo>
                    <a:pt x="124" y="379"/>
                  </a:lnTo>
                  <a:lnTo>
                    <a:pt x="125" y="381"/>
                  </a:lnTo>
                  <a:lnTo>
                    <a:pt x="122" y="383"/>
                  </a:lnTo>
                  <a:lnTo>
                    <a:pt x="120" y="388"/>
                  </a:lnTo>
                  <a:lnTo>
                    <a:pt x="120" y="394"/>
                  </a:lnTo>
                  <a:lnTo>
                    <a:pt x="120" y="397"/>
                  </a:lnTo>
                  <a:lnTo>
                    <a:pt x="120" y="401"/>
                  </a:lnTo>
                  <a:lnTo>
                    <a:pt x="120" y="412"/>
                  </a:lnTo>
                  <a:lnTo>
                    <a:pt x="120" y="423"/>
                  </a:lnTo>
                  <a:lnTo>
                    <a:pt x="118" y="434"/>
                  </a:lnTo>
                  <a:lnTo>
                    <a:pt x="129" y="432"/>
                  </a:lnTo>
                  <a:lnTo>
                    <a:pt x="133" y="431"/>
                  </a:lnTo>
                  <a:lnTo>
                    <a:pt x="135" y="431"/>
                  </a:lnTo>
                  <a:lnTo>
                    <a:pt x="138" y="429"/>
                  </a:lnTo>
                  <a:lnTo>
                    <a:pt x="140" y="427"/>
                  </a:lnTo>
                  <a:lnTo>
                    <a:pt x="140" y="423"/>
                  </a:lnTo>
                  <a:lnTo>
                    <a:pt x="142" y="421"/>
                  </a:lnTo>
                  <a:lnTo>
                    <a:pt x="144" y="416"/>
                  </a:lnTo>
                  <a:lnTo>
                    <a:pt x="144" y="410"/>
                  </a:lnTo>
                  <a:lnTo>
                    <a:pt x="144" y="405"/>
                  </a:lnTo>
                  <a:lnTo>
                    <a:pt x="144" y="399"/>
                  </a:lnTo>
                  <a:lnTo>
                    <a:pt x="144" y="392"/>
                  </a:lnTo>
                  <a:lnTo>
                    <a:pt x="142" y="383"/>
                  </a:lnTo>
                  <a:lnTo>
                    <a:pt x="135" y="381"/>
                  </a:lnTo>
                  <a:lnTo>
                    <a:pt x="131" y="379"/>
                  </a:lnTo>
                  <a:lnTo>
                    <a:pt x="133" y="377"/>
                  </a:lnTo>
                  <a:lnTo>
                    <a:pt x="135" y="377"/>
                  </a:lnTo>
                  <a:lnTo>
                    <a:pt x="137" y="373"/>
                  </a:lnTo>
                  <a:lnTo>
                    <a:pt x="137" y="371"/>
                  </a:lnTo>
                  <a:lnTo>
                    <a:pt x="137" y="368"/>
                  </a:lnTo>
                  <a:lnTo>
                    <a:pt x="137" y="364"/>
                  </a:lnTo>
                  <a:lnTo>
                    <a:pt x="135" y="360"/>
                  </a:lnTo>
                  <a:lnTo>
                    <a:pt x="133" y="359"/>
                  </a:lnTo>
                  <a:lnTo>
                    <a:pt x="131" y="357"/>
                  </a:lnTo>
                  <a:lnTo>
                    <a:pt x="127" y="357"/>
                  </a:lnTo>
                  <a:close/>
                  <a:moveTo>
                    <a:pt x="92" y="458"/>
                  </a:moveTo>
                  <a:lnTo>
                    <a:pt x="90" y="458"/>
                  </a:lnTo>
                  <a:lnTo>
                    <a:pt x="88" y="460"/>
                  </a:lnTo>
                  <a:lnTo>
                    <a:pt x="87" y="460"/>
                  </a:lnTo>
                  <a:lnTo>
                    <a:pt x="85" y="464"/>
                  </a:lnTo>
                  <a:lnTo>
                    <a:pt x="83" y="468"/>
                  </a:lnTo>
                  <a:lnTo>
                    <a:pt x="85" y="471"/>
                  </a:lnTo>
                  <a:lnTo>
                    <a:pt x="85" y="473"/>
                  </a:lnTo>
                  <a:lnTo>
                    <a:pt x="87" y="475"/>
                  </a:lnTo>
                  <a:lnTo>
                    <a:pt x="88" y="477"/>
                  </a:lnTo>
                  <a:lnTo>
                    <a:pt x="90" y="479"/>
                  </a:lnTo>
                  <a:lnTo>
                    <a:pt x="92" y="479"/>
                  </a:lnTo>
                  <a:lnTo>
                    <a:pt x="96" y="479"/>
                  </a:lnTo>
                  <a:lnTo>
                    <a:pt x="98" y="477"/>
                  </a:lnTo>
                  <a:lnTo>
                    <a:pt x="100" y="475"/>
                  </a:lnTo>
                  <a:lnTo>
                    <a:pt x="101" y="479"/>
                  </a:lnTo>
                  <a:lnTo>
                    <a:pt x="103" y="482"/>
                  </a:lnTo>
                  <a:lnTo>
                    <a:pt x="105" y="484"/>
                  </a:lnTo>
                  <a:lnTo>
                    <a:pt x="109" y="484"/>
                  </a:lnTo>
                  <a:lnTo>
                    <a:pt x="111" y="484"/>
                  </a:lnTo>
                  <a:lnTo>
                    <a:pt x="114" y="482"/>
                  </a:lnTo>
                  <a:lnTo>
                    <a:pt x="116" y="481"/>
                  </a:lnTo>
                  <a:lnTo>
                    <a:pt x="116" y="479"/>
                  </a:lnTo>
                  <a:lnTo>
                    <a:pt x="118" y="477"/>
                  </a:lnTo>
                  <a:lnTo>
                    <a:pt x="118" y="473"/>
                  </a:lnTo>
                  <a:lnTo>
                    <a:pt x="118" y="469"/>
                  </a:lnTo>
                  <a:lnTo>
                    <a:pt x="116" y="466"/>
                  </a:lnTo>
                  <a:lnTo>
                    <a:pt x="114" y="464"/>
                  </a:lnTo>
                  <a:lnTo>
                    <a:pt x="111" y="464"/>
                  </a:lnTo>
                  <a:lnTo>
                    <a:pt x="109" y="462"/>
                  </a:lnTo>
                  <a:lnTo>
                    <a:pt x="105" y="464"/>
                  </a:lnTo>
                  <a:lnTo>
                    <a:pt x="103" y="464"/>
                  </a:lnTo>
                  <a:lnTo>
                    <a:pt x="101" y="466"/>
                  </a:lnTo>
                  <a:lnTo>
                    <a:pt x="100" y="462"/>
                  </a:lnTo>
                  <a:lnTo>
                    <a:pt x="98" y="460"/>
                  </a:lnTo>
                  <a:lnTo>
                    <a:pt x="96" y="458"/>
                  </a:lnTo>
                  <a:lnTo>
                    <a:pt x="92" y="458"/>
                  </a:lnTo>
                  <a:close/>
                  <a:moveTo>
                    <a:pt x="76" y="778"/>
                  </a:moveTo>
                  <a:lnTo>
                    <a:pt x="66" y="798"/>
                  </a:lnTo>
                  <a:lnTo>
                    <a:pt x="57" y="819"/>
                  </a:lnTo>
                  <a:lnTo>
                    <a:pt x="70" y="821"/>
                  </a:lnTo>
                  <a:lnTo>
                    <a:pt x="72" y="821"/>
                  </a:lnTo>
                  <a:lnTo>
                    <a:pt x="76" y="819"/>
                  </a:lnTo>
                  <a:lnTo>
                    <a:pt x="77" y="819"/>
                  </a:lnTo>
                  <a:lnTo>
                    <a:pt x="81" y="815"/>
                  </a:lnTo>
                  <a:lnTo>
                    <a:pt x="83" y="809"/>
                  </a:lnTo>
                  <a:lnTo>
                    <a:pt x="85" y="806"/>
                  </a:lnTo>
                  <a:lnTo>
                    <a:pt x="85" y="800"/>
                  </a:lnTo>
                  <a:lnTo>
                    <a:pt x="83" y="798"/>
                  </a:lnTo>
                  <a:lnTo>
                    <a:pt x="83" y="795"/>
                  </a:lnTo>
                  <a:lnTo>
                    <a:pt x="76" y="778"/>
                  </a:lnTo>
                  <a:close/>
                  <a:moveTo>
                    <a:pt x="44" y="772"/>
                  </a:moveTo>
                  <a:lnTo>
                    <a:pt x="37" y="772"/>
                  </a:lnTo>
                  <a:lnTo>
                    <a:pt x="29" y="772"/>
                  </a:lnTo>
                  <a:lnTo>
                    <a:pt x="22" y="772"/>
                  </a:lnTo>
                  <a:lnTo>
                    <a:pt x="15" y="774"/>
                  </a:lnTo>
                  <a:lnTo>
                    <a:pt x="9" y="776"/>
                  </a:lnTo>
                  <a:lnTo>
                    <a:pt x="5" y="778"/>
                  </a:lnTo>
                  <a:lnTo>
                    <a:pt x="2" y="782"/>
                  </a:lnTo>
                  <a:lnTo>
                    <a:pt x="0" y="787"/>
                  </a:lnTo>
                  <a:lnTo>
                    <a:pt x="2" y="793"/>
                  </a:lnTo>
                  <a:lnTo>
                    <a:pt x="4" y="798"/>
                  </a:lnTo>
                  <a:lnTo>
                    <a:pt x="5" y="804"/>
                  </a:lnTo>
                  <a:lnTo>
                    <a:pt x="7" y="808"/>
                  </a:lnTo>
                  <a:lnTo>
                    <a:pt x="7" y="811"/>
                  </a:lnTo>
                  <a:lnTo>
                    <a:pt x="7" y="817"/>
                  </a:lnTo>
                  <a:lnTo>
                    <a:pt x="4" y="833"/>
                  </a:lnTo>
                  <a:lnTo>
                    <a:pt x="2" y="848"/>
                  </a:lnTo>
                  <a:lnTo>
                    <a:pt x="2" y="854"/>
                  </a:lnTo>
                  <a:lnTo>
                    <a:pt x="2" y="857"/>
                  </a:lnTo>
                  <a:lnTo>
                    <a:pt x="4" y="861"/>
                  </a:lnTo>
                  <a:lnTo>
                    <a:pt x="7" y="865"/>
                  </a:lnTo>
                  <a:lnTo>
                    <a:pt x="13" y="865"/>
                  </a:lnTo>
                  <a:lnTo>
                    <a:pt x="20" y="865"/>
                  </a:lnTo>
                  <a:lnTo>
                    <a:pt x="24" y="859"/>
                  </a:lnTo>
                  <a:lnTo>
                    <a:pt x="28" y="846"/>
                  </a:lnTo>
                  <a:lnTo>
                    <a:pt x="29" y="833"/>
                  </a:lnTo>
                  <a:lnTo>
                    <a:pt x="31" y="822"/>
                  </a:lnTo>
                  <a:lnTo>
                    <a:pt x="33" y="811"/>
                  </a:lnTo>
                  <a:lnTo>
                    <a:pt x="33" y="808"/>
                  </a:lnTo>
                  <a:lnTo>
                    <a:pt x="33" y="806"/>
                  </a:lnTo>
                  <a:lnTo>
                    <a:pt x="37" y="798"/>
                  </a:lnTo>
                  <a:lnTo>
                    <a:pt x="40" y="793"/>
                  </a:lnTo>
                  <a:lnTo>
                    <a:pt x="42" y="787"/>
                  </a:lnTo>
                  <a:lnTo>
                    <a:pt x="42" y="784"/>
                  </a:lnTo>
                  <a:lnTo>
                    <a:pt x="44" y="772"/>
                  </a:lnTo>
                  <a:close/>
                  <a:moveTo>
                    <a:pt x="57" y="641"/>
                  </a:moveTo>
                  <a:lnTo>
                    <a:pt x="53" y="643"/>
                  </a:lnTo>
                  <a:lnTo>
                    <a:pt x="48" y="645"/>
                  </a:lnTo>
                  <a:lnTo>
                    <a:pt x="42" y="649"/>
                  </a:lnTo>
                  <a:lnTo>
                    <a:pt x="37" y="652"/>
                  </a:lnTo>
                  <a:lnTo>
                    <a:pt x="29" y="658"/>
                  </a:lnTo>
                  <a:lnTo>
                    <a:pt x="35" y="665"/>
                  </a:lnTo>
                  <a:lnTo>
                    <a:pt x="40" y="673"/>
                  </a:lnTo>
                  <a:lnTo>
                    <a:pt x="40" y="675"/>
                  </a:lnTo>
                  <a:lnTo>
                    <a:pt x="39" y="678"/>
                  </a:lnTo>
                  <a:lnTo>
                    <a:pt x="35" y="682"/>
                  </a:lnTo>
                  <a:lnTo>
                    <a:pt x="33" y="686"/>
                  </a:lnTo>
                  <a:lnTo>
                    <a:pt x="33" y="687"/>
                  </a:lnTo>
                  <a:lnTo>
                    <a:pt x="31" y="691"/>
                  </a:lnTo>
                  <a:lnTo>
                    <a:pt x="31" y="693"/>
                  </a:lnTo>
                  <a:lnTo>
                    <a:pt x="31" y="699"/>
                  </a:lnTo>
                  <a:lnTo>
                    <a:pt x="33" y="708"/>
                  </a:lnTo>
                  <a:lnTo>
                    <a:pt x="37" y="715"/>
                  </a:lnTo>
                  <a:lnTo>
                    <a:pt x="35" y="734"/>
                  </a:lnTo>
                  <a:lnTo>
                    <a:pt x="39" y="752"/>
                  </a:lnTo>
                  <a:lnTo>
                    <a:pt x="40" y="756"/>
                  </a:lnTo>
                  <a:lnTo>
                    <a:pt x="42" y="760"/>
                  </a:lnTo>
                  <a:lnTo>
                    <a:pt x="48" y="769"/>
                  </a:lnTo>
                  <a:lnTo>
                    <a:pt x="57" y="761"/>
                  </a:lnTo>
                  <a:lnTo>
                    <a:pt x="59" y="758"/>
                  </a:lnTo>
                  <a:lnTo>
                    <a:pt x="61" y="754"/>
                  </a:lnTo>
                  <a:lnTo>
                    <a:pt x="63" y="750"/>
                  </a:lnTo>
                  <a:lnTo>
                    <a:pt x="64" y="748"/>
                  </a:lnTo>
                  <a:lnTo>
                    <a:pt x="66" y="743"/>
                  </a:lnTo>
                  <a:lnTo>
                    <a:pt x="66" y="737"/>
                  </a:lnTo>
                  <a:lnTo>
                    <a:pt x="66" y="732"/>
                  </a:lnTo>
                  <a:lnTo>
                    <a:pt x="66" y="724"/>
                  </a:lnTo>
                  <a:lnTo>
                    <a:pt x="64" y="711"/>
                  </a:lnTo>
                  <a:lnTo>
                    <a:pt x="63" y="699"/>
                  </a:lnTo>
                  <a:lnTo>
                    <a:pt x="68" y="691"/>
                  </a:lnTo>
                  <a:lnTo>
                    <a:pt x="72" y="684"/>
                  </a:lnTo>
                  <a:lnTo>
                    <a:pt x="74" y="678"/>
                  </a:lnTo>
                  <a:lnTo>
                    <a:pt x="76" y="673"/>
                  </a:lnTo>
                  <a:lnTo>
                    <a:pt x="77" y="663"/>
                  </a:lnTo>
                  <a:lnTo>
                    <a:pt x="79" y="654"/>
                  </a:lnTo>
                  <a:lnTo>
                    <a:pt x="85" y="647"/>
                  </a:lnTo>
                  <a:lnTo>
                    <a:pt x="90" y="638"/>
                  </a:lnTo>
                  <a:lnTo>
                    <a:pt x="92" y="634"/>
                  </a:lnTo>
                  <a:lnTo>
                    <a:pt x="92" y="630"/>
                  </a:lnTo>
                  <a:lnTo>
                    <a:pt x="92" y="625"/>
                  </a:lnTo>
                  <a:lnTo>
                    <a:pt x="92" y="621"/>
                  </a:lnTo>
                  <a:lnTo>
                    <a:pt x="90" y="617"/>
                  </a:lnTo>
                  <a:lnTo>
                    <a:pt x="88" y="614"/>
                  </a:lnTo>
                  <a:lnTo>
                    <a:pt x="85" y="610"/>
                  </a:lnTo>
                  <a:lnTo>
                    <a:pt x="81" y="610"/>
                  </a:lnTo>
                  <a:lnTo>
                    <a:pt x="77" y="610"/>
                  </a:lnTo>
                  <a:lnTo>
                    <a:pt x="74" y="610"/>
                  </a:lnTo>
                  <a:lnTo>
                    <a:pt x="70" y="612"/>
                  </a:lnTo>
                  <a:lnTo>
                    <a:pt x="68" y="614"/>
                  </a:lnTo>
                  <a:lnTo>
                    <a:pt x="66" y="615"/>
                  </a:lnTo>
                  <a:lnTo>
                    <a:pt x="63" y="621"/>
                  </a:lnTo>
                  <a:lnTo>
                    <a:pt x="59" y="641"/>
                  </a:lnTo>
                  <a:lnTo>
                    <a:pt x="57" y="641"/>
                  </a:lnTo>
                  <a:close/>
                  <a:moveTo>
                    <a:pt x="111" y="503"/>
                  </a:moveTo>
                  <a:lnTo>
                    <a:pt x="103" y="508"/>
                  </a:lnTo>
                  <a:lnTo>
                    <a:pt x="101" y="510"/>
                  </a:lnTo>
                  <a:lnTo>
                    <a:pt x="100" y="512"/>
                  </a:lnTo>
                  <a:lnTo>
                    <a:pt x="98" y="519"/>
                  </a:lnTo>
                  <a:lnTo>
                    <a:pt x="96" y="529"/>
                  </a:lnTo>
                  <a:lnTo>
                    <a:pt x="92" y="545"/>
                  </a:lnTo>
                  <a:lnTo>
                    <a:pt x="90" y="562"/>
                  </a:lnTo>
                  <a:lnTo>
                    <a:pt x="88" y="571"/>
                  </a:lnTo>
                  <a:lnTo>
                    <a:pt x="87" y="578"/>
                  </a:lnTo>
                  <a:lnTo>
                    <a:pt x="88" y="582"/>
                  </a:lnTo>
                  <a:lnTo>
                    <a:pt x="88" y="584"/>
                  </a:lnTo>
                  <a:lnTo>
                    <a:pt x="90" y="588"/>
                  </a:lnTo>
                  <a:lnTo>
                    <a:pt x="92" y="590"/>
                  </a:lnTo>
                  <a:lnTo>
                    <a:pt x="100" y="593"/>
                  </a:lnTo>
                  <a:lnTo>
                    <a:pt x="105" y="588"/>
                  </a:lnTo>
                  <a:lnTo>
                    <a:pt x="107" y="584"/>
                  </a:lnTo>
                  <a:lnTo>
                    <a:pt x="109" y="580"/>
                  </a:lnTo>
                  <a:lnTo>
                    <a:pt x="114" y="571"/>
                  </a:lnTo>
                  <a:lnTo>
                    <a:pt x="116" y="560"/>
                  </a:lnTo>
                  <a:lnTo>
                    <a:pt x="118" y="549"/>
                  </a:lnTo>
                  <a:lnTo>
                    <a:pt x="120" y="538"/>
                  </a:lnTo>
                  <a:lnTo>
                    <a:pt x="120" y="530"/>
                  </a:lnTo>
                  <a:lnTo>
                    <a:pt x="120" y="523"/>
                  </a:lnTo>
                  <a:lnTo>
                    <a:pt x="120" y="517"/>
                  </a:lnTo>
                  <a:lnTo>
                    <a:pt x="118" y="514"/>
                  </a:lnTo>
                  <a:lnTo>
                    <a:pt x="118" y="512"/>
                  </a:lnTo>
                  <a:lnTo>
                    <a:pt x="116" y="508"/>
                  </a:lnTo>
                  <a:lnTo>
                    <a:pt x="111" y="50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73" name="Freeform 15"/>
            <p:cNvSpPr>
              <a:spLocks/>
            </p:cNvSpPr>
            <p:nvPr/>
          </p:nvSpPr>
          <p:spPr bwMode="auto">
            <a:xfrm>
              <a:off x="6209989" y="2513890"/>
              <a:ext cx="282289" cy="362848"/>
            </a:xfrm>
            <a:custGeom>
              <a:avLst/>
              <a:gdLst>
                <a:gd name="T0" fmla="*/ 463 w 541"/>
                <a:gd name="T1" fmla="*/ 636 h 713"/>
                <a:gd name="T2" fmla="*/ 476 w 541"/>
                <a:gd name="T3" fmla="*/ 682 h 713"/>
                <a:gd name="T4" fmla="*/ 465 w 541"/>
                <a:gd name="T5" fmla="*/ 706 h 713"/>
                <a:gd name="T6" fmla="*/ 425 w 541"/>
                <a:gd name="T7" fmla="*/ 651 h 713"/>
                <a:gd name="T8" fmla="*/ 399 w 541"/>
                <a:gd name="T9" fmla="*/ 597 h 713"/>
                <a:gd name="T10" fmla="*/ 365 w 541"/>
                <a:gd name="T11" fmla="*/ 536 h 713"/>
                <a:gd name="T12" fmla="*/ 321 w 541"/>
                <a:gd name="T13" fmla="*/ 499 h 713"/>
                <a:gd name="T14" fmla="*/ 286 w 541"/>
                <a:gd name="T15" fmla="*/ 455 h 713"/>
                <a:gd name="T16" fmla="*/ 251 w 541"/>
                <a:gd name="T17" fmla="*/ 392 h 713"/>
                <a:gd name="T18" fmla="*/ 207 w 541"/>
                <a:gd name="T19" fmla="*/ 331 h 713"/>
                <a:gd name="T20" fmla="*/ 151 w 541"/>
                <a:gd name="T21" fmla="*/ 264 h 713"/>
                <a:gd name="T22" fmla="*/ 114 w 541"/>
                <a:gd name="T23" fmla="*/ 242 h 713"/>
                <a:gd name="T24" fmla="*/ 83 w 541"/>
                <a:gd name="T25" fmla="*/ 196 h 713"/>
                <a:gd name="T26" fmla="*/ 68 w 541"/>
                <a:gd name="T27" fmla="*/ 159 h 713"/>
                <a:gd name="T28" fmla="*/ 31 w 541"/>
                <a:gd name="T29" fmla="*/ 111 h 713"/>
                <a:gd name="T30" fmla="*/ 42 w 541"/>
                <a:gd name="T31" fmla="*/ 94 h 713"/>
                <a:gd name="T32" fmla="*/ 53 w 541"/>
                <a:gd name="T33" fmla="*/ 74 h 713"/>
                <a:gd name="T34" fmla="*/ 46 w 541"/>
                <a:gd name="T35" fmla="*/ 52 h 713"/>
                <a:gd name="T36" fmla="*/ 29 w 541"/>
                <a:gd name="T37" fmla="*/ 37 h 713"/>
                <a:gd name="T38" fmla="*/ 1 w 541"/>
                <a:gd name="T39" fmla="*/ 21 h 713"/>
                <a:gd name="T40" fmla="*/ 7 w 541"/>
                <a:gd name="T41" fmla="*/ 15 h 713"/>
                <a:gd name="T42" fmla="*/ 20 w 541"/>
                <a:gd name="T43" fmla="*/ 4 h 713"/>
                <a:gd name="T44" fmla="*/ 40 w 541"/>
                <a:gd name="T45" fmla="*/ 6 h 713"/>
                <a:gd name="T46" fmla="*/ 68 w 541"/>
                <a:gd name="T47" fmla="*/ 48 h 713"/>
                <a:gd name="T48" fmla="*/ 107 w 541"/>
                <a:gd name="T49" fmla="*/ 78 h 713"/>
                <a:gd name="T50" fmla="*/ 110 w 541"/>
                <a:gd name="T51" fmla="*/ 93 h 713"/>
                <a:gd name="T52" fmla="*/ 155 w 541"/>
                <a:gd name="T53" fmla="*/ 111 h 713"/>
                <a:gd name="T54" fmla="*/ 157 w 541"/>
                <a:gd name="T55" fmla="*/ 139 h 713"/>
                <a:gd name="T56" fmla="*/ 153 w 541"/>
                <a:gd name="T57" fmla="*/ 152 h 713"/>
                <a:gd name="T58" fmla="*/ 170 w 541"/>
                <a:gd name="T59" fmla="*/ 172 h 713"/>
                <a:gd name="T60" fmla="*/ 223 w 541"/>
                <a:gd name="T61" fmla="*/ 205 h 713"/>
                <a:gd name="T62" fmla="*/ 242 w 541"/>
                <a:gd name="T63" fmla="*/ 226 h 713"/>
                <a:gd name="T64" fmla="*/ 332 w 541"/>
                <a:gd name="T65" fmla="*/ 296 h 713"/>
                <a:gd name="T66" fmla="*/ 391 w 541"/>
                <a:gd name="T67" fmla="*/ 346 h 713"/>
                <a:gd name="T68" fmla="*/ 437 w 541"/>
                <a:gd name="T69" fmla="*/ 362 h 713"/>
                <a:gd name="T70" fmla="*/ 450 w 541"/>
                <a:gd name="T71" fmla="*/ 377 h 713"/>
                <a:gd name="T72" fmla="*/ 380 w 541"/>
                <a:gd name="T73" fmla="*/ 373 h 713"/>
                <a:gd name="T74" fmla="*/ 345 w 541"/>
                <a:gd name="T75" fmla="*/ 397 h 713"/>
                <a:gd name="T76" fmla="*/ 354 w 541"/>
                <a:gd name="T77" fmla="*/ 429 h 713"/>
                <a:gd name="T78" fmla="*/ 365 w 541"/>
                <a:gd name="T79" fmla="*/ 471 h 713"/>
                <a:gd name="T80" fmla="*/ 386 w 541"/>
                <a:gd name="T81" fmla="*/ 508 h 713"/>
                <a:gd name="T82" fmla="*/ 419 w 541"/>
                <a:gd name="T83" fmla="*/ 556 h 713"/>
                <a:gd name="T84" fmla="*/ 482 w 541"/>
                <a:gd name="T85" fmla="*/ 590 h 713"/>
                <a:gd name="T86" fmla="*/ 509 w 541"/>
                <a:gd name="T87" fmla="*/ 579 h 713"/>
                <a:gd name="T88" fmla="*/ 535 w 541"/>
                <a:gd name="T89" fmla="*/ 610 h 713"/>
                <a:gd name="T90" fmla="*/ 535 w 541"/>
                <a:gd name="T91" fmla="*/ 641 h 713"/>
                <a:gd name="T92" fmla="*/ 515 w 541"/>
                <a:gd name="T93" fmla="*/ 619 h 713"/>
                <a:gd name="T94" fmla="*/ 482 w 541"/>
                <a:gd name="T95" fmla="*/ 628 h 71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41"/>
                <a:gd name="T145" fmla="*/ 0 h 713"/>
                <a:gd name="T146" fmla="*/ 541 w 541"/>
                <a:gd name="T147" fmla="*/ 713 h 71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41" h="713">
                  <a:moveTo>
                    <a:pt x="469" y="630"/>
                  </a:moveTo>
                  <a:lnTo>
                    <a:pt x="467" y="632"/>
                  </a:lnTo>
                  <a:lnTo>
                    <a:pt x="465" y="634"/>
                  </a:lnTo>
                  <a:lnTo>
                    <a:pt x="463" y="636"/>
                  </a:lnTo>
                  <a:lnTo>
                    <a:pt x="463" y="640"/>
                  </a:lnTo>
                  <a:lnTo>
                    <a:pt x="465" y="647"/>
                  </a:lnTo>
                  <a:lnTo>
                    <a:pt x="467" y="656"/>
                  </a:lnTo>
                  <a:lnTo>
                    <a:pt x="476" y="682"/>
                  </a:lnTo>
                  <a:lnTo>
                    <a:pt x="485" y="713"/>
                  </a:lnTo>
                  <a:lnTo>
                    <a:pt x="478" y="713"/>
                  </a:lnTo>
                  <a:lnTo>
                    <a:pt x="473" y="710"/>
                  </a:lnTo>
                  <a:lnTo>
                    <a:pt x="465" y="706"/>
                  </a:lnTo>
                  <a:lnTo>
                    <a:pt x="458" y="699"/>
                  </a:lnTo>
                  <a:lnTo>
                    <a:pt x="445" y="686"/>
                  </a:lnTo>
                  <a:lnTo>
                    <a:pt x="428" y="673"/>
                  </a:lnTo>
                  <a:lnTo>
                    <a:pt x="425" y="651"/>
                  </a:lnTo>
                  <a:lnTo>
                    <a:pt x="419" y="634"/>
                  </a:lnTo>
                  <a:lnTo>
                    <a:pt x="415" y="621"/>
                  </a:lnTo>
                  <a:lnTo>
                    <a:pt x="412" y="614"/>
                  </a:lnTo>
                  <a:lnTo>
                    <a:pt x="399" y="597"/>
                  </a:lnTo>
                  <a:lnTo>
                    <a:pt x="375" y="571"/>
                  </a:lnTo>
                  <a:lnTo>
                    <a:pt x="371" y="560"/>
                  </a:lnTo>
                  <a:lnTo>
                    <a:pt x="369" y="547"/>
                  </a:lnTo>
                  <a:lnTo>
                    <a:pt x="365" y="536"/>
                  </a:lnTo>
                  <a:lnTo>
                    <a:pt x="358" y="527"/>
                  </a:lnTo>
                  <a:lnTo>
                    <a:pt x="345" y="514"/>
                  </a:lnTo>
                  <a:lnTo>
                    <a:pt x="330" y="505"/>
                  </a:lnTo>
                  <a:lnTo>
                    <a:pt x="321" y="499"/>
                  </a:lnTo>
                  <a:lnTo>
                    <a:pt x="314" y="494"/>
                  </a:lnTo>
                  <a:lnTo>
                    <a:pt x="306" y="486"/>
                  </a:lnTo>
                  <a:lnTo>
                    <a:pt x="299" y="479"/>
                  </a:lnTo>
                  <a:lnTo>
                    <a:pt x="286" y="455"/>
                  </a:lnTo>
                  <a:lnTo>
                    <a:pt x="277" y="433"/>
                  </a:lnTo>
                  <a:lnTo>
                    <a:pt x="271" y="422"/>
                  </a:lnTo>
                  <a:lnTo>
                    <a:pt x="262" y="407"/>
                  </a:lnTo>
                  <a:lnTo>
                    <a:pt x="251" y="392"/>
                  </a:lnTo>
                  <a:lnTo>
                    <a:pt x="238" y="373"/>
                  </a:lnTo>
                  <a:lnTo>
                    <a:pt x="223" y="359"/>
                  </a:lnTo>
                  <a:lnTo>
                    <a:pt x="214" y="344"/>
                  </a:lnTo>
                  <a:lnTo>
                    <a:pt x="207" y="331"/>
                  </a:lnTo>
                  <a:lnTo>
                    <a:pt x="201" y="320"/>
                  </a:lnTo>
                  <a:lnTo>
                    <a:pt x="192" y="298"/>
                  </a:lnTo>
                  <a:lnTo>
                    <a:pt x="177" y="274"/>
                  </a:lnTo>
                  <a:lnTo>
                    <a:pt x="151" y="264"/>
                  </a:lnTo>
                  <a:lnTo>
                    <a:pt x="125" y="257"/>
                  </a:lnTo>
                  <a:lnTo>
                    <a:pt x="127" y="250"/>
                  </a:lnTo>
                  <a:lnTo>
                    <a:pt x="123" y="244"/>
                  </a:lnTo>
                  <a:lnTo>
                    <a:pt x="114" y="242"/>
                  </a:lnTo>
                  <a:lnTo>
                    <a:pt x="107" y="242"/>
                  </a:lnTo>
                  <a:lnTo>
                    <a:pt x="99" y="224"/>
                  </a:lnTo>
                  <a:lnTo>
                    <a:pt x="90" y="203"/>
                  </a:lnTo>
                  <a:lnTo>
                    <a:pt x="83" y="196"/>
                  </a:lnTo>
                  <a:lnTo>
                    <a:pt x="77" y="189"/>
                  </a:lnTo>
                  <a:lnTo>
                    <a:pt x="74" y="179"/>
                  </a:lnTo>
                  <a:lnTo>
                    <a:pt x="72" y="172"/>
                  </a:lnTo>
                  <a:lnTo>
                    <a:pt x="68" y="159"/>
                  </a:lnTo>
                  <a:lnTo>
                    <a:pt x="68" y="146"/>
                  </a:lnTo>
                  <a:lnTo>
                    <a:pt x="50" y="131"/>
                  </a:lnTo>
                  <a:lnTo>
                    <a:pt x="35" y="118"/>
                  </a:lnTo>
                  <a:lnTo>
                    <a:pt x="31" y="111"/>
                  </a:lnTo>
                  <a:lnTo>
                    <a:pt x="29" y="104"/>
                  </a:lnTo>
                  <a:lnTo>
                    <a:pt x="31" y="98"/>
                  </a:lnTo>
                  <a:lnTo>
                    <a:pt x="37" y="91"/>
                  </a:lnTo>
                  <a:lnTo>
                    <a:pt x="42" y="94"/>
                  </a:lnTo>
                  <a:lnTo>
                    <a:pt x="50" y="100"/>
                  </a:lnTo>
                  <a:lnTo>
                    <a:pt x="55" y="91"/>
                  </a:lnTo>
                  <a:lnTo>
                    <a:pt x="57" y="80"/>
                  </a:lnTo>
                  <a:lnTo>
                    <a:pt x="53" y="74"/>
                  </a:lnTo>
                  <a:lnTo>
                    <a:pt x="50" y="70"/>
                  </a:lnTo>
                  <a:lnTo>
                    <a:pt x="50" y="63"/>
                  </a:lnTo>
                  <a:lnTo>
                    <a:pt x="48" y="57"/>
                  </a:lnTo>
                  <a:lnTo>
                    <a:pt x="46" y="52"/>
                  </a:lnTo>
                  <a:lnTo>
                    <a:pt x="42" y="45"/>
                  </a:lnTo>
                  <a:lnTo>
                    <a:pt x="38" y="41"/>
                  </a:lnTo>
                  <a:lnTo>
                    <a:pt x="35" y="39"/>
                  </a:lnTo>
                  <a:lnTo>
                    <a:pt x="29" y="37"/>
                  </a:lnTo>
                  <a:lnTo>
                    <a:pt x="22" y="35"/>
                  </a:lnTo>
                  <a:lnTo>
                    <a:pt x="13" y="30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7" y="15"/>
                  </a:lnTo>
                  <a:lnTo>
                    <a:pt x="13" y="17"/>
                  </a:lnTo>
                  <a:lnTo>
                    <a:pt x="18" y="11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18" y="0"/>
                  </a:lnTo>
                  <a:lnTo>
                    <a:pt x="25" y="0"/>
                  </a:lnTo>
                  <a:lnTo>
                    <a:pt x="33" y="2"/>
                  </a:lnTo>
                  <a:lnTo>
                    <a:pt x="40" y="6"/>
                  </a:lnTo>
                  <a:lnTo>
                    <a:pt x="48" y="13"/>
                  </a:lnTo>
                  <a:lnTo>
                    <a:pt x="50" y="24"/>
                  </a:lnTo>
                  <a:lnTo>
                    <a:pt x="51" y="35"/>
                  </a:lnTo>
                  <a:lnTo>
                    <a:pt x="68" y="48"/>
                  </a:lnTo>
                  <a:lnTo>
                    <a:pt x="88" y="59"/>
                  </a:lnTo>
                  <a:lnTo>
                    <a:pt x="107" y="69"/>
                  </a:lnTo>
                  <a:lnTo>
                    <a:pt x="116" y="76"/>
                  </a:lnTo>
                  <a:lnTo>
                    <a:pt x="107" y="78"/>
                  </a:lnTo>
                  <a:lnTo>
                    <a:pt x="99" y="80"/>
                  </a:lnTo>
                  <a:lnTo>
                    <a:pt x="99" y="85"/>
                  </a:lnTo>
                  <a:lnTo>
                    <a:pt x="105" y="91"/>
                  </a:lnTo>
                  <a:lnTo>
                    <a:pt x="110" y="93"/>
                  </a:lnTo>
                  <a:lnTo>
                    <a:pt x="116" y="96"/>
                  </a:lnTo>
                  <a:lnTo>
                    <a:pt x="133" y="100"/>
                  </a:lnTo>
                  <a:lnTo>
                    <a:pt x="147" y="102"/>
                  </a:lnTo>
                  <a:lnTo>
                    <a:pt x="155" y="111"/>
                  </a:lnTo>
                  <a:lnTo>
                    <a:pt x="159" y="120"/>
                  </a:lnTo>
                  <a:lnTo>
                    <a:pt x="162" y="130"/>
                  </a:lnTo>
                  <a:lnTo>
                    <a:pt x="164" y="139"/>
                  </a:lnTo>
                  <a:lnTo>
                    <a:pt x="157" y="139"/>
                  </a:lnTo>
                  <a:lnTo>
                    <a:pt x="147" y="137"/>
                  </a:lnTo>
                  <a:lnTo>
                    <a:pt x="147" y="142"/>
                  </a:lnTo>
                  <a:lnTo>
                    <a:pt x="149" y="148"/>
                  </a:lnTo>
                  <a:lnTo>
                    <a:pt x="153" y="152"/>
                  </a:lnTo>
                  <a:lnTo>
                    <a:pt x="157" y="154"/>
                  </a:lnTo>
                  <a:lnTo>
                    <a:pt x="164" y="157"/>
                  </a:lnTo>
                  <a:lnTo>
                    <a:pt x="170" y="161"/>
                  </a:lnTo>
                  <a:lnTo>
                    <a:pt x="170" y="172"/>
                  </a:lnTo>
                  <a:lnTo>
                    <a:pt x="171" y="183"/>
                  </a:lnTo>
                  <a:lnTo>
                    <a:pt x="195" y="191"/>
                  </a:lnTo>
                  <a:lnTo>
                    <a:pt x="216" y="200"/>
                  </a:lnTo>
                  <a:lnTo>
                    <a:pt x="223" y="205"/>
                  </a:lnTo>
                  <a:lnTo>
                    <a:pt x="229" y="213"/>
                  </a:lnTo>
                  <a:lnTo>
                    <a:pt x="232" y="220"/>
                  </a:lnTo>
                  <a:lnTo>
                    <a:pt x="234" y="227"/>
                  </a:lnTo>
                  <a:lnTo>
                    <a:pt x="242" y="226"/>
                  </a:lnTo>
                  <a:lnTo>
                    <a:pt x="249" y="220"/>
                  </a:lnTo>
                  <a:lnTo>
                    <a:pt x="275" y="248"/>
                  </a:lnTo>
                  <a:lnTo>
                    <a:pt x="304" y="272"/>
                  </a:lnTo>
                  <a:lnTo>
                    <a:pt x="332" y="296"/>
                  </a:lnTo>
                  <a:lnTo>
                    <a:pt x="354" y="314"/>
                  </a:lnTo>
                  <a:lnTo>
                    <a:pt x="364" y="325"/>
                  </a:lnTo>
                  <a:lnTo>
                    <a:pt x="371" y="335"/>
                  </a:lnTo>
                  <a:lnTo>
                    <a:pt x="391" y="346"/>
                  </a:lnTo>
                  <a:lnTo>
                    <a:pt x="412" y="357"/>
                  </a:lnTo>
                  <a:lnTo>
                    <a:pt x="423" y="357"/>
                  </a:lnTo>
                  <a:lnTo>
                    <a:pt x="432" y="359"/>
                  </a:lnTo>
                  <a:lnTo>
                    <a:pt x="437" y="362"/>
                  </a:lnTo>
                  <a:lnTo>
                    <a:pt x="445" y="364"/>
                  </a:lnTo>
                  <a:lnTo>
                    <a:pt x="449" y="368"/>
                  </a:lnTo>
                  <a:lnTo>
                    <a:pt x="450" y="372"/>
                  </a:lnTo>
                  <a:lnTo>
                    <a:pt x="450" y="377"/>
                  </a:lnTo>
                  <a:lnTo>
                    <a:pt x="449" y="381"/>
                  </a:lnTo>
                  <a:lnTo>
                    <a:pt x="421" y="375"/>
                  </a:lnTo>
                  <a:lnTo>
                    <a:pt x="393" y="373"/>
                  </a:lnTo>
                  <a:lnTo>
                    <a:pt x="380" y="373"/>
                  </a:lnTo>
                  <a:lnTo>
                    <a:pt x="369" y="377"/>
                  </a:lnTo>
                  <a:lnTo>
                    <a:pt x="358" y="381"/>
                  </a:lnTo>
                  <a:lnTo>
                    <a:pt x="347" y="388"/>
                  </a:lnTo>
                  <a:lnTo>
                    <a:pt x="345" y="397"/>
                  </a:lnTo>
                  <a:lnTo>
                    <a:pt x="345" y="407"/>
                  </a:lnTo>
                  <a:lnTo>
                    <a:pt x="347" y="414"/>
                  </a:lnTo>
                  <a:lnTo>
                    <a:pt x="351" y="420"/>
                  </a:lnTo>
                  <a:lnTo>
                    <a:pt x="354" y="429"/>
                  </a:lnTo>
                  <a:lnTo>
                    <a:pt x="360" y="438"/>
                  </a:lnTo>
                  <a:lnTo>
                    <a:pt x="360" y="449"/>
                  </a:lnTo>
                  <a:lnTo>
                    <a:pt x="362" y="460"/>
                  </a:lnTo>
                  <a:lnTo>
                    <a:pt x="365" y="471"/>
                  </a:lnTo>
                  <a:lnTo>
                    <a:pt x="369" y="482"/>
                  </a:lnTo>
                  <a:lnTo>
                    <a:pt x="375" y="490"/>
                  </a:lnTo>
                  <a:lnTo>
                    <a:pt x="380" y="499"/>
                  </a:lnTo>
                  <a:lnTo>
                    <a:pt x="386" y="508"/>
                  </a:lnTo>
                  <a:lnTo>
                    <a:pt x="389" y="518"/>
                  </a:lnTo>
                  <a:lnTo>
                    <a:pt x="397" y="536"/>
                  </a:lnTo>
                  <a:lnTo>
                    <a:pt x="404" y="549"/>
                  </a:lnTo>
                  <a:lnTo>
                    <a:pt x="419" y="556"/>
                  </a:lnTo>
                  <a:lnTo>
                    <a:pt x="434" y="560"/>
                  </a:lnTo>
                  <a:lnTo>
                    <a:pt x="449" y="566"/>
                  </a:lnTo>
                  <a:lnTo>
                    <a:pt x="463" y="571"/>
                  </a:lnTo>
                  <a:lnTo>
                    <a:pt x="482" y="590"/>
                  </a:lnTo>
                  <a:lnTo>
                    <a:pt x="495" y="599"/>
                  </a:lnTo>
                  <a:lnTo>
                    <a:pt x="498" y="586"/>
                  </a:lnTo>
                  <a:lnTo>
                    <a:pt x="500" y="575"/>
                  </a:lnTo>
                  <a:lnTo>
                    <a:pt x="509" y="579"/>
                  </a:lnTo>
                  <a:lnTo>
                    <a:pt x="517" y="586"/>
                  </a:lnTo>
                  <a:lnTo>
                    <a:pt x="524" y="593"/>
                  </a:lnTo>
                  <a:lnTo>
                    <a:pt x="532" y="601"/>
                  </a:lnTo>
                  <a:lnTo>
                    <a:pt x="535" y="610"/>
                  </a:lnTo>
                  <a:lnTo>
                    <a:pt x="539" y="621"/>
                  </a:lnTo>
                  <a:lnTo>
                    <a:pt x="541" y="632"/>
                  </a:lnTo>
                  <a:lnTo>
                    <a:pt x="541" y="645"/>
                  </a:lnTo>
                  <a:lnTo>
                    <a:pt x="535" y="641"/>
                  </a:lnTo>
                  <a:lnTo>
                    <a:pt x="530" y="632"/>
                  </a:lnTo>
                  <a:lnTo>
                    <a:pt x="526" y="627"/>
                  </a:lnTo>
                  <a:lnTo>
                    <a:pt x="521" y="623"/>
                  </a:lnTo>
                  <a:lnTo>
                    <a:pt x="515" y="619"/>
                  </a:lnTo>
                  <a:lnTo>
                    <a:pt x="508" y="617"/>
                  </a:lnTo>
                  <a:lnTo>
                    <a:pt x="495" y="625"/>
                  </a:lnTo>
                  <a:lnTo>
                    <a:pt x="487" y="628"/>
                  </a:lnTo>
                  <a:lnTo>
                    <a:pt x="482" y="628"/>
                  </a:lnTo>
                  <a:lnTo>
                    <a:pt x="469" y="63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82" name="Freeform 16"/>
            <p:cNvSpPr>
              <a:spLocks noEditPoints="1"/>
            </p:cNvSpPr>
            <p:nvPr/>
          </p:nvSpPr>
          <p:spPr bwMode="auto">
            <a:xfrm>
              <a:off x="6041972" y="1456899"/>
              <a:ext cx="423173" cy="486511"/>
            </a:xfrm>
            <a:custGeom>
              <a:avLst/>
              <a:gdLst>
                <a:gd name="T0" fmla="*/ 139 w 811"/>
                <a:gd name="T1" fmla="*/ 124 h 956"/>
                <a:gd name="T2" fmla="*/ 152 w 811"/>
                <a:gd name="T3" fmla="*/ 209 h 956"/>
                <a:gd name="T4" fmla="*/ 115 w 811"/>
                <a:gd name="T5" fmla="*/ 187 h 956"/>
                <a:gd name="T6" fmla="*/ 769 w 811"/>
                <a:gd name="T7" fmla="*/ 641 h 956"/>
                <a:gd name="T8" fmla="*/ 754 w 811"/>
                <a:gd name="T9" fmla="*/ 568 h 956"/>
                <a:gd name="T10" fmla="*/ 739 w 811"/>
                <a:gd name="T11" fmla="*/ 536 h 956"/>
                <a:gd name="T12" fmla="*/ 774 w 811"/>
                <a:gd name="T13" fmla="*/ 523 h 956"/>
                <a:gd name="T14" fmla="*/ 795 w 811"/>
                <a:gd name="T15" fmla="*/ 481 h 956"/>
                <a:gd name="T16" fmla="*/ 748 w 811"/>
                <a:gd name="T17" fmla="*/ 451 h 956"/>
                <a:gd name="T18" fmla="*/ 662 w 811"/>
                <a:gd name="T19" fmla="*/ 457 h 956"/>
                <a:gd name="T20" fmla="*/ 636 w 811"/>
                <a:gd name="T21" fmla="*/ 459 h 956"/>
                <a:gd name="T22" fmla="*/ 604 w 811"/>
                <a:gd name="T23" fmla="*/ 468 h 956"/>
                <a:gd name="T24" fmla="*/ 580 w 811"/>
                <a:gd name="T25" fmla="*/ 473 h 956"/>
                <a:gd name="T26" fmla="*/ 601 w 811"/>
                <a:gd name="T27" fmla="*/ 459 h 956"/>
                <a:gd name="T28" fmla="*/ 589 w 811"/>
                <a:gd name="T29" fmla="*/ 338 h 956"/>
                <a:gd name="T30" fmla="*/ 554 w 811"/>
                <a:gd name="T31" fmla="*/ 338 h 956"/>
                <a:gd name="T32" fmla="*/ 517 w 811"/>
                <a:gd name="T33" fmla="*/ 309 h 956"/>
                <a:gd name="T34" fmla="*/ 536 w 811"/>
                <a:gd name="T35" fmla="*/ 281 h 956"/>
                <a:gd name="T36" fmla="*/ 602 w 811"/>
                <a:gd name="T37" fmla="*/ 298 h 956"/>
                <a:gd name="T38" fmla="*/ 625 w 811"/>
                <a:gd name="T39" fmla="*/ 226 h 956"/>
                <a:gd name="T40" fmla="*/ 674 w 811"/>
                <a:gd name="T41" fmla="*/ 233 h 956"/>
                <a:gd name="T42" fmla="*/ 737 w 811"/>
                <a:gd name="T43" fmla="*/ 185 h 956"/>
                <a:gd name="T44" fmla="*/ 752 w 811"/>
                <a:gd name="T45" fmla="*/ 131 h 956"/>
                <a:gd name="T46" fmla="*/ 710 w 811"/>
                <a:gd name="T47" fmla="*/ 135 h 956"/>
                <a:gd name="T48" fmla="*/ 689 w 811"/>
                <a:gd name="T49" fmla="*/ 106 h 956"/>
                <a:gd name="T50" fmla="*/ 643 w 811"/>
                <a:gd name="T51" fmla="*/ 102 h 956"/>
                <a:gd name="T52" fmla="*/ 667 w 811"/>
                <a:gd name="T53" fmla="*/ 72 h 956"/>
                <a:gd name="T54" fmla="*/ 645 w 811"/>
                <a:gd name="T55" fmla="*/ 13 h 956"/>
                <a:gd name="T56" fmla="*/ 578 w 811"/>
                <a:gd name="T57" fmla="*/ 45 h 956"/>
                <a:gd name="T58" fmla="*/ 547 w 811"/>
                <a:gd name="T59" fmla="*/ 78 h 956"/>
                <a:gd name="T60" fmla="*/ 516 w 811"/>
                <a:gd name="T61" fmla="*/ 131 h 956"/>
                <a:gd name="T62" fmla="*/ 578 w 811"/>
                <a:gd name="T63" fmla="*/ 135 h 956"/>
                <a:gd name="T64" fmla="*/ 538 w 811"/>
                <a:gd name="T65" fmla="*/ 152 h 956"/>
                <a:gd name="T66" fmla="*/ 482 w 811"/>
                <a:gd name="T67" fmla="*/ 152 h 956"/>
                <a:gd name="T68" fmla="*/ 458 w 811"/>
                <a:gd name="T69" fmla="*/ 170 h 956"/>
                <a:gd name="T70" fmla="*/ 388 w 811"/>
                <a:gd name="T71" fmla="*/ 196 h 956"/>
                <a:gd name="T72" fmla="*/ 266 w 811"/>
                <a:gd name="T73" fmla="*/ 266 h 956"/>
                <a:gd name="T74" fmla="*/ 231 w 811"/>
                <a:gd name="T75" fmla="*/ 292 h 956"/>
                <a:gd name="T76" fmla="*/ 185 w 811"/>
                <a:gd name="T77" fmla="*/ 348 h 956"/>
                <a:gd name="T78" fmla="*/ 166 w 811"/>
                <a:gd name="T79" fmla="*/ 399 h 956"/>
                <a:gd name="T80" fmla="*/ 100 w 811"/>
                <a:gd name="T81" fmla="*/ 447 h 956"/>
                <a:gd name="T82" fmla="*/ 124 w 811"/>
                <a:gd name="T83" fmla="*/ 486 h 956"/>
                <a:gd name="T84" fmla="*/ 194 w 811"/>
                <a:gd name="T85" fmla="*/ 501 h 956"/>
                <a:gd name="T86" fmla="*/ 176 w 811"/>
                <a:gd name="T87" fmla="*/ 536 h 956"/>
                <a:gd name="T88" fmla="*/ 124 w 811"/>
                <a:gd name="T89" fmla="*/ 547 h 956"/>
                <a:gd name="T90" fmla="*/ 72 w 811"/>
                <a:gd name="T91" fmla="*/ 586 h 956"/>
                <a:gd name="T92" fmla="*/ 17 w 811"/>
                <a:gd name="T93" fmla="*/ 643 h 956"/>
                <a:gd name="T94" fmla="*/ 70 w 811"/>
                <a:gd name="T95" fmla="*/ 721 h 956"/>
                <a:gd name="T96" fmla="*/ 30 w 811"/>
                <a:gd name="T97" fmla="*/ 821 h 956"/>
                <a:gd name="T98" fmla="*/ 54 w 811"/>
                <a:gd name="T99" fmla="*/ 889 h 956"/>
                <a:gd name="T100" fmla="*/ 135 w 811"/>
                <a:gd name="T101" fmla="*/ 928 h 956"/>
                <a:gd name="T102" fmla="*/ 213 w 811"/>
                <a:gd name="T103" fmla="*/ 946 h 956"/>
                <a:gd name="T104" fmla="*/ 287 w 811"/>
                <a:gd name="T105" fmla="*/ 917 h 956"/>
                <a:gd name="T106" fmla="*/ 342 w 811"/>
                <a:gd name="T107" fmla="*/ 878 h 956"/>
                <a:gd name="T108" fmla="*/ 379 w 811"/>
                <a:gd name="T109" fmla="*/ 848 h 956"/>
                <a:gd name="T110" fmla="*/ 425 w 811"/>
                <a:gd name="T111" fmla="*/ 797 h 956"/>
                <a:gd name="T112" fmla="*/ 505 w 811"/>
                <a:gd name="T113" fmla="*/ 754 h 956"/>
                <a:gd name="T114" fmla="*/ 547 w 811"/>
                <a:gd name="T115" fmla="*/ 786 h 956"/>
                <a:gd name="T116" fmla="*/ 621 w 811"/>
                <a:gd name="T117" fmla="*/ 778 h 956"/>
                <a:gd name="T118" fmla="*/ 676 w 811"/>
                <a:gd name="T119" fmla="*/ 738 h 956"/>
                <a:gd name="T120" fmla="*/ 713 w 811"/>
                <a:gd name="T121" fmla="*/ 645 h 956"/>
                <a:gd name="T122" fmla="*/ 106 w 811"/>
                <a:gd name="T123" fmla="*/ 499 h 956"/>
                <a:gd name="T124" fmla="*/ 69 w 811"/>
                <a:gd name="T125" fmla="*/ 516 h 95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11"/>
                <a:gd name="T190" fmla="*/ 0 h 956"/>
                <a:gd name="T191" fmla="*/ 811 w 811"/>
                <a:gd name="T192" fmla="*/ 956 h 95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11" h="956">
                  <a:moveTo>
                    <a:pt x="111" y="155"/>
                  </a:moveTo>
                  <a:lnTo>
                    <a:pt x="109" y="152"/>
                  </a:lnTo>
                  <a:lnTo>
                    <a:pt x="109" y="146"/>
                  </a:lnTo>
                  <a:lnTo>
                    <a:pt x="109" y="141"/>
                  </a:lnTo>
                  <a:lnTo>
                    <a:pt x="111" y="137"/>
                  </a:lnTo>
                  <a:lnTo>
                    <a:pt x="115" y="133"/>
                  </a:lnTo>
                  <a:lnTo>
                    <a:pt x="120" y="131"/>
                  </a:lnTo>
                  <a:lnTo>
                    <a:pt x="126" y="130"/>
                  </a:lnTo>
                  <a:lnTo>
                    <a:pt x="133" y="131"/>
                  </a:lnTo>
                  <a:lnTo>
                    <a:pt x="139" y="124"/>
                  </a:lnTo>
                  <a:lnTo>
                    <a:pt x="146" y="119"/>
                  </a:lnTo>
                  <a:lnTo>
                    <a:pt x="152" y="117"/>
                  </a:lnTo>
                  <a:lnTo>
                    <a:pt x="159" y="117"/>
                  </a:lnTo>
                  <a:lnTo>
                    <a:pt x="161" y="131"/>
                  </a:lnTo>
                  <a:lnTo>
                    <a:pt x="163" y="144"/>
                  </a:lnTo>
                  <a:lnTo>
                    <a:pt x="163" y="157"/>
                  </a:lnTo>
                  <a:lnTo>
                    <a:pt x="161" y="170"/>
                  </a:lnTo>
                  <a:lnTo>
                    <a:pt x="157" y="185"/>
                  </a:lnTo>
                  <a:lnTo>
                    <a:pt x="154" y="202"/>
                  </a:lnTo>
                  <a:lnTo>
                    <a:pt x="152" y="209"/>
                  </a:lnTo>
                  <a:lnTo>
                    <a:pt x="150" y="218"/>
                  </a:lnTo>
                  <a:lnTo>
                    <a:pt x="146" y="226"/>
                  </a:lnTo>
                  <a:lnTo>
                    <a:pt x="142" y="229"/>
                  </a:lnTo>
                  <a:lnTo>
                    <a:pt x="137" y="228"/>
                  </a:lnTo>
                  <a:lnTo>
                    <a:pt x="135" y="226"/>
                  </a:lnTo>
                  <a:lnTo>
                    <a:pt x="131" y="220"/>
                  </a:lnTo>
                  <a:lnTo>
                    <a:pt x="130" y="216"/>
                  </a:lnTo>
                  <a:lnTo>
                    <a:pt x="126" y="205"/>
                  </a:lnTo>
                  <a:lnTo>
                    <a:pt x="122" y="194"/>
                  </a:lnTo>
                  <a:lnTo>
                    <a:pt x="115" y="187"/>
                  </a:lnTo>
                  <a:lnTo>
                    <a:pt x="109" y="181"/>
                  </a:lnTo>
                  <a:lnTo>
                    <a:pt x="106" y="176"/>
                  </a:lnTo>
                  <a:lnTo>
                    <a:pt x="106" y="170"/>
                  </a:lnTo>
                  <a:lnTo>
                    <a:pt x="106" y="163"/>
                  </a:lnTo>
                  <a:lnTo>
                    <a:pt x="111" y="155"/>
                  </a:lnTo>
                  <a:close/>
                  <a:moveTo>
                    <a:pt x="765" y="664"/>
                  </a:moveTo>
                  <a:lnTo>
                    <a:pt x="769" y="658"/>
                  </a:lnTo>
                  <a:lnTo>
                    <a:pt x="771" y="651"/>
                  </a:lnTo>
                  <a:lnTo>
                    <a:pt x="771" y="647"/>
                  </a:lnTo>
                  <a:lnTo>
                    <a:pt x="769" y="641"/>
                  </a:lnTo>
                  <a:lnTo>
                    <a:pt x="767" y="636"/>
                  </a:lnTo>
                  <a:lnTo>
                    <a:pt x="761" y="629"/>
                  </a:lnTo>
                  <a:lnTo>
                    <a:pt x="767" y="621"/>
                  </a:lnTo>
                  <a:lnTo>
                    <a:pt x="767" y="617"/>
                  </a:lnTo>
                  <a:lnTo>
                    <a:pt x="765" y="612"/>
                  </a:lnTo>
                  <a:lnTo>
                    <a:pt x="761" y="603"/>
                  </a:lnTo>
                  <a:lnTo>
                    <a:pt x="763" y="593"/>
                  </a:lnTo>
                  <a:lnTo>
                    <a:pt x="765" y="584"/>
                  </a:lnTo>
                  <a:lnTo>
                    <a:pt x="759" y="575"/>
                  </a:lnTo>
                  <a:lnTo>
                    <a:pt x="754" y="568"/>
                  </a:lnTo>
                  <a:lnTo>
                    <a:pt x="756" y="564"/>
                  </a:lnTo>
                  <a:lnTo>
                    <a:pt x="758" y="558"/>
                  </a:lnTo>
                  <a:lnTo>
                    <a:pt x="759" y="553"/>
                  </a:lnTo>
                  <a:lnTo>
                    <a:pt x="758" y="547"/>
                  </a:lnTo>
                  <a:lnTo>
                    <a:pt x="748" y="545"/>
                  </a:lnTo>
                  <a:lnTo>
                    <a:pt x="735" y="545"/>
                  </a:lnTo>
                  <a:lnTo>
                    <a:pt x="734" y="545"/>
                  </a:lnTo>
                  <a:lnTo>
                    <a:pt x="734" y="542"/>
                  </a:lnTo>
                  <a:lnTo>
                    <a:pt x="735" y="540"/>
                  </a:lnTo>
                  <a:lnTo>
                    <a:pt x="739" y="536"/>
                  </a:lnTo>
                  <a:lnTo>
                    <a:pt x="741" y="534"/>
                  </a:lnTo>
                  <a:lnTo>
                    <a:pt x="745" y="532"/>
                  </a:lnTo>
                  <a:lnTo>
                    <a:pt x="748" y="534"/>
                  </a:lnTo>
                  <a:lnTo>
                    <a:pt x="752" y="538"/>
                  </a:lnTo>
                  <a:lnTo>
                    <a:pt x="754" y="538"/>
                  </a:lnTo>
                  <a:lnTo>
                    <a:pt x="758" y="538"/>
                  </a:lnTo>
                  <a:lnTo>
                    <a:pt x="759" y="538"/>
                  </a:lnTo>
                  <a:lnTo>
                    <a:pt x="763" y="536"/>
                  </a:lnTo>
                  <a:lnTo>
                    <a:pt x="769" y="531"/>
                  </a:lnTo>
                  <a:lnTo>
                    <a:pt x="774" y="523"/>
                  </a:lnTo>
                  <a:lnTo>
                    <a:pt x="787" y="508"/>
                  </a:lnTo>
                  <a:lnTo>
                    <a:pt x="796" y="497"/>
                  </a:lnTo>
                  <a:lnTo>
                    <a:pt x="802" y="494"/>
                  </a:lnTo>
                  <a:lnTo>
                    <a:pt x="806" y="492"/>
                  </a:lnTo>
                  <a:lnTo>
                    <a:pt x="809" y="490"/>
                  </a:lnTo>
                  <a:lnTo>
                    <a:pt x="811" y="490"/>
                  </a:lnTo>
                  <a:lnTo>
                    <a:pt x="811" y="488"/>
                  </a:lnTo>
                  <a:lnTo>
                    <a:pt x="811" y="484"/>
                  </a:lnTo>
                  <a:lnTo>
                    <a:pt x="804" y="483"/>
                  </a:lnTo>
                  <a:lnTo>
                    <a:pt x="795" y="481"/>
                  </a:lnTo>
                  <a:lnTo>
                    <a:pt x="796" y="475"/>
                  </a:lnTo>
                  <a:lnTo>
                    <a:pt x="796" y="468"/>
                  </a:lnTo>
                  <a:lnTo>
                    <a:pt x="793" y="462"/>
                  </a:lnTo>
                  <a:lnTo>
                    <a:pt x="787" y="457"/>
                  </a:lnTo>
                  <a:lnTo>
                    <a:pt x="769" y="462"/>
                  </a:lnTo>
                  <a:lnTo>
                    <a:pt x="752" y="468"/>
                  </a:lnTo>
                  <a:lnTo>
                    <a:pt x="752" y="464"/>
                  </a:lnTo>
                  <a:lnTo>
                    <a:pt x="752" y="459"/>
                  </a:lnTo>
                  <a:lnTo>
                    <a:pt x="752" y="455"/>
                  </a:lnTo>
                  <a:lnTo>
                    <a:pt x="748" y="451"/>
                  </a:lnTo>
                  <a:lnTo>
                    <a:pt x="737" y="457"/>
                  </a:lnTo>
                  <a:lnTo>
                    <a:pt x="728" y="466"/>
                  </a:lnTo>
                  <a:lnTo>
                    <a:pt x="722" y="462"/>
                  </a:lnTo>
                  <a:lnTo>
                    <a:pt x="715" y="459"/>
                  </a:lnTo>
                  <a:lnTo>
                    <a:pt x="708" y="470"/>
                  </a:lnTo>
                  <a:lnTo>
                    <a:pt x="700" y="475"/>
                  </a:lnTo>
                  <a:lnTo>
                    <a:pt x="695" y="466"/>
                  </a:lnTo>
                  <a:lnTo>
                    <a:pt x="687" y="453"/>
                  </a:lnTo>
                  <a:lnTo>
                    <a:pt x="674" y="455"/>
                  </a:lnTo>
                  <a:lnTo>
                    <a:pt x="662" y="457"/>
                  </a:lnTo>
                  <a:lnTo>
                    <a:pt x="662" y="453"/>
                  </a:lnTo>
                  <a:lnTo>
                    <a:pt x="660" y="449"/>
                  </a:lnTo>
                  <a:lnTo>
                    <a:pt x="660" y="447"/>
                  </a:lnTo>
                  <a:lnTo>
                    <a:pt x="656" y="447"/>
                  </a:lnTo>
                  <a:lnTo>
                    <a:pt x="645" y="449"/>
                  </a:lnTo>
                  <a:lnTo>
                    <a:pt x="636" y="449"/>
                  </a:lnTo>
                  <a:lnTo>
                    <a:pt x="634" y="453"/>
                  </a:lnTo>
                  <a:lnTo>
                    <a:pt x="632" y="455"/>
                  </a:lnTo>
                  <a:lnTo>
                    <a:pt x="634" y="457"/>
                  </a:lnTo>
                  <a:lnTo>
                    <a:pt x="636" y="459"/>
                  </a:lnTo>
                  <a:lnTo>
                    <a:pt x="639" y="462"/>
                  </a:lnTo>
                  <a:lnTo>
                    <a:pt x="643" y="466"/>
                  </a:lnTo>
                  <a:lnTo>
                    <a:pt x="639" y="470"/>
                  </a:lnTo>
                  <a:lnTo>
                    <a:pt x="634" y="470"/>
                  </a:lnTo>
                  <a:lnTo>
                    <a:pt x="630" y="468"/>
                  </a:lnTo>
                  <a:lnTo>
                    <a:pt x="626" y="470"/>
                  </a:lnTo>
                  <a:lnTo>
                    <a:pt x="617" y="473"/>
                  </a:lnTo>
                  <a:lnTo>
                    <a:pt x="614" y="473"/>
                  </a:lnTo>
                  <a:lnTo>
                    <a:pt x="610" y="471"/>
                  </a:lnTo>
                  <a:lnTo>
                    <a:pt x="604" y="468"/>
                  </a:lnTo>
                  <a:lnTo>
                    <a:pt x="601" y="466"/>
                  </a:lnTo>
                  <a:lnTo>
                    <a:pt x="599" y="468"/>
                  </a:lnTo>
                  <a:lnTo>
                    <a:pt x="593" y="479"/>
                  </a:lnTo>
                  <a:lnTo>
                    <a:pt x="586" y="497"/>
                  </a:lnTo>
                  <a:lnTo>
                    <a:pt x="577" y="499"/>
                  </a:lnTo>
                  <a:lnTo>
                    <a:pt x="565" y="501"/>
                  </a:lnTo>
                  <a:lnTo>
                    <a:pt x="577" y="486"/>
                  </a:lnTo>
                  <a:lnTo>
                    <a:pt x="586" y="473"/>
                  </a:lnTo>
                  <a:lnTo>
                    <a:pt x="584" y="471"/>
                  </a:lnTo>
                  <a:lnTo>
                    <a:pt x="580" y="473"/>
                  </a:lnTo>
                  <a:lnTo>
                    <a:pt x="577" y="475"/>
                  </a:lnTo>
                  <a:lnTo>
                    <a:pt x="571" y="477"/>
                  </a:lnTo>
                  <a:lnTo>
                    <a:pt x="565" y="481"/>
                  </a:lnTo>
                  <a:lnTo>
                    <a:pt x="562" y="481"/>
                  </a:lnTo>
                  <a:lnTo>
                    <a:pt x="556" y="481"/>
                  </a:lnTo>
                  <a:lnTo>
                    <a:pt x="554" y="477"/>
                  </a:lnTo>
                  <a:lnTo>
                    <a:pt x="562" y="471"/>
                  </a:lnTo>
                  <a:lnTo>
                    <a:pt x="571" y="466"/>
                  </a:lnTo>
                  <a:lnTo>
                    <a:pt x="586" y="462"/>
                  </a:lnTo>
                  <a:lnTo>
                    <a:pt x="601" y="459"/>
                  </a:lnTo>
                  <a:lnTo>
                    <a:pt x="606" y="455"/>
                  </a:lnTo>
                  <a:lnTo>
                    <a:pt x="610" y="447"/>
                  </a:lnTo>
                  <a:lnTo>
                    <a:pt x="614" y="442"/>
                  </a:lnTo>
                  <a:lnTo>
                    <a:pt x="617" y="433"/>
                  </a:lnTo>
                  <a:lnTo>
                    <a:pt x="621" y="418"/>
                  </a:lnTo>
                  <a:lnTo>
                    <a:pt x="623" y="405"/>
                  </a:lnTo>
                  <a:lnTo>
                    <a:pt x="612" y="383"/>
                  </a:lnTo>
                  <a:lnTo>
                    <a:pt x="604" y="361"/>
                  </a:lnTo>
                  <a:lnTo>
                    <a:pt x="595" y="348"/>
                  </a:lnTo>
                  <a:lnTo>
                    <a:pt x="589" y="338"/>
                  </a:lnTo>
                  <a:lnTo>
                    <a:pt x="588" y="333"/>
                  </a:lnTo>
                  <a:lnTo>
                    <a:pt x="584" y="329"/>
                  </a:lnTo>
                  <a:lnTo>
                    <a:pt x="580" y="325"/>
                  </a:lnTo>
                  <a:lnTo>
                    <a:pt x="575" y="324"/>
                  </a:lnTo>
                  <a:lnTo>
                    <a:pt x="573" y="322"/>
                  </a:lnTo>
                  <a:lnTo>
                    <a:pt x="569" y="324"/>
                  </a:lnTo>
                  <a:lnTo>
                    <a:pt x="567" y="325"/>
                  </a:lnTo>
                  <a:lnTo>
                    <a:pt x="565" y="327"/>
                  </a:lnTo>
                  <a:lnTo>
                    <a:pt x="560" y="333"/>
                  </a:lnTo>
                  <a:lnTo>
                    <a:pt x="554" y="338"/>
                  </a:lnTo>
                  <a:lnTo>
                    <a:pt x="551" y="337"/>
                  </a:lnTo>
                  <a:lnTo>
                    <a:pt x="547" y="335"/>
                  </a:lnTo>
                  <a:lnTo>
                    <a:pt x="543" y="333"/>
                  </a:lnTo>
                  <a:lnTo>
                    <a:pt x="541" y="329"/>
                  </a:lnTo>
                  <a:lnTo>
                    <a:pt x="540" y="324"/>
                  </a:lnTo>
                  <a:lnTo>
                    <a:pt x="538" y="316"/>
                  </a:lnTo>
                  <a:lnTo>
                    <a:pt x="525" y="316"/>
                  </a:lnTo>
                  <a:lnTo>
                    <a:pt x="519" y="316"/>
                  </a:lnTo>
                  <a:lnTo>
                    <a:pt x="516" y="313"/>
                  </a:lnTo>
                  <a:lnTo>
                    <a:pt x="517" y="309"/>
                  </a:lnTo>
                  <a:lnTo>
                    <a:pt x="519" y="305"/>
                  </a:lnTo>
                  <a:lnTo>
                    <a:pt x="521" y="303"/>
                  </a:lnTo>
                  <a:lnTo>
                    <a:pt x="523" y="303"/>
                  </a:lnTo>
                  <a:lnTo>
                    <a:pt x="525" y="303"/>
                  </a:lnTo>
                  <a:lnTo>
                    <a:pt x="529" y="305"/>
                  </a:lnTo>
                  <a:lnTo>
                    <a:pt x="534" y="305"/>
                  </a:lnTo>
                  <a:lnTo>
                    <a:pt x="530" y="292"/>
                  </a:lnTo>
                  <a:lnTo>
                    <a:pt x="525" y="281"/>
                  </a:lnTo>
                  <a:lnTo>
                    <a:pt x="530" y="279"/>
                  </a:lnTo>
                  <a:lnTo>
                    <a:pt x="536" y="281"/>
                  </a:lnTo>
                  <a:lnTo>
                    <a:pt x="540" y="285"/>
                  </a:lnTo>
                  <a:lnTo>
                    <a:pt x="545" y="290"/>
                  </a:lnTo>
                  <a:lnTo>
                    <a:pt x="553" y="301"/>
                  </a:lnTo>
                  <a:lnTo>
                    <a:pt x="558" y="305"/>
                  </a:lnTo>
                  <a:lnTo>
                    <a:pt x="569" y="301"/>
                  </a:lnTo>
                  <a:lnTo>
                    <a:pt x="575" y="300"/>
                  </a:lnTo>
                  <a:lnTo>
                    <a:pt x="582" y="301"/>
                  </a:lnTo>
                  <a:lnTo>
                    <a:pt x="589" y="305"/>
                  </a:lnTo>
                  <a:lnTo>
                    <a:pt x="597" y="303"/>
                  </a:lnTo>
                  <a:lnTo>
                    <a:pt x="602" y="298"/>
                  </a:lnTo>
                  <a:lnTo>
                    <a:pt x="604" y="292"/>
                  </a:lnTo>
                  <a:lnTo>
                    <a:pt x="606" y="287"/>
                  </a:lnTo>
                  <a:lnTo>
                    <a:pt x="606" y="274"/>
                  </a:lnTo>
                  <a:lnTo>
                    <a:pt x="606" y="261"/>
                  </a:lnTo>
                  <a:lnTo>
                    <a:pt x="612" y="253"/>
                  </a:lnTo>
                  <a:lnTo>
                    <a:pt x="617" y="250"/>
                  </a:lnTo>
                  <a:lnTo>
                    <a:pt x="619" y="246"/>
                  </a:lnTo>
                  <a:lnTo>
                    <a:pt x="621" y="242"/>
                  </a:lnTo>
                  <a:lnTo>
                    <a:pt x="623" y="235"/>
                  </a:lnTo>
                  <a:lnTo>
                    <a:pt x="625" y="226"/>
                  </a:lnTo>
                  <a:lnTo>
                    <a:pt x="628" y="222"/>
                  </a:lnTo>
                  <a:lnTo>
                    <a:pt x="630" y="222"/>
                  </a:lnTo>
                  <a:lnTo>
                    <a:pt x="634" y="224"/>
                  </a:lnTo>
                  <a:lnTo>
                    <a:pt x="638" y="226"/>
                  </a:lnTo>
                  <a:lnTo>
                    <a:pt x="643" y="226"/>
                  </a:lnTo>
                  <a:lnTo>
                    <a:pt x="649" y="224"/>
                  </a:lnTo>
                  <a:lnTo>
                    <a:pt x="658" y="235"/>
                  </a:lnTo>
                  <a:lnTo>
                    <a:pt x="667" y="242"/>
                  </a:lnTo>
                  <a:lnTo>
                    <a:pt x="671" y="239"/>
                  </a:lnTo>
                  <a:lnTo>
                    <a:pt x="674" y="233"/>
                  </a:lnTo>
                  <a:lnTo>
                    <a:pt x="676" y="231"/>
                  </a:lnTo>
                  <a:lnTo>
                    <a:pt x="680" y="229"/>
                  </a:lnTo>
                  <a:lnTo>
                    <a:pt x="684" y="229"/>
                  </a:lnTo>
                  <a:lnTo>
                    <a:pt x="687" y="229"/>
                  </a:lnTo>
                  <a:lnTo>
                    <a:pt x="689" y="220"/>
                  </a:lnTo>
                  <a:lnTo>
                    <a:pt x="693" y="213"/>
                  </a:lnTo>
                  <a:lnTo>
                    <a:pt x="698" y="207"/>
                  </a:lnTo>
                  <a:lnTo>
                    <a:pt x="706" y="202"/>
                  </a:lnTo>
                  <a:lnTo>
                    <a:pt x="721" y="192"/>
                  </a:lnTo>
                  <a:lnTo>
                    <a:pt x="737" y="185"/>
                  </a:lnTo>
                  <a:lnTo>
                    <a:pt x="734" y="174"/>
                  </a:lnTo>
                  <a:lnTo>
                    <a:pt x="728" y="163"/>
                  </a:lnTo>
                  <a:lnTo>
                    <a:pt x="737" y="165"/>
                  </a:lnTo>
                  <a:lnTo>
                    <a:pt x="748" y="165"/>
                  </a:lnTo>
                  <a:lnTo>
                    <a:pt x="747" y="154"/>
                  </a:lnTo>
                  <a:lnTo>
                    <a:pt x="743" y="144"/>
                  </a:lnTo>
                  <a:lnTo>
                    <a:pt x="752" y="143"/>
                  </a:lnTo>
                  <a:lnTo>
                    <a:pt x="756" y="139"/>
                  </a:lnTo>
                  <a:lnTo>
                    <a:pt x="756" y="135"/>
                  </a:lnTo>
                  <a:lnTo>
                    <a:pt x="752" y="131"/>
                  </a:lnTo>
                  <a:lnTo>
                    <a:pt x="748" y="130"/>
                  </a:lnTo>
                  <a:lnTo>
                    <a:pt x="743" y="128"/>
                  </a:lnTo>
                  <a:lnTo>
                    <a:pt x="737" y="128"/>
                  </a:lnTo>
                  <a:lnTo>
                    <a:pt x="732" y="131"/>
                  </a:lnTo>
                  <a:lnTo>
                    <a:pt x="728" y="135"/>
                  </a:lnTo>
                  <a:lnTo>
                    <a:pt x="721" y="141"/>
                  </a:lnTo>
                  <a:lnTo>
                    <a:pt x="715" y="141"/>
                  </a:lnTo>
                  <a:lnTo>
                    <a:pt x="711" y="139"/>
                  </a:lnTo>
                  <a:lnTo>
                    <a:pt x="710" y="137"/>
                  </a:lnTo>
                  <a:lnTo>
                    <a:pt x="710" y="135"/>
                  </a:lnTo>
                  <a:lnTo>
                    <a:pt x="717" y="131"/>
                  </a:lnTo>
                  <a:lnTo>
                    <a:pt x="724" y="126"/>
                  </a:lnTo>
                  <a:lnTo>
                    <a:pt x="724" y="124"/>
                  </a:lnTo>
                  <a:lnTo>
                    <a:pt x="722" y="122"/>
                  </a:lnTo>
                  <a:lnTo>
                    <a:pt x="721" y="120"/>
                  </a:lnTo>
                  <a:lnTo>
                    <a:pt x="717" y="120"/>
                  </a:lnTo>
                  <a:lnTo>
                    <a:pt x="710" y="120"/>
                  </a:lnTo>
                  <a:lnTo>
                    <a:pt x="702" y="119"/>
                  </a:lnTo>
                  <a:lnTo>
                    <a:pt x="697" y="113"/>
                  </a:lnTo>
                  <a:lnTo>
                    <a:pt x="689" y="106"/>
                  </a:lnTo>
                  <a:lnTo>
                    <a:pt x="686" y="109"/>
                  </a:lnTo>
                  <a:lnTo>
                    <a:pt x="678" y="115"/>
                  </a:lnTo>
                  <a:lnTo>
                    <a:pt x="676" y="109"/>
                  </a:lnTo>
                  <a:lnTo>
                    <a:pt x="674" y="106"/>
                  </a:lnTo>
                  <a:lnTo>
                    <a:pt x="667" y="106"/>
                  </a:lnTo>
                  <a:lnTo>
                    <a:pt x="662" y="107"/>
                  </a:lnTo>
                  <a:lnTo>
                    <a:pt x="654" y="109"/>
                  </a:lnTo>
                  <a:lnTo>
                    <a:pt x="643" y="107"/>
                  </a:lnTo>
                  <a:lnTo>
                    <a:pt x="643" y="106"/>
                  </a:lnTo>
                  <a:lnTo>
                    <a:pt x="643" y="102"/>
                  </a:lnTo>
                  <a:lnTo>
                    <a:pt x="645" y="100"/>
                  </a:lnTo>
                  <a:lnTo>
                    <a:pt x="649" y="98"/>
                  </a:lnTo>
                  <a:lnTo>
                    <a:pt x="654" y="94"/>
                  </a:lnTo>
                  <a:lnTo>
                    <a:pt x="663" y="91"/>
                  </a:lnTo>
                  <a:lnTo>
                    <a:pt x="665" y="89"/>
                  </a:lnTo>
                  <a:lnTo>
                    <a:pt x="665" y="85"/>
                  </a:lnTo>
                  <a:lnTo>
                    <a:pt x="663" y="82"/>
                  </a:lnTo>
                  <a:lnTo>
                    <a:pt x="662" y="78"/>
                  </a:lnTo>
                  <a:lnTo>
                    <a:pt x="663" y="74"/>
                  </a:lnTo>
                  <a:lnTo>
                    <a:pt x="667" y="72"/>
                  </a:lnTo>
                  <a:lnTo>
                    <a:pt x="669" y="69"/>
                  </a:lnTo>
                  <a:lnTo>
                    <a:pt x="667" y="65"/>
                  </a:lnTo>
                  <a:lnTo>
                    <a:pt x="656" y="65"/>
                  </a:lnTo>
                  <a:lnTo>
                    <a:pt x="643" y="65"/>
                  </a:lnTo>
                  <a:lnTo>
                    <a:pt x="652" y="54"/>
                  </a:lnTo>
                  <a:lnTo>
                    <a:pt x="662" y="45"/>
                  </a:lnTo>
                  <a:lnTo>
                    <a:pt x="652" y="39"/>
                  </a:lnTo>
                  <a:lnTo>
                    <a:pt x="641" y="34"/>
                  </a:lnTo>
                  <a:lnTo>
                    <a:pt x="643" y="22"/>
                  </a:lnTo>
                  <a:lnTo>
                    <a:pt x="645" y="13"/>
                  </a:lnTo>
                  <a:lnTo>
                    <a:pt x="647" y="9"/>
                  </a:lnTo>
                  <a:lnTo>
                    <a:pt x="645" y="6"/>
                  </a:lnTo>
                  <a:lnTo>
                    <a:pt x="643" y="2"/>
                  </a:lnTo>
                  <a:lnTo>
                    <a:pt x="639" y="0"/>
                  </a:lnTo>
                  <a:lnTo>
                    <a:pt x="632" y="8"/>
                  </a:lnTo>
                  <a:lnTo>
                    <a:pt x="617" y="26"/>
                  </a:lnTo>
                  <a:lnTo>
                    <a:pt x="610" y="30"/>
                  </a:lnTo>
                  <a:lnTo>
                    <a:pt x="601" y="32"/>
                  </a:lnTo>
                  <a:lnTo>
                    <a:pt x="589" y="39"/>
                  </a:lnTo>
                  <a:lnTo>
                    <a:pt x="578" y="45"/>
                  </a:lnTo>
                  <a:lnTo>
                    <a:pt x="567" y="50"/>
                  </a:lnTo>
                  <a:lnTo>
                    <a:pt x="553" y="52"/>
                  </a:lnTo>
                  <a:lnTo>
                    <a:pt x="547" y="54"/>
                  </a:lnTo>
                  <a:lnTo>
                    <a:pt x="543" y="58"/>
                  </a:lnTo>
                  <a:lnTo>
                    <a:pt x="541" y="63"/>
                  </a:lnTo>
                  <a:lnTo>
                    <a:pt x="540" y="70"/>
                  </a:lnTo>
                  <a:lnTo>
                    <a:pt x="534" y="76"/>
                  </a:lnTo>
                  <a:lnTo>
                    <a:pt x="532" y="83"/>
                  </a:lnTo>
                  <a:lnTo>
                    <a:pt x="540" y="80"/>
                  </a:lnTo>
                  <a:lnTo>
                    <a:pt x="547" y="78"/>
                  </a:lnTo>
                  <a:lnTo>
                    <a:pt x="545" y="83"/>
                  </a:lnTo>
                  <a:lnTo>
                    <a:pt x="541" y="89"/>
                  </a:lnTo>
                  <a:lnTo>
                    <a:pt x="541" y="98"/>
                  </a:lnTo>
                  <a:lnTo>
                    <a:pt x="540" y="106"/>
                  </a:lnTo>
                  <a:lnTo>
                    <a:pt x="532" y="104"/>
                  </a:lnTo>
                  <a:lnTo>
                    <a:pt x="525" y="102"/>
                  </a:lnTo>
                  <a:lnTo>
                    <a:pt x="521" y="109"/>
                  </a:lnTo>
                  <a:lnTo>
                    <a:pt x="519" y="120"/>
                  </a:lnTo>
                  <a:lnTo>
                    <a:pt x="517" y="128"/>
                  </a:lnTo>
                  <a:lnTo>
                    <a:pt x="516" y="131"/>
                  </a:lnTo>
                  <a:lnTo>
                    <a:pt x="516" y="135"/>
                  </a:lnTo>
                  <a:lnTo>
                    <a:pt x="516" y="139"/>
                  </a:lnTo>
                  <a:lnTo>
                    <a:pt x="525" y="135"/>
                  </a:lnTo>
                  <a:lnTo>
                    <a:pt x="536" y="130"/>
                  </a:lnTo>
                  <a:lnTo>
                    <a:pt x="545" y="135"/>
                  </a:lnTo>
                  <a:lnTo>
                    <a:pt x="554" y="139"/>
                  </a:lnTo>
                  <a:lnTo>
                    <a:pt x="560" y="133"/>
                  </a:lnTo>
                  <a:lnTo>
                    <a:pt x="567" y="130"/>
                  </a:lnTo>
                  <a:lnTo>
                    <a:pt x="575" y="131"/>
                  </a:lnTo>
                  <a:lnTo>
                    <a:pt x="578" y="135"/>
                  </a:lnTo>
                  <a:lnTo>
                    <a:pt x="577" y="137"/>
                  </a:lnTo>
                  <a:lnTo>
                    <a:pt x="567" y="141"/>
                  </a:lnTo>
                  <a:lnTo>
                    <a:pt x="567" y="146"/>
                  </a:lnTo>
                  <a:lnTo>
                    <a:pt x="565" y="157"/>
                  </a:lnTo>
                  <a:lnTo>
                    <a:pt x="558" y="157"/>
                  </a:lnTo>
                  <a:lnTo>
                    <a:pt x="553" y="157"/>
                  </a:lnTo>
                  <a:lnTo>
                    <a:pt x="549" y="157"/>
                  </a:lnTo>
                  <a:lnTo>
                    <a:pt x="543" y="159"/>
                  </a:lnTo>
                  <a:lnTo>
                    <a:pt x="541" y="157"/>
                  </a:lnTo>
                  <a:lnTo>
                    <a:pt x="538" y="152"/>
                  </a:lnTo>
                  <a:lnTo>
                    <a:pt x="534" y="150"/>
                  </a:lnTo>
                  <a:lnTo>
                    <a:pt x="527" y="150"/>
                  </a:lnTo>
                  <a:lnTo>
                    <a:pt x="514" y="152"/>
                  </a:lnTo>
                  <a:lnTo>
                    <a:pt x="506" y="152"/>
                  </a:lnTo>
                  <a:lnTo>
                    <a:pt x="497" y="148"/>
                  </a:lnTo>
                  <a:lnTo>
                    <a:pt x="488" y="139"/>
                  </a:lnTo>
                  <a:lnTo>
                    <a:pt x="484" y="139"/>
                  </a:lnTo>
                  <a:lnTo>
                    <a:pt x="482" y="143"/>
                  </a:lnTo>
                  <a:lnTo>
                    <a:pt x="482" y="148"/>
                  </a:lnTo>
                  <a:lnTo>
                    <a:pt x="482" y="152"/>
                  </a:lnTo>
                  <a:lnTo>
                    <a:pt x="473" y="150"/>
                  </a:lnTo>
                  <a:lnTo>
                    <a:pt x="449" y="146"/>
                  </a:lnTo>
                  <a:lnTo>
                    <a:pt x="447" y="152"/>
                  </a:lnTo>
                  <a:lnTo>
                    <a:pt x="447" y="157"/>
                  </a:lnTo>
                  <a:lnTo>
                    <a:pt x="449" y="161"/>
                  </a:lnTo>
                  <a:lnTo>
                    <a:pt x="451" y="161"/>
                  </a:lnTo>
                  <a:lnTo>
                    <a:pt x="455" y="163"/>
                  </a:lnTo>
                  <a:lnTo>
                    <a:pt x="458" y="161"/>
                  </a:lnTo>
                  <a:lnTo>
                    <a:pt x="458" y="167"/>
                  </a:lnTo>
                  <a:lnTo>
                    <a:pt x="458" y="170"/>
                  </a:lnTo>
                  <a:lnTo>
                    <a:pt x="456" y="172"/>
                  </a:lnTo>
                  <a:lnTo>
                    <a:pt x="453" y="174"/>
                  </a:lnTo>
                  <a:lnTo>
                    <a:pt x="444" y="168"/>
                  </a:lnTo>
                  <a:lnTo>
                    <a:pt x="432" y="165"/>
                  </a:lnTo>
                  <a:lnTo>
                    <a:pt x="425" y="181"/>
                  </a:lnTo>
                  <a:lnTo>
                    <a:pt x="416" y="194"/>
                  </a:lnTo>
                  <a:lnTo>
                    <a:pt x="414" y="185"/>
                  </a:lnTo>
                  <a:lnTo>
                    <a:pt x="414" y="178"/>
                  </a:lnTo>
                  <a:lnTo>
                    <a:pt x="403" y="185"/>
                  </a:lnTo>
                  <a:lnTo>
                    <a:pt x="388" y="196"/>
                  </a:lnTo>
                  <a:lnTo>
                    <a:pt x="375" y="209"/>
                  </a:lnTo>
                  <a:lnTo>
                    <a:pt x="362" y="222"/>
                  </a:lnTo>
                  <a:lnTo>
                    <a:pt x="355" y="224"/>
                  </a:lnTo>
                  <a:lnTo>
                    <a:pt x="344" y="224"/>
                  </a:lnTo>
                  <a:lnTo>
                    <a:pt x="336" y="226"/>
                  </a:lnTo>
                  <a:lnTo>
                    <a:pt x="329" y="229"/>
                  </a:lnTo>
                  <a:lnTo>
                    <a:pt x="318" y="237"/>
                  </a:lnTo>
                  <a:lnTo>
                    <a:pt x="307" y="246"/>
                  </a:lnTo>
                  <a:lnTo>
                    <a:pt x="281" y="261"/>
                  </a:lnTo>
                  <a:lnTo>
                    <a:pt x="266" y="266"/>
                  </a:lnTo>
                  <a:lnTo>
                    <a:pt x="268" y="263"/>
                  </a:lnTo>
                  <a:lnTo>
                    <a:pt x="270" y="259"/>
                  </a:lnTo>
                  <a:lnTo>
                    <a:pt x="270" y="257"/>
                  </a:lnTo>
                  <a:lnTo>
                    <a:pt x="268" y="257"/>
                  </a:lnTo>
                  <a:lnTo>
                    <a:pt x="257" y="264"/>
                  </a:lnTo>
                  <a:lnTo>
                    <a:pt x="250" y="272"/>
                  </a:lnTo>
                  <a:lnTo>
                    <a:pt x="244" y="281"/>
                  </a:lnTo>
                  <a:lnTo>
                    <a:pt x="240" y="290"/>
                  </a:lnTo>
                  <a:lnTo>
                    <a:pt x="235" y="290"/>
                  </a:lnTo>
                  <a:lnTo>
                    <a:pt x="231" y="292"/>
                  </a:lnTo>
                  <a:lnTo>
                    <a:pt x="226" y="294"/>
                  </a:lnTo>
                  <a:lnTo>
                    <a:pt x="222" y="298"/>
                  </a:lnTo>
                  <a:lnTo>
                    <a:pt x="216" y="303"/>
                  </a:lnTo>
                  <a:lnTo>
                    <a:pt x="211" y="311"/>
                  </a:lnTo>
                  <a:lnTo>
                    <a:pt x="202" y="316"/>
                  </a:lnTo>
                  <a:lnTo>
                    <a:pt x="194" y="320"/>
                  </a:lnTo>
                  <a:lnTo>
                    <a:pt x="189" y="324"/>
                  </a:lnTo>
                  <a:lnTo>
                    <a:pt x="187" y="327"/>
                  </a:lnTo>
                  <a:lnTo>
                    <a:pt x="185" y="337"/>
                  </a:lnTo>
                  <a:lnTo>
                    <a:pt x="185" y="348"/>
                  </a:lnTo>
                  <a:lnTo>
                    <a:pt x="178" y="351"/>
                  </a:lnTo>
                  <a:lnTo>
                    <a:pt x="172" y="355"/>
                  </a:lnTo>
                  <a:lnTo>
                    <a:pt x="168" y="359"/>
                  </a:lnTo>
                  <a:lnTo>
                    <a:pt x="168" y="362"/>
                  </a:lnTo>
                  <a:lnTo>
                    <a:pt x="168" y="372"/>
                  </a:lnTo>
                  <a:lnTo>
                    <a:pt x="166" y="379"/>
                  </a:lnTo>
                  <a:lnTo>
                    <a:pt x="161" y="381"/>
                  </a:lnTo>
                  <a:lnTo>
                    <a:pt x="157" y="385"/>
                  </a:lnTo>
                  <a:lnTo>
                    <a:pt x="163" y="392"/>
                  </a:lnTo>
                  <a:lnTo>
                    <a:pt x="166" y="399"/>
                  </a:lnTo>
                  <a:lnTo>
                    <a:pt x="159" y="403"/>
                  </a:lnTo>
                  <a:lnTo>
                    <a:pt x="150" y="405"/>
                  </a:lnTo>
                  <a:lnTo>
                    <a:pt x="141" y="410"/>
                  </a:lnTo>
                  <a:lnTo>
                    <a:pt x="135" y="416"/>
                  </a:lnTo>
                  <a:lnTo>
                    <a:pt x="131" y="425"/>
                  </a:lnTo>
                  <a:lnTo>
                    <a:pt x="122" y="438"/>
                  </a:lnTo>
                  <a:lnTo>
                    <a:pt x="115" y="442"/>
                  </a:lnTo>
                  <a:lnTo>
                    <a:pt x="106" y="444"/>
                  </a:lnTo>
                  <a:lnTo>
                    <a:pt x="104" y="446"/>
                  </a:lnTo>
                  <a:lnTo>
                    <a:pt x="100" y="447"/>
                  </a:lnTo>
                  <a:lnTo>
                    <a:pt x="98" y="449"/>
                  </a:lnTo>
                  <a:lnTo>
                    <a:pt x="98" y="453"/>
                  </a:lnTo>
                  <a:lnTo>
                    <a:pt x="98" y="457"/>
                  </a:lnTo>
                  <a:lnTo>
                    <a:pt x="100" y="459"/>
                  </a:lnTo>
                  <a:lnTo>
                    <a:pt x="102" y="460"/>
                  </a:lnTo>
                  <a:lnTo>
                    <a:pt x="106" y="462"/>
                  </a:lnTo>
                  <a:lnTo>
                    <a:pt x="113" y="464"/>
                  </a:lnTo>
                  <a:lnTo>
                    <a:pt x="120" y="466"/>
                  </a:lnTo>
                  <a:lnTo>
                    <a:pt x="122" y="477"/>
                  </a:lnTo>
                  <a:lnTo>
                    <a:pt x="124" y="486"/>
                  </a:lnTo>
                  <a:lnTo>
                    <a:pt x="141" y="484"/>
                  </a:lnTo>
                  <a:lnTo>
                    <a:pt x="155" y="479"/>
                  </a:lnTo>
                  <a:lnTo>
                    <a:pt x="159" y="481"/>
                  </a:lnTo>
                  <a:lnTo>
                    <a:pt x="161" y="483"/>
                  </a:lnTo>
                  <a:lnTo>
                    <a:pt x="166" y="483"/>
                  </a:lnTo>
                  <a:lnTo>
                    <a:pt x="174" y="483"/>
                  </a:lnTo>
                  <a:lnTo>
                    <a:pt x="179" y="486"/>
                  </a:lnTo>
                  <a:lnTo>
                    <a:pt x="187" y="494"/>
                  </a:lnTo>
                  <a:lnTo>
                    <a:pt x="190" y="497"/>
                  </a:lnTo>
                  <a:lnTo>
                    <a:pt x="194" y="501"/>
                  </a:lnTo>
                  <a:lnTo>
                    <a:pt x="198" y="503"/>
                  </a:lnTo>
                  <a:lnTo>
                    <a:pt x="203" y="503"/>
                  </a:lnTo>
                  <a:lnTo>
                    <a:pt x="203" y="507"/>
                  </a:lnTo>
                  <a:lnTo>
                    <a:pt x="203" y="508"/>
                  </a:lnTo>
                  <a:lnTo>
                    <a:pt x="203" y="510"/>
                  </a:lnTo>
                  <a:lnTo>
                    <a:pt x="202" y="512"/>
                  </a:lnTo>
                  <a:lnTo>
                    <a:pt x="196" y="514"/>
                  </a:lnTo>
                  <a:lnTo>
                    <a:pt x="190" y="518"/>
                  </a:lnTo>
                  <a:lnTo>
                    <a:pt x="185" y="527"/>
                  </a:lnTo>
                  <a:lnTo>
                    <a:pt x="176" y="536"/>
                  </a:lnTo>
                  <a:lnTo>
                    <a:pt x="172" y="534"/>
                  </a:lnTo>
                  <a:lnTo>
                    <a:pt x="168" y="529"/>
                  </a:lnTo>
                  <a:lnTo>
                    <a:pt x="166" y="527"/>
                  </a:lnTo>
                  <a:lnTo>
                    <a:pt x="165" y="525"/>
                  </a:lnTo>
                  <a:lnTo>
                    <a:pt x="163" y="525"/>
                  </a:lnTo>
                  <a:lnTo>
                    <a:pt x="159" y="525"/>
                  </a:lnTo>
                  <a:lnTo>
                    <a:pt x="148" y="532"/>
                  </a:lnTo>
                  <a:lnTo>
                    <a:pt x="137" y="536"/>
                  </a:lnTo>
                  <a:lnTo>
                    <a:pt x="131" y="544"/>
                  </a:lnTo>
                  <a:lnTo>
                    <a:pt x="124" y="547"/>
                  </a:lnTo>
                  <a:lnTo>
                    <a:pt x="118" y="544"/>
                  </a:lnTo>
                  <a:lnTo>
                    <a:pt x="115" y="536"/>
                  </a:lnTo>
                  <a:lnTo>
                    <a:pt x="107" y="538"/>
                  </a:lnTo>
                  <a:lnTo>
                    <a:pt x="98" y="540"/>
                  </a:lnTo>
                  <a:lnTo>
                    <a:pt x="93" y="538"/>
                  </a:lnTo>
                  <a:lnTo>
                    <a:pt x="87" y="536"/>
                  </a:lnTo>
                  <a:lnTo>
                    <a:pt x="85" y="549"/>
                  </a:lnTo>
                  <a:lnTo>
                    <a:pt x="83" y="562"/>
                  </a:lnTo>
                  <a:lnTo>
                    <a:pt x="80" y="575"/>
                  </a:lnTo>
                  <a:lnTo>
                    <a:pt x="72" y="586"/>
                  </a:lnTo>
                  <a:lnTo>
                    <a:pt x="63" y="599"/>
                  </a:lnTo>
                  <a:lnTo>
                    <a:pt x="54" y="608"/>
                  </a:lnTo>
                  <a:lnTo>
                    <a:pt x="48" y="614"/>
                  </a:lnTo>
                  <a:lnTo>
                    <a:pt x="41" y="616"/>
                  </a:lnTo>
                  <a:lnTo>
                    <a:pt x="33" y="616"/>
                  </a:lnTo>
                  <a:lnTo>
                    <a:pt x="28" y="614"/>
                  </a:lnTo>
                  <a:lnTo>
                    <a:pt x="24" y="619"/>
                  </a:lnTo>
                  <a:lnTo>
                    <a:pt x="21" y="627"/>
                  </a:lnTo>
                  <a:lnTo>
                    <a:pt x="19" y="634"/>
                  </a:lnTo>
                  <a:lnTo>
                    <a:pt x="17" y="643"/>
                  </a:lnTo>
                  <a:lnTo>
                    <a:pt x="9" y="654"/>
                  </a:lnTo>
                  <a:lnTo>
                    <a:pt x="4" y="662"/>
                  </a:lnTo>
                  <a:lnTo>
                    <a:pt x="0" y="669"/>
                  </a:lnTo>
                  <a:lnTo>
                    <a:pt x="0" y="675"/>
                  </a:lnTo>
                  <a:lnTo>
                    <a:pt x="15" y="684"/>
                  </a:lnTo>
                  <a:lnTo>
                    <a:pt x="32" y="693"/>
                  </a:lnTo>
                  <a:lnTo>
                    <a:pt x="46" y="702"/>
                  </a:lnTo>
                  <a:lnTo>
                    <a:pt x="61" y="714"/>
                  </a:lnTo>
                  <a:lnTo>
                    <a:pt x="67" y="717"/>
                  </a:lnTo>
                  <a:lnTo>
                    <a:pt x="70" y="721"/>
                  </a:lnTo>
                  <a:lnTo>
                    <a:pt x="72" y="725"/>
                  </a:lnTo>
                  <a:lnTo>
                    <a:pt x="74" y="728"/>
                  </a:lnTo>
                  <a:lnTo>
                    <a:pt x="72" y="734"/>
                  </a:lnTo>
                  <a:lnTo>
                    <a:pt x="67" y="743"/>
                  </a:lnTo>
                  <a:lnTo>
                    <a:pt x="63" y="762"/>
                  </a:lnTo>
                  <a:lnTo>
                    <a:pt x="59" y="776"/>
                  </a:lnTo>
                  <a:lnTo>
                    <a:pt x="54" y="786"/>
                  </a:lnTo>
                  <a:lnTo>
                    <a:pt x="50" y="793"/>
                  </a:lnTo>
                  <a:lnTo>
                    <a:pt x="39" y="806"/>
                  </a:lnTo>
                  <a:lnTo>
                    <a:pt x="30" y="821"/>
                  </a:lnTo>
                  <a:lnTo>
                    <a:pt x="24" y="832"/>
                  </a:lnTo>
                  <a:lnTo>
                    <a:pt x="21" y="841"/>
                  </a:lnTo>
                  <a:lnTo>
                    <a:pt x="19" y="848"/>
                  </a:lnTo>
                  <a:lnTo>
                    <a:pt x="19" y="854"/>
                  </a:lnTo>
                  <a:lnTo>
                    <a:pt x="26" y="854"/>
                  </a:lnTo>
                  <a:lnTo>
                    <a:pt x="33" y="856"/>
                  </a:lnTo>
                  <a:lnTo>
                    <a:pt x="32" y="865"/>
                  </a:lnTo>
                  <a:lnTo>
                    <a:pt x="32" y="876"/>
                  </a:lnTo>
                  <a:lnTo>
                    <a:pt x="45" y="885"/>
                  </a:lnTo>
                  <a:lnTo>
                    <a:pt x="54" y="889"/>
                  </a:lnTo>
                  <a:lnTo>
                    <a:pt x="63" y="891"/>
                  </a:lnTo>
                  <a:lnTo>
                    <a:pt x="72" y="891"/>
                  </a:lnTo>
                  <a:lnTo>
                    <a:pt x="87" y="889"/>
                  </a:lnTo>
                  <a:lnTo>
                    <a:pt x="104" y="891"/>
                  </a:lnTo>
                  <a:lnTo>
                    <a:pt x="111" y="898"/>
                  </a:lnTo>
                  <a:lnTo>
                    <a:pt x="118" y="911"/>
                  </a:lnTo>
                  <a:lnTo>
                    <a:pt x="120" y="917"/>
                  </a:lnTo>
                  <a:lnTo>
                    <a:pt x="126" y="922"/>
                  </a:lnTo>
                  <a:lnTo>
                    <a:pt x="130" y="926"/>
                  </a:lnTo>
                  <a:lnTo>
                    <a:pt x="135" y="928"/>
                  </a:lnTo>
                  <a:lnTo>
                    <a:pt x="144" y="926"/>
                  </a:lnTo>
                  <a:lnTo>
                    <a:pt x="152" y="924"/>
                  </a:lnTo>
                  <a:lnTo>
                    <a:pt x="159" y="926"/>
                  </a:lnTo>
                  <a:lnTo>
                    <a:pt x="166" y="930"/>
                  </a:lnTo>
                  <a:lnTo>
                    <a:pt x="168" y="939"/>
                  </a:lnTo>
                  <a:lnTo>
                    <a:pt x="170" y="946"/>
                  </a:lnTo>
                  <a:lnTo>
                    <a:pt x="172" y="952"/>
                  </a:lnTo>
                  <a:lnTo>
                    <a:pt x="176" y="956"/>
                  </a:lnTo>
                  <a:lnTo>
                    <a:pt x="194" y="952"/>
                  </a:lnTo>
                  <a:lnTo>
                    <a:pt x="213" y="946"/>
                  </a:lnTo>
                  <a:lnTo>
                    <a:pt x="222" y="944"/>
                  </a:lnTo>
                  <a:lnTo>
                    <a:pt x="233" y="943"/>
                  </a:lnTo>
                  <a:lnTo>
                    <a:pt x="244" y="943"/>
                  </a:lnTo>
                  <a:lnTo>
                    <a:pt x="257" y="943"/>
                  </a:lnTo>
                  <a:lnTo>
                    <a:pt x="261" y="937"/>
                  </a:lnTo>
                  <a:lnTo>
                    <a:pt x="263" y="932"/>
                  </a:lnTo>
                  <a:lnTo>
                    <a:pt x="266" y="928"/>
                  </a:lnTo>
                  <a:lnTo>
                    <a:pt x="270" y="924"/>
                  </a:lnTo>
                  <a:lnTo>
                    <a:pt x="279" y="919"/>
                  </a:lnTo>
                  <a:lnTo>
                    <a:pt x="287" y="917"/>
                  </a:lnTo>
                  <a:lnTo>
                    <a:pt x="296" y="917"/>
                  </a:lnTo>
                  <a:lnTo>
                    <a:pt x="305" y="917"/>
                  </a:lnTo>
                  <a:lnTo>
                    <a:pt x="312" y="915"/>
                  </a:lnTo>
                  <a:lnTo>
                    <a:pt x="318" y="913"/>
                  </a:lnTo>
                  <a:lnTo>
                    <a:pt x="329" y="906"/>
                  </a:lnTo>
                  <a:lnTo>
                    <a:pt x="338" y="898"/>
                  </a:lnTo>
                  <a:lnTo>
                    <a:pt x="340" y="891"/>
                  </a:lnTo>
                  <a:lnTo>
                    <a:pt x="340" y="884"/>
                  </a:lnTo>
                  <a:lnTo>
                    <a:pt x="340" y="882"/>
                  </a:lnTo>
                  <a:lnTo>
                    <a:pt x="342" y="878"/>
                  </a:lnTo>
                  <a:lnTo>
                    <a:pt x="344" y="876"/>
                  </a:lnTo>
                  <a:lnTo>
                    <a:pt x="347" y="874"/>
                  </a:lnTo>
                  <a:lnTo>
                    <a:pt x="349" y="865"/>
                  </a:lnTo>
                  <a:lnTo>
                    <a:pt x="353" y="856"/>
                  </a:lnTo>
                  <a:lnTo>
                    <a:pt x="355" y="852"/>
                  </a:lnTo>
                  <a:lnTo>
                    <a:pt x="357" y="848"/>
                  </a:lnTo>
                  <a:lnTo>
                    <a:pt x="360" y="847"/>
                  </a:lnTo>
                  <a:lnTo>
                    <a:pt x="364" y="845"/>
                  </a:lnTo>
                  <a:lnTo>
                    <a:pt x="372" y="847"/>
                  </a:lnTo>
                  <a:lnTo>
                    <a:pt x="379" y="848"/>
                  </a:lnTo>
                  <a:lnTo>
                    <a:pt x="381" y="837"/>
                  </a:lnTo>
                  <a:lnTo>
                    <a:pt x="384" y="826"/>
                  </a:lnTo>
                  <a:lnTo>
                    <a:pt x="390" y="824"/>
                  </a:lnTo>
                  <a:lnTo>
                    <a:pt x="397" y="824"/>
                  </a:lnTo>
                  <a:lnTo>
                    <a:pt x="401" y="823"/>
                  </a:lnTo>
                  <a:lnTo>
                    <a:pt x="405" y="821"/>
                  </a:lnTo>
                  <a:lnTo>
                    <a:pt x="408" y="815"/>
                  </a:lnTo>
                  <a:lnTo>
                    <a:pt x="412" y="808"/>
                  </a:lnTo>
                  <a:lnTo>
                    <a:pt x="421" y="802"/>
                  </a:lnTo>
                  <a:lnTo>
                    <a:pt x="425" y="797"/>
                  </a:lnTo>
                  <a:lnTo>
                    <a:pt x="427" y="789"/>
                  </a:lnTo>
                  <a:lnTo>
                    <a:pt x="431" y="780"/>
                  </a:lnTo>
                  <a:lnTo>
                    <a:pt x="432" y="776"/>
                  </a:lnTo>
                  <a:lnTo>
                    <a:pt x="436" y="774"/>
                  </a:lnTo>
                  <a:lnTo>
                    <a:pt x="442" y="773"/>
                  </a:lnTo>
                  <a:lnTo>
                    <a:pt x="449" y="771"/>
                  </a:lnTo>
                  <a:lnTo>
                    <a:pt x="460" y="758"/>
                  </a:lnTo>
                  <a:lnTo>
                    <a:pt x="469" y="749"/>
                  </a:lnTo>
                  <a:lnTo>
                    <a:pt x="488" y="750"/>
                  </a:lnTo>
                  <a:lnTo>
                    <a:pt x="505" y="754"/>
                  </a:lnTo>
                  <a:lnTo>
                    <a:pt x="516" y="749"/>
                  </a:lnTo>
                  <a:lnTo>
                    <a:pt x="525" y="743"/>
                  </a:lnTo>
                  <a:lnTo>
                    <a:pt x="530" y="741"/>
                  </a:lnTo>
                  <a:lnTo>
                    <a:pt x="536" y="741"/>
                  </a:lnTo>
                  <a:lnTo>
                    <a:pt x="541" y="739"/>
                  </a:lnTo>
                  <a:lnTo>
                    <a:pt x="547" y="741"/>
                  </a:lnTo>
                  <a:lnTo>
                    <a:pt x="549" y="752"/>
                  </a:lnTo>
                  <a:lnTo>
                    <a:pt x="545" y="767"/>
                  </a:lnTo>
                  <a:lnTo>
                    <a:pt x="545" y="776"/>
                  </a:lnTo>
                  <a:lnTo>
                    <a:pt x="547" y="786"/>
                  </a:lnTo>
                  <a:lnTo>
                    <a:pt x="551" y="797"/>
                  </a:lnTo>
                  <a:lnTo>
                    <a:pt x="556" y="810"/>
                  </a:lnTo>
                  <a:lnTo>
                    <a:pt x="560" y="811"/>
                  </a:lnTo>
                  <a:lnTo>
                    <a:pt x="562" y="811"/>
                  </a:lnTo>
                  <a:lnTo>
                    <a:pt x="565" y="810"/>
                  </a:lnTo>
                  <a:lnTo>
                    <a:pt x="569" y="808"/>
                  </a:lnTo>
                  <a:lnTo>
                    <a:pt x="575" y="800"/>
                  </a:lnTo>
                  <a:lnTo>
                    <a:pt x="580" y="795"/>
                  </a:lnTo>
                  <a:lnTo>
                    <a:pt x="601" y="786"/>
                  </a:lnTo>
                  <a:lnTo>
                    <a:pt x="621" y="778"/>
                  </a:lnTo>
                  <a:lnTo>
                    <a:pt x="643" y="782"/>
                  </a:lnTo>
                  <a:lnTo>
                    <a:pt x="665" y="787"/>
                  </a:lnTo>
                  <a:lnTo>
                    <a:pt x="669" y="782"/>
                  </a:lnTo>
                  <a:lnTo>
                    <a:pt x="671" y="778"/>
                  </a:lnTo>
                  <a:lnTo>
                    <a:pt x="673" y="774"/>
                  </a:lnTo>
                  <a:lnTo>
                    <a:pt x="673" y="769"/>
                  </a:lnTo>
                  <a:lnTo>
                    <a:pt x="674" y="762"/>
                  </a:lnTo>
                  <a:lnTo>
                    <a:pt x="674" y="754"/>
                  </a:lnTo>
                  <a:lnTo>
                    <a:pt x="674" y="745"/>
                  </a:lnTo>
                  <a:lnTo>
                    <a:pt x="676" y="738"/>
                  </a:lnTo>
                  <a:lnTo>
                    <a:pt x="680" y="732"/>
                  </a:lnTo>
                  <a:lnTo>
                    <a:pt x="684" y="726"/>
                  </a:lnTo>
                  <a:lnTo>
                    <a:pt x="687" y="712"/>
                  </a:lnTo>
                  <a:lnTo>
                    <a:pt x="697" y="697"/>
                  </a:lnTo>
                  <a:lnTo>
                    <a:pt x="695" y="686"/>
                  </a:lnTo>
                  <a:lnTo>
                    <a:pt x="693" y="677"/>
                  </a:lnTo>
                  <a:lnTo>
                    <a:pt x="693" y="669"/>
                  </a:lnTo>
                  <a:lnTo>
                    <a:pt x="695" y="662"/>
                  </a:lnTo>
                  <a:lnTo>
                    <a:pt x="704" y="654"/>
                  </a:lnTo>
                  <a:lnTo>
                    <a:pt x="713" y="645"/>
                  </a:lnTo>
                  <a:lnTo>
                    <a:pt x="717" y="647"/>
                  </a:lnTo>
                  <a:lnTo>
                    <a:pt x="719" y="649"/>
                  </a:lnTo>
                  <a:lnTo>
                    <a:pt x="721" y="654"/>
                  </a:lnTo>
                  <a:lnTo>
                    <a:pt x="722" y="658"/>
                  </a:lnTo>
                  <a:lnTo>
                    <a:pt x="732" y="658"/>
                  </a:lnTo>
                  <a:lnTo>
                    <a:pt x="747" y="656"/>
                  </a:lnTo>
                  <a:lnTo>
                    <a:pt x="756" y="660"/>
                  </a:lnTo>
                  <a:lnTo>
                    <a:pt x="765" y="664"/>
                  </a:lnTo>
                  <a:close/>
                  <a:moveTo>
                    <a:pt x="100" y="494"/>
                  </a:moveTo>
                  <a:lnTo>
                    <a:pt x="106" y="499"/>
                  </a:lnTo>
                  <a:lnTo>
                    <a:pt x="111" y="505"/>
                  </a:lnTo>
                  <a:lnTo>
                    <a:pt x="113" y="510"/>
                  </a:lnTo>
                  <a:lnTo>
                    <a:pt x="113" y="519"/>
                  </a:lnTo>
                  <a:lnTo>
                    <a:pt x="102" y="523"/>
                  </a:lnTo>
                  <a:lnTo>
                    <a:pt x="91" y="525"/>
                  </a:lnTo>
                  <a:lnTo>
                    <a:pt x="80" y="525"/>
                  </a:lnTo>
                  <a:lnTo>
                    <a:pt x="69" y="523"/>
                  </a:lnTo>
                  <a:lnTo>
                    <a:pt x="67" y="519"/>
                  </a:lnTo>
                  <a:lnTo>
                    <a:pt x="67" y="518"/>
                  </a:lnTo>
                  <a:lnTo>
                    <a:pt x="69" y="516"/>
                  </a:lnTo>
                  <a:lnTo>
                    <a:pt x="70" y="514"/>
                  </a:lnTo>
                  <a:lnTo>
                    <a:pt x="76" y="512"/>
                  </a:lnTo>
                  <a:lnTo>
                    <a:pt x="83" y="510"/>
                  </a:lnTo>
                  <a:lnTo>
                    <a:pt x="85" y="505"/>
                  </a:lnTo>
                  <a:lnTo>
                    <a:pt x="93" y="499"/>
                  </a:lnTo>
                  <a:lnTo>
                    <a:pt x="98" y="494"/>
                  </a:lnTo>
                  <a:lnTo>
                    <a:pt x="100" y="49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83" name="Freeform 17"/>
            <p:cNvSpPr>
              <a:spLocks/>
            </p:cNvSpPr>
            <p:nvPr/>
          </p:nvSpPr>
          <p:spPr bwMode="auto">
            <a:xfrm>
              <a:off x="6017970" y="1901680"/>
              <a:ext cx="313075" cy="393382"/>
            </a:xfrm>
            <a:custGeom>
              <a:avLst/>
              <a:gdLst>
                <a:gd name="T0" fmla="*/ 305 w 600"/>
                <a:gd name="T1" fmla="*/ 773 h 773"/>
                <a:gd name="T2" fmla="*/ 323 w 600"/>
                <a:gd name="T3" fmla="*/ 747 h 773"/>
                <a:gd name="T4" fmla="*/ 355 w 600"/>
                <a:gd name="T5" fmla="*/ 736 h 773"/>
                <a:gd name="T6" fmla="*/ 345 w 600"/>
                <a:gd name="T7" fmla="*/ 710 h 773"/>
                <a:gd name="T8" fmla="*/ 357 w 600"/>
                <a:gd name="T9" fmla="*/ 678 h 773"/>
                <a:gd name="T10" fmla="*/ 401 w 600"/>
                <a:gd name="T11" fmla="*/ 664 h 773"/>
                <a:gd name="T12" fmla="*/ 418 w 600"/>
                <a:gd name="T13" fmla="*/ 645 h 773"/>
                <a:gd name="T14" fmla="*/ 453 w 600"/>
                <a:gd name="T15" fmla="*/ 634 h 773"/>
                <a:gd name="T16" fmla="*/ 440 w 600"/>
                <a:gd name="T17" fmla="*/ 665 h 773"/>
                <a:gd name="T18" fmla="*/ 464 w 600"/>
                <a:gd name="T19" fmla="*/ 678 h 773"/>
                <a:gd name="T20" fmla="*/ 497 w 600"/>
                <a:gd name="T21" fmla="*/ 625 h 773"/>
                <a:gd name="T22" fmla="*/ 538 w 600"/>
                <a:gd name="T23" fmla="*/ 573 h 773"/>
                <a:gd name="T24" fmla="*/ 521 w 600"/>
                <a:gd name="T25" fmla="*/ 551 h 773"/>
                <a:gd name="T26" fmla="*/ 499 w 600"/>
                <a:gd name="T27" fmla="*/ 573 h 773"/>
                <a:gd name="T28" fmla="*/ 469 w 600"/>
                <a:gd name="T29" fmla="*/ 497 h 773"/>
                <a:gd name="T30" fmla="*/ 458 w 600"/>
                <a:gd name="T31" fmla="*/ 412 h 773"/>
                <a:gd name="T32" fmla="*/ 447 w 600"/>
                <a:gd name="T33" fmla="*/ 357 h 773"/>
                <a:gd name="T34" fmla="*/ 464 w 600"/>
                <a:gd name="T35" fmla="*/ 322 h 773"/>
                <a:gd name="T36" fmla="*/ 499 w 600"/>
                <a:gd name="T37" fmla="*/ 283 h 773"/>
                <a:gd name="T38" fmla="*/ 512 w 600"/>
                <a:gd name="T39" fmla="*/ 250 h 773"/>
                <a:gd name="T40" fmla="*/ 532 w 600"/>
                <a:gd name="T41" fmla="*/ 268 h 773"/>
                <a:gd name="T42" fmla="*/ 558 w 600"/>
                <a:gd name="T43" fmla="*/ 305 h 773"/>
                <a:gd name="T44" fmla="*/ 589 w 600"/>
                <a:gd name="T45" fmla="*/ 320 h 773"/>
                <a:gd name="T46" fmla="*/ 595 w 600"/>
                <a:gd name="T47" fmla="*/ 281 h 773"/>
                <a:gd name="T48" fmla="*/ 582 w 600"/>
                <a:gd name="T49" fmla="*/ 196 h 773"/>
                <a:gd name="T50" fmla="*/ 552 w 600"/>
                <a:gd name="T51" fmla="*/ 167 h 773"/>
                <a:gd name="T52" fmla="*/ 502 w 600"/>
                <a:gd name="T53" fmla="*/ 130 h 773"/>
                <a:gd name="T54" fmla="*/ 477 w 600"/>
                <a:gd name="T55" fmla="*/ 95 h 773"/>
                <a:gd name="T56" fmla="*/ 454 w 600"/>
                <a:gd name="T57" fmla="*/ 72 h 773"/>
                <a:gd name="T58" fmla="*/ 419 w 600"/>
                <a:gd name="T59" fmla="*/ 46 h 773"/>
                <a:gd name="T60" fmla="*/ 406 w 600"/>
                <a:gd name="T61" fmla="*/ 26 h 773"/>
                <a:gd name="T62" fmla="*/ 388 w 600"/>
                <a:gd name="T63" fmla="*/ 2 h 773"/>
                <a:gd name="T64" fmla="*/ 375 w 600"/>
                <a:gd name="T65" fmla="*/ 32 h 773"/>
                <a:gd name="T66" fmla="*/ 325 w 600"/>
                <a:gd name="T67" fmla="*/ 45 h 773"/>
                <a:gd name="T68" fmla="*/ 290 w 600"/>
                <a:gd name="T69" fmla="*/ 69 h 773"/>
                <a:gd name="T70" fmla="*/ 218 w 600"/>
                <a:gd name="T71" fmla="*/ 78 h 773"/>
                <a:gd name="T72" fmla="*/ 190 w 600"/>
                <a:gd name="T73" fmla="*/ 50 h 773"/>
                <a:gd name="T74" fmla="*/ 177 w 600"/>
                <a:gd name="T75" fmla="*/ 89 h 773"/>
                <a:gd name="T76" fmla="*/ 152 w 600"/>
                <a:gd name="T77" fmla="*/ 120 h 773"/>
                <a:gd name="T78" fmla="*/ 111 w 600"/>
                <a:gd name="T79" fmla="*/ 189 h 773"/>
                <a:gd name="T80" fmla="*/ 100 w 600"/>
                <a:gd name="T81" fmla="*/ 204 h 773"/>
                <a:gd name="T82" fmla="*/ 103 w 600"/>
                <a:gd name="T83" fmla="*/ 224 h 773"/>
                <a:gd name="T84" fmla="*/ 124 w 600"/>
                <a:gd name="T85" fmla="*/ 244 h 773"/>
                <a:gd name="T86" fmla="*/ 127 w 600"/>
                <a:gd name="T87" fmla="*/ 289 h 773"/>
                <a:gd name="T88" fmla="*/ 144 w 600"/>
                <a:gd name="T89" fmla="*/ 335 h 773"/>
                <a:gd name="T90" fmla="*/ 116 w 600"/>
                <a:gd name="T91" fmla="*/ 377 h 773"/>
                <a:gd name="T92" fmla="*/ 76 w 600"/>
                <a:gd name="T93" fmla="*/ 401 h 773"/>
                <a:gd name="T94" fmla="*/ 46 w 600"/>
                <a:gd name="T95" fmla="*/ 414 h 773"/>
                <a:gd name="T96" fmla="*/ 55 w 600"/>
                <a:gd name="T97" fmla="*/ 436 h 773"/>
                <a:gd name="T98" fmla="*/ 50 w 600"/>
                <a:gd name="T99" fmla="*/ 460 h 773"/>
                <a:gd name="T100" fmla="*/ 24 w 600"/>
                <a:gd name="T101" fmla="*/ 471 h 773"/>
                <a:gd name="T102" fmla="*/ 6 w 600"/>
                <a:gd name="T103" fmla="*/ 490 h 773"/>
                <a:gd name="T104" fmla="*/ 22 w 600"/>
                <a:gd name="T105" fmla="*/ 529 h 773"/>
                <a:gd name="T106" fmla="*/ 61 w 600"/>
                <a:gd name="T107" fmla="*/ 612 h 773"/>
                <a:gd name="T108" fmla="*/ 79 w 600"/>
                <a:gd name="T109" fmla="*/ 654 h 773"/>
                <a:gd name="T110" fmla="*/ 137 w 600"/>
                <a:gd name="T111" fmla="*/ 632 h 773"/>
                <a:gd name="T112" fmla="*/ 188 w 600"/>
                <a:gd name="T113" fmla="*/ 677 h 773"/>
                <a:gd name="T114" fmla="*/ 183 w 600"/>
                <a:gd name="T115" fmla="*/ 743 h 773"/>
                <a:gd name="T116" fmla="*/ 212 w 600"/>
                <a:gd name="T117" fmla="*/ 741 h 773"/>
                <a:gd name="T118" fmla="*/ 272 w 600"/>
                <a:gd name="T119" fmla="*/ 749 h 77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773"/>
                <a:gd name="T182" fmla="*/ 600 w 600"/>
                <a:gd name="T183" fmla="*/ 773 h 77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773">
                  <a:moveTo>
                    <a:pt x="285" y="773"/>
                  </a:moveTo>
                  <a:lnTo>
                    <a:pt x="290" y="771"/>
                  </a:lnTo>
                  <a:lnTo>
                    <a:pt x="297" y="769"/>
                  </a:lnTo>
                  <a:lnTo>
                    <a:pt x="299" y="771"/>
                  </a:lnTo>
                  <a:lnTo>
                    <a:pt x="303" y="773"/>
                  </a:lnTo>
                  <a:lnTo>
                    <a:pt x="305" y="773"/>
                  </a:lnTo>
                  <a:lnTo>
                    <a:pt x="305" y="771"/>
                  </a:lnTo>
                  <a:lnTo>
                    <a:pt x="307" y="769"/>
                  </a:lnTo>
                  <a:lnTo>
                    <a:pt x="307" y="763"/>
                  </a:lnTo>
                  <a:lnTo>
                    <a:pt x="310" y="758"/>
                  </a:lnTo>
                  <a:lnTo>
                    <a:pt x="320" y="754"/>
                  </a:lnTo>
                  <a:lnTo>
                    <a:pt x="323" y="747"/>
                  </a:lnTo>
                  <a:lnTo>
                    <a:pt x="327" y="741"/>
                  </a:lnTo>
                  <a:lnTo>
                    <a:pt x="333" y="741"/>
                  </a:lnTo>
                  <a:lnTo>
                    <a:pt x="340" y="745"/>
                  </a:lnTo>
                  <a:lnTo>
                    <a:pt x="344" y="745"/>
                  </a:lnTo>
                  <a:lnTo>
                    <a:pt x="349" y="741"/>
                  </a:lnTo>
                  <a:lnTo>
                    <a:pt x="355" y="736"/>
                  </a:lnTo>
                  <a:lnTo>
                    <a:pt x="358" y="730"/>
                  </a:lnTo>
                  <a:lnTo>
                    <a:pt x="344" y="726"/>
                  </a:lnTo>
                  <a:lnTo>
                    <a:pt x="338" y="723"/>
                  </a:lnTo>
                  <a:lnTo>
                    <a:pt x="345" y="717"/>
                  </a:lnTo>
                  <a:lnTo>
                    <a:pt x="347" y="712"/>
                  </a:lnTo>
                  <a:lnTo>
                    <a:pt x="345" y="710"/>
                  </a:lnTo>
                  <a:lnTo>
                    <a:pt x="338" y="708"/>
                  </a:lnTo>
                  <a:lnTo>
                    <a:pt x="340" y="699"/>
                  </a:lnTo>
                  <a:lnTo>
                    <a:pt x="347" y="688"/>
                  </a:lnTo>
                  <a:lnTo>
                    <a:pt x="349" y="682"/>
                  </a:lnTo>
                  <a:lnTo>
                    <a:pt x="351" y="678"/>
                  </a:lnTo>
                  <a:lnTo>
                    <a:pt x="357" y="678"/>
                  </a:lnTo>
                  <a:lnTo>
                    <a:pt x="364" y="678"/>
                  </a:lnTo>
                  <a:lnTo>
                    <a:pt x="373" y="671"/>
                  </a:lnTo>
                  <a:lnTo>
                    <a:pt x="382" y="664"/>
                  </a:lnTo>
                  <a:lnTo>
                    <a:pt x="390" y="667"/>
                  </a:lnTo>
                  <a:lnTo>
                    <a:pt x="401" y="667"/>
                  </a:lnTo>
                  <a:lnTo>
                    <a:pt x="401" y="664"/>
                  </a:lnTo>
                  <a:lnTo>
                    <a:pt x="399" y="662"/>
                  </a:lnTo>
                  <a:lnTo>
                    <a:pt x="399" y="656"/>
                  </a:lnTo>
                  <a:lnTo>
                    <a:pt x="405" y="649"/>
                  </a:lnTo>
                  <a:lnTo>
                    <a:pt x="410" y="647"/>
                  </a:lnTo>
                  <a:lnTo>
                    <a:pt x="414" y="645"/>
                  </a:lnTo>
                  <a:lnTo>
                    <a:pt x="418" y="645"/>
                  </a:lnTo>
                  <a:lnTo>
                    <a:pt x="421" y="649"/>
                  </a:lnTo>
                  <a:lnTo>
                    <a:pt x="429" y="653"/>
                  </a:lnTo>
                  <a:lnTo>
                    <a:pt x="432" y="654"/>
                  </a:lnTo>
                  <a:lnTo>
                    <a:pt x="442" y="645"/>
                  </a:lnTo>
                  <a:lnTo>
                    <a:pt x="449" y="636"/>
                  </a:lnTo>
                  <a:lnTo>
                    <a:pt x="453" y="634"/>
                  </a:lnTo>
                  <a:lnTo>
                    <a:pt x="458" y="636"/>
                  </a:lnTo>
                  <a:lnTo>
                    <a:pt x="462" y="638"/>
                  </a:lnTo>
                  <a:lnTo>
                    <a:pt x="464" y="641"/>
                  </a:lnTo>
                  <a:lnTo>
                    <a:pt x="456" y="651"/>
                  </a:lnTo>
                  <a:lnTo>
                    <a:pt x="449" y="660"/>
                  </a:lnTo>
                  <a:lnTo>
                    <a:pt x="440" y="665"/>
                  </a:lnTo>
                  <a:lnTo>
                    <a:pt x="430" y="671"/>
                  </a:lnTo>
                  <a:lnTo>
                    <a:pt x="436" y="677"/>
                  </a:lnTo>
                  <a:lnTo>
                    <a:pt x="442" y="680"/>
                  </a:lnTo>
                  <a:lnTo>
                    <a:pt x="447" y="682"/>
                  </a:lnTo>
                  <a:lnTo>
                    <a:pt x="453" y="682"/>
                  </a:lnTo>
                  <a:lnTo>
                    <a:pt x="464" y="678"/>
                  </a:lnTo>
                  <a:lnTo>
                    <a:pt x="473" y="675"/>
                  </a:lnTo>
                  <a:lnTo>
                    <a:pt x="475" y="656"/>
                  </a:lnTo>
                  <a:lnTo>
                    <a:pt x="478" y="638"/>
                  </a:lnTo>
                  <a:lnTo>
                    <a:pt x="486" y="643"/>
                  </a:lnTo>
                  <a:lnTo>
                    <a:pt x="493" y="647"/>
                  </a:lnTo>
                  <a:lnTo>
                    <a:pt x="497" y="625"/>
                  </a:lnTo>
                  <a:lnTo>
                    <a:pt x="502" y="603"/>
                  </a:lnTo>
                  <a:lnTo>
                    <a:pt x="515" y="597"/>
                  </a:lnTo>
                  <a:lnTo>
                    <a:pt x="528" y="593"/>
                  </a:lnTo>
                  <a:lnTo>
                    <a:pt x="527" y="584"/>
                  </a:lnTo>
                  <a:lnTo>
                    <a:pt x="527" y="577"/>
                  </a:lnTo>
                  <a:lnTo>
                    <a:pt x="538" y="573"/>
                  </a:lnTo>
                  <a:lnTo>
                    <a:pt x="549" y="564"/>
                  </a:lnTo>
                  <a:lnTo>
                    <a:pt x="547" y="560"/>
                  </a:lnTo>
                  <a:lnTo>
                    <a:pt x="543" y="556"/>
                  </a:lnTo>
                  <a:lnTo>
                    <a:pt x="536" y="555"/>
                  </a:lnTo>
                  <a:lnTo>
                    <a:pt x="528" y="553"/>
                  </a:lnTo>
                  <a:lnTo>
                    <a:pt x="521" y="551"/>
                  </a:lnTo>
                  <a:lnTo>
                    <a:pt x="517" y="553"/>
                  </a:lnTo>
                  <a:lnTo>
                    <a:pt x="514" y="556"/>
                  </a:lnTo>
                  <a:lnTo>
                    <a:pt x="512" y="560"/>
                  </a:lnTo>
                  <a:lnTo>
                    <a:pt x="508" y="566"/>
                  </a:lnTo>
                  <a:lnTo>
                    <a:pt x="504" y="569"/>
                  </a:lnTo>
                  <a:lnTo>
                    <a:pt x="499" y="573"/>
                  </a:lnTo>
                  <a:lnTo>
                    <a:pt x="493" y="573"/>
                  </a:lnTo>
                  <a:lnTo>
                    <a:pt x="486" y="555"/>
                  </a:lnTo>
                  <a:lnTo>
                    <a:pt x="477" y="527"/>
                  </a:lnTo>
                  <a:lnTo>
                    <a:pt x="471" y="518"/>
                  </a:lnTo>
                  <a:lnTo>
                    <a:pt x="469" y="507"/>
                  </a:lnTo>
                  <a:lnTo>
                    <a:pt x="469" y="497"/>
                  </a:lnTo>
                  <a:lnTo>
                    <a:pt x="469" y="488"/>
                  </a:lnTo>
                  <a:lnTo>
                    <a:pt x="469" y="470"/>
                  </a:lnTo>
                  <a:lnTo>
                    <a:pt x="471" y="449"/>
                  </a:lnTo>
                  <a:lnTo>
                    <a:pt x="464" y="436"/>
                  </a:lnTo>
                  <a:lnTo>
                    <a:pt x="458" y="425"/>
                  </a:lnTo>
                  <a:lnTo>
                    <a:pt x="458" y="412"/>
                  </a:lnTo>
                  <a:lnTo>
                    <a:pt x="458" y="399"/>
                  </a:lnTo>
                  <a:lnTo>
                    <a:pt x="447" y="386"/>
                  </a:lnTo>
                  <a:lnTo>
                    <a:pt x="440" y="374"/>
                  </a:lnTo>
                  <a:lnTo>
                    <a:pt x="442" y="368"/>
                  </a:lnTo>
                  <a:lnTo>
                    <a:pt x="443" y="362"/>
                  </a:lnTo>
                  <a:lnTo>
                    <a:pt x="447" y="357"/>
                  </a:lnTo>
                  <a:lnTo>
                    <a:pt x="451" y="353"/>
                  </a:lnTo>
                  <a:lnTo>
                    <a:pt x="451" y="344"/>
                  </a:lnTo>
                  <a:lnTo>
                    <a:pt x="453" y="338"/>
                  </a:lnTo>
                  <a:lnTo>
                    <a:pt x="454" y="333"/>
                  </a:lnTo>
                  <a:lnTo>
                    <a:pt x="456" y="327"/>
                  </a:lnTo>
                  <a:lnTo>
                    <a:pt x="464" y="322"/>
                  </a:lnTo>
                  <a:lnTo>
                    <a:pt x="475" y="314"/>
                  </a:lnTo>
                  <a:lnTo>
                    <a:pt x="475" y="305"/>
                  </a:lnTo>
                  <a:lnTo>
                    <a:pt x="477" y="298"/>
                  </a:lnTo>
                  <a:lnTo>
                    <a:pt x="478" y="289"/>
                  </a:lnTo>
                  <a:lnTo>
                    <a:pt x="482" y="281"/>
                  </a:lnTo>
                  <a:lnTo>
                    <a:pt x="499" y="283"/>
                  </a:lnTo>
                  <a:lnTo>
                    <a:pt x="510" y="283"/>
                  </a:lnTo>
                  <a:lnTo>
                    <a:pt x="510" y="276"/>
                  </a:lnTo>
                  <a:lnTo>
                    <a:pt x="510" y="265"/>
                  </a:lnTo>
                  <a:lnTo>
                    <a:pt x="510" y="259"/>
                  </a:lnTo>
                  <a:lnTo>
                    <a:pt x="510" y="253"/>
                  </a:lnTo>
                  <a:lnTo>
                    <a:pt x="512" y="250"/>
                  </a:lnTo>
                  <a:lnTo>
                    <a:pt x="514" y="250"/>
                  </a:lnTo>
                  <a:lnTo>
                    <a:pt x="517" y="252"/>
                  </a:lnTo>
                  <a:lnTo>
                    <a:pt x="521" y="259"/>
                  </a:lnTo>
                  <a:lnTo>
                    <a:pt x="525" y="263"/>
                  </a:lnTo>
                  <a:lnTo>
                    <a:pt x="528" y="266"/>
                  </a:lnTo>
                  <a:lnTo>
                    <a:pt x="532" y="268"/>
                  </a:lnTo>
                  <a:lnTo>
                    <a:pt x="539" y="270"/>
                  </a:lnTo>
                  <a:lnTo>
                    <a:pt x="541" y="283"/>
                  </a:lnTo>
                  <a:lnTo>
                    <a:pt x="543" y="294"/>
                  </a:lnTo>
                  <a:lnTo>
                    <a:pt x="551" y="298"/>
                  </a:lnTo>
                  <a:lnTo>
                    <a:pt x="554" y="300"/>
                  </a:lnTo>
                  <a:lnTo>
                    <a:pt x="558" y="305"/>
                  </a:lnTo>
                  <a:lnTo>
                    <a:pt x="560" y="313"/>
                  </a:lnTo>
                  <a:lnTo>
                    <a:pt x="567" y="303"/>
                  </a:lnTo>
                  <a:lnTo>
                    <a:pt x="576" y="296"/>
                  </a:lnTo>
                  <a:lnTo>
                    <a:pt x="582" y="307"/>
                  </a:lnTo>
                  <a:lnTo>
                    <a:pt x="586" y="318"/>
                  </a:lnTo>
                  <a:lnTo>
                    <a:pt x="589" y="320"/>
                  </a:lnTo>
                  <a:lnTo>
                    <a:pt x="595" y="318"/>
                  </a:lnTo>
                  <a:lnTo>
                    <a:pt x="595" y="305"/>
                  </a:lnTo>
                  <a:lnTo>
                    <a:pt x="595" y="300"/>
                  </a:lnTo>
                  <a:lnTo>
                    <a:pt x="597" y="296"/>
                  </a:lnTo>
                  <a:lnTo>
                    <a:pt x="600" y="290"/>
                  </a:lnTo>
                  <a:lnTo>
                    <a:pt x="595" y="281"/>
                  </a:lnTo>
                  <a:lnTo>
                    <a:pt x="586" y="263"/>
                  </a:lnTo>
                  <a:lnTo>
                    <a:pt x="582" y="246"/>
                  </a:lnTo>
                  <a:lnTo>
                    <a:pt x="580" y="231"/>
                  </a:lnTo>
                  <a:lnTo>
                    <a:pt x="580" y="215"/>
                  </a:lnTo>
                  <a:lnTo>
                    <a:pt x="582" y="198"/>
                  </a:lnTo>
                  <a:lnTo>
                    <a:pt x="582" y="196"/>
                  </a:lnTo>
                  <a:lnTo>
                    <a:pt x="582" y="194"/>
                  </a:lnTo>
                  <a:lnTo>
                    <a:pt x="569" y="185"/>
                  </a:lnTo>
                  <a:lnTo>
                    <a:pt x="563" y="180"/>
                  </a:lnTo>
                  <a:lnTo>
                    <a:pt x="562" y="176"/>
                  </a:lnTo>
                  <a:lnTo>
                    <a:pt x="562" y="172"/>
                  </a:lnTo>
                  <a:lnTo>
                    <a:pt x="552" y="167"/>
                  </a:lnTo>
                  <a:lnTo>
                    <a:pt x="539" y="159"/>
                  </a:lnTo>
                  <a:lnTo>
                    <a:pt x="538" y="152"/>
                  </a:lnTo>
                  <a:lnTo>
                    <a:pt x="534" y="144"/>
                  </a:lnTo>
                  <a:lnTo>
                    <a:pt x="530" y="135"/>
                  </a:lnTo>
                  <a:lnTo>
                    <a:pt x="525" y="130"/>
                  </a:lnTo>
                  <a:lnTo>
                    <a:pt x="502" y="130"/>
                  </a:lnTo>
                  <a:lnTo>
                    <a:pt x="484" y="128"/>
                  </a:lnTo>
                  <a:lnTo>
                    <a:pt x="488" y="117"/>
                  </a:lnTo>
                  <a:lnTo>
                    <a:pt x="491" y="107"/>
                  </a:lnTo>
                  <a:lnTo>
                    <a:pt x="488" y="102"/>
                  </a:lnTo>
                  <a:lnTo>
                    <a:pt x="482" y="98"/>
                  </a:lnTo>
                  <a:lnTo>
                    <a:pt x="477" y="95"/>
                  </a:lnTo>
                  <a:lnTo>
                    <a:pt x="473" y="93"/>
                  </a:lnTo>
                  <a:lnTo>
                    <a:pt x="467" y="87"/>
                  </a:lnTo>
                  <a:lnTo>
                    <a:pt x="467" y="83"/>
                  </a:lnTo>
                  <a:lnTo>
                    <a:pt x="467" y="80"/>
                  </a:lnTo>
                  <a:lnTo>
                    <a:pt x="466" y="76"/>
                  </a:lnTo>
                  <a:lnTo>
                    <a:pt x="454" y="72"/>
                  </a:lnTo>
                  <a:lnTo>
                    <a:pt x="443" y="69"/>
                  </a:lnTo>
                  <a:lnTo>
                    <a:pt x="432" y="65"/>
                  </a:lnTo>
                  <a:lnTo>
                    <a:pt x="421" y="56"/>
                  </a:lnTo>
                  <a:lnTo>
                    <a:pt x="419" y="54"/>
                  </a:lnTo>
                  <a:lnTo>
                    <a:pt x="419" y="50"/>
                  </a:lnTo>
                  <a:lnTo>
                    <a:pt x="419" y="46"/>
                  </a:lnTo>
                  <a:lnTo>
                    <a:pt x="421" y="43"/>
                  </a:lnTo>
                  <a:lnTo>
                    <a:pt x="421" y="39"/>
                  </a:lnTo>
                  <a:lnTo>
                    <a:pt x="421" y="35"/>
                  </a:lnTo>
                  <a:lnTo>
                    <a:pt x="419" y="32"/>
                  </a:lnTo>
                  <a:lnTo>
                    <a:pt x="414" y="28"/>
                  </a:lnTo>
                  <a:lnTo>
                    <a:pt x="406" y="26"/>
                  </a:lnTo>
                  <a:lnTo>
                    <a:pt x="401" y="24"/>
                  </a:lnTo>
                  <a:lnTo>
                    <a:pt x="397" y="21"/>
                  </a:lnTo>
                  <a:lnTo>
                    <a:pt x="393" y="19"/>
                  </a:lnTo>
                  <a:lnTo>
                    <a:pt x="392" y="10"/>
                  </a:lnTo>
                  <a:lnTo>
                    <a:pt x="392" y="0"/>
                  </a:lnTo>
                  <a:lnTo>
                    <a:pt x="388" y="2"/>
                  </a:lnTo>
                  <a:lnTo>
                    <a:pt x="386" y="6"/>
                  </a:lnTo>
                  <a:lnTo>
                    <a:pt x="386" y="8"/>
                  </a:lnTo>
                  <a:lnTo>
                    <a:pt x="386" y="11"/>
                  </a:lnTo>
                  <a:lnTo>
                    <a:pt x="386" y="19"/>
                  </a:lnTo>
                  <a:lnTo>
                    <a:pt x="384" y="24"/>
                  </a:lnTo>
                  <a:lnTo>
                    <a:pt x="375" y="32"/>
                  </a:lnTo>
                  <a:lnTo>
                    <a:pt x="364" y="39"/>
                  </a:lnTo>
                  <a:lnTo>
                    <a:pt x="358" y="41"/>
                  </a:lnTo>
                  <a:lnTo>
                    <a:pt x="351" y="43"/>
                  </a:lnTo>
                  <a:lnTo>
                    <a:pt x="342" y="43"/>
                  </a:lnTo>
                  <a:lnTo>
                    <a:pt x="333" y="43"/>
                  </a:lnTo>
                  <a:lnTo>
                    <a:pt x="325" y="45"/>
                  </a:lnTo>
                  <a:lnTo>
                    <a:pt x="316" y="50"/>
                  </a:lnTo>
                  <a:lnTo>
                    <a:pt x="312" y="54"/>
                  </a:lnTo>
                  <a:lnTo>
                    <a:pt x="309" y="58"/>
                  </a:lnTo>
                  <a:lnTo>
                    <a:pt x="307" y="63"/>
                  </a:lnTo>
                  <a:lnTo>
                    <a:pt x="303" y="69"/>
                  </a:lnTo>
                  <a:lnTo>
                    <a:pt x="290" y="69"/>
                  </a:lnTo>
                  <a:lnTo>
                    <a:pt x="279" y="69"/>
                  </a:lnTo>
                  <a:lnTo>
                    <a:pt x="268" y="70"/>
                  </a:lnTo>
                  <a:lnTo>
                    <a:pt x="259" y="72"/>
                  </a:lnTo>
                  <a:lnTo>
                    <a:pt x="240" y="78"/>
                  </a:lnTo>
                  <a:lnTo>
                    <a:pt x="222" y="82"/>
                  </a:lnTo>
                  <a:lnTo>
                    <a:pt x="218" y="78"/>
                  </a:lnTo>
                  <a:lnTo>
                    <a:pt x="216" y="72"/>
                  </a:lnTo>
                  <a:lnTo>
                    <a:pt x="214" y="65"/>
                  </a:lnTo>
                  <a:lnTo>
                    <a:pt x="212" y="56"/>
                  </a:lnTo>
                  <a:lnTo>
                    <a:pt x="207" y="52"/>
                  </a:lnTo>
                  <a:lnTo>
                    <a:pt x="200" y="50"/>
                  </a:lnTo>
                  <a:lnTo>
                    <a:pt x="190" y="50"/>
                  </a:lnTo>
                  <a:lnTo>
                    <a:pt x="183" y="54"/>
                  </a:lnTo>
                  <a:lnTo>
                    <a:pt x="185" y="63"/>
                  </a:lnTo>
                  <a:lnTo>
                    <a:pt x="187" y="72"/>
                  </a:lnTo>
                  <a:lnTo>
                    <a:pt x="181" y="78"/>
                  </a:lnTo>
                  <a:lnTo>
                    <a:pt x="177" y="83"/>
                  </a:lnTo>
                  <a:lnTo>
                    <a:pt x="177" y="89"/>
                  </a:lnTo>
                  <a:lnTo>
                    <a:pt x="177" y="93"/>
                  </a:lnTo>
                  <a:lnTo>
                    <a:pt x="177" y="104"/>
                  </a:lnTo>
                  <a:lnTo>
                    <a:pt x="177" y="111"/>
                  </a:lnTo>
                  <a:lnTo>
                    <a:pt x="164" y="111"/>
                  </a:lnTo>
                  <a:lnTo>
                    <a:pt x="153" y="111"/>
                  </a:lnTo>
                  <a:lnTo>
                    <a:pt x="152" y="120"/>
                  </a:lnTo>
                  <a:lnTo>
                    <a:pt x="152" y="133"/>
                  </a:lnTo>
                  <a:lnTo>
                    <a:pt x="133" y="141"/>
                  </a:lnTo>
                  <a:lnTo>
                    <a:pt x="115" y="148"/>
                  </a:lnTo>
                  <a:lnTo>
                    <a:pt x="109" y="167"/>
                  </a:lnTo>
                  <a:lnTo>
                    <a:pt x="103" y="178"/>
                  </a:lnTo>
                  <a:lnTo>
                    <a:pt x="111" y="189"/>
                  </a:lnTo>
                  <a:lnTo>
                    <a:pt x="120" y="196"/>
                  </a:lnTo>
                  <a:lnTo>
                    <a:pt x="116" y="200"/>
                  </a:lnTo>
                  <a:lnTo>
                    <a:pt x="113" y="202"/>
                  </a:lnTo>
                  <a:lnTo>
                    <a:pt x="109" y="204"/>
                  </a:lnTo>
                  <a:lnTo>
                    <a:pt x="105" y="204"/>
                  </a:lnTo>
                  <a:lnTo>
                    <a:pt x="100" y="204"/>
                  </a:lnTo>
                  <a:lnTo>
                    <a:pt x="98" y="205"/>
                  </a:lnTo>
                  <a:lnTo>
                    <a:pt x="96" y="209"/>
                  </a:lnTo>
                  <a:lnTo>
                    <a:pt x="96" y="213"/>
                  </a:lnTo>
                  <a:lnTo>
                    <a:pt x="96" y="220"/>
                  </a:lnTo>
                  <a:lnTo>
                    <a:pt x="100" y="224"/>
                  </a:lnTo>
                  <a:lnTo>
                    <a:pt x="103" y="224"/>
                  </a:lnTo>
                  <a:lnTo>
                    <a:pt x="109" y="224"/>
                  </a:lnTo>
                  <a:lnTo>
                    <a:pt x="113" y="224"/>
                  </a:lnTo>
                  <a:lnTo>
                    <a:pt x="118" y="226"/>
                  </a:lnTo>
                  <a:lnTo>
                    <a:pt x="124" y="228"/>
                  </a:lnTo>
                  <a:lnTo>
                    <a:pt x="127" y="233"/>
                  </a:lnTo>
                  <a:lnTo>
                    <a:pt x="124" y="244"/>
                  </a:lnTo>
                  <a:lnTo>
                    <a:pt x="116" y="252"/>
                  </a:lnTo>
                  <a:lnTo>
                    <a:pt x="113" y="257"/>
                  </a:lnTo>
                  <a:lnTo>
                    <a:pt x="111" y="263"/>
                  </a:lnTo>
                  <a:lnTo>
                    <a:pt x="113" y="270"/>
                  </a:lnTo>
                  <a:lnTo>
                    <a:pt x="118" y="277"/>
                  </a:lnTo>
                  <a:lnTo>
                    <a:pt x="127" y="289"/>
                  </a:lnTo>
                  <a:lnTo>
                    <a:pt x="137" y="298"/>
                  </a:lnTo>
                  <a:lnTo>
                    <a:pt x="142" y="303"/>
                  </a:lnTo>
                  <a:lnTo>
                    <a:pt x="146" y="309"/>
                  </a:lnTo>
                  <a:lnTo>
                    <a:pt x="150" y="314"/>
                  </a:lnTo>
                  <a:lnTo>
                    <a:pt x="152" y="322"/>
                  </a:lnTo>
                  <a:lnTo>
                    <a:pt x="144" y="335"/>
                  </a:lnTo>
                  <a:lnTo>
                    <a:pt x="135" y="357"/>
                  </a:lnTo>
                  <a:lnTo>
                    <a:pt x="129" y="362"/>
                  </a:lnTo>
                  <a:lnTo>
                    <a:pt x="124" y="366"/>
                  </a:lnTo>
                  <a:lnTo>
                    <a:pt x="120" y="368"/>
                  </a:lnTo>
                  <a:lnTo>
                    <a:pt x="118" y="372"/>
                  </a:lnTo>
                  <a:lnTo>
                    <a:pt x="116" y="377"/>
                  </a:lnTo>
                  <a:lnTo>
                    <a:pt x="115" y="385"/>
                  </a:lnTo>
                  <a:lnTo>
                    <a:pt x="98" y="383"/>
                  </a:lnTo>
                  <a:lnTo>
                    <a:pt x="81" y="383"/>
                  </a:lnTo>
                  <a:lnTo>
                    <a:pt x="79" y="388"/>
                  </a:lnTo>
                  <a:lnTo>
                    <a:pt x="76" y="394"/>
                  </a:lnTo>
                  <a:lnTo>
                    <a:pt x="76" y="401"/>
                  </a:lnTo>
                  <a:lnTo>
                    <a:pt x="74" y="407"/>
                  </a:lnTo>
                  <a:lnTo>
                    <a:pt x="67" y="409"/>
                  </a:lnTo>
                  <a:lnTo>
                    <a:pt x="57" y="409"/>
                  </a:lnTo>
                  <a:lnTo>
                    <a:pt x="54" y="409"/>
                  </a:lnTo>
                  <a:lnTo>
                    <a:pt x="50" y="410"/>
                  </a:lnTo>
                  <a:lnTo>
                    <a:pt x="46" y="414"/>
                  </a:lnTo>
                  <a:lnTo>
                    <a:pt x="44" y="418"/>
                  </a:lnTo>
                  <a:lnTo>
                    <a:pt x="43" y="423"/>
                  </a:lnTo>
                  <a:lnTo>
                    <a:pt x="44" y="429"/>
                  </a:lnTo>
                  <a:lnTo>
                    <a:pt x="48" y="431"/>
                  </a:lnTo>
                  <a:lnTo>
                    <a:pt x="52" y="435"/>
                  </a:lnTo>
                  <a:lnTo>
                    <a:pt x="55" y="436"/>
                  </a:lnTo>
                  <a:lnTo>
                    <a:pt x="59" y="440"/>
                  </a:lnTo>
                  <a:lnTo>
                    <a:pt x="61" y="447"/>
                  </a:lnTo>
                  <a:lnTo>
                    <a:pt x="61" y="457"/>
                  </a:lnTo>
                  <a:lnTo>
                    <a:pt x="57" y="460"/>
                  </a:lnTo>
                  <a:lnTo>
                    <a:pt x="54" y="460"/>
                  </a:lnTo>
                  <a:lnTo>
                    <a:pt x="50" y="460"/>
                  </a:lnTo>
                  <a:lnTo>
                    <a:pt x="46" y="459"/>
                  </a:lnTo>
                  <a:lnTo>
                    <a:pt x="41" y="455"/>
                  </a:lnTo>
                  <a:lnTo>
                    <a:pt x="35" y="453"/>
                  </a:lnTo>
                  <a:lnTo>
                    <a:pt x="33" y="462"/>
                  </a:lnTo>
                  <a:lnTo>
                    <a:pt x="31" y="470"/>
                  </a:lnTo>
                  <a:lnTo>
                    <a:pt x="24" y="471"/>
                  </a:lnTo>
                  <a:lnTo>
                    <a:pt x="17" y="470"/>
                  </a:lnTo>
                  <a:lnTo>
                    <a:pt x="13" y="471"/>
                  </a:lnTo>
                  <a:lnTo>
                    <a:pt x="9" y="473"/>
                  </a:lnTo>
                  <a:lnTo>
                    <a:pt x="4" y="477"/>
                  </a:lnTo>
                  <a:lnTo>
                    <a:pt x="0" y="484"/>
                  </a:lnTo>
                  <a:lnTo>
                    <a:pt x="6" y="490"/>
                  </a:lnTo>
                  <a:lnTo>
                    <a:pt x="9" y="497"/>
                  </a:lnTo>
                  <a:lnTo>
                    <a:pt x="11" y="503"/>
                  </a:lnTo>
                  <a:lnTo>
                    <a:pt x="11" y="508"/>
                  </a:lnTo>
                  <a:lnTo>
                    <a:pt x="11" y="518"/>
                  </a:lnTo>
                  <a:lnTo>
                    <a:pt x="13" y="525"/>
                  </a:lnTo>
                  <a:lnTo>
                    <a:pt x="22" y="529"/>
                  </a:lnTo>
                  <a:lnTo>
                    <a:pt x="28" y="534"/>
                  </a:lnTo>
                  <a:lnTo>
                    <a:pt x="28" y="549"/>
                  </a:lnTo>
                  <a:lnTo>
                    <a:pt x="26" y="560"/>
                  </a:lnTo>
                  <a:lnTo>
                    <a:pt x="33" y="575"/>
                  </a:lnTo>
                  <a:lnTo>
                    <a:pt x="46" y="593"/>
                  </a:lnTo>
                  <a:lnTo>
                    <a:pt x="61" y="612"/>
                  </a:lnTo>
                  <a:lnTo>
                    <a:pt x="70" y="623"/>
                  </a:lnTo>
                  <a:lnTo>
                    <a:pt x="67" y="643"/>
                  </a:lnTo>
                  <a:lnTo>
                    <a:pt x="67" y="660"/>
                  </a:lnTo>
                  <a:lnTo>
                    <a:pt x="70" y="660"/>
                  </a:lnTo>
                  <a:lnTo>
                    <a:pt x="74" y="658"/>
                  </a:lnTo>
                  <a:lnTo>
                    <a:pt x="79" y="654"/>
                  </a:lnTo>
                  <a:lnTo>
                    <a:pt x="83" y="651"/>
                  </a:lnTo>
                  <a:lnTo>
                    <a:pt x="92" y="638"/>
                  </a:lnTo>
                  <a:lnTo>
                    <a:pt x="100" y="627"/>
                  </a:lnTo>
                  <a:lnTo>
                    <a:pt x="109" y="627"/>
                  </a:lnTo>
                  <a:lnTo>
                    <a:pt x="122" y="627"/>
                  </a:lnTo>
                  <a:lnTo>
                    <a:pt x="137" y="632"/>
                  </a:lnTo>
                  <a:lnTo>
                    <a:pt x="152" y="640"/>
                  </a:lnTo>
                  <a:lnTo>
                    <a:pt x="166" y="647"/>
                  </a:lnTo>
                  <a:lnTo>
                    <a:pt x="179" y="658"/>
                  </a:lnTo>
                  <a:lnTo>
                    <a:pt x="183" y="664"/>
                  </a:lnTo>
                  <a:lnTo>
                    <a:pt x="187" y="671"/>
                  </a:lnTo>
                  <a:lnTo>
                    <a:pt x="188" y="677"/>
                  </a:lnTo>
                  <a:lnTo>
                    <a:pt x="188" y="682"/>
                  </a:lnTo>
                  <a:lnTo>
                    <a:pt x="187" y="704"/>
                  </a:lnTo>
                  <a:lnTo>
                    <a:pt x="183" y="721"/>
                  </a:lnTo>
                  <a:lnTo>
                    <a:pt x="181" y="728"/>
                  </a:lnTo>
                  <a:lnTo>
                    <a:pt x="181" y="736"/>
                  </a:lnTo>
                  <a:lnTo>
                    <a:pt x="183" y="743"/>
                  </a:lnTo>
                  <a:lnTo>
                    <a:pt x="190" y="749"/>
                  </a:lnTo>
                  <a:lnTo>
                    <a:pt x="194" y="750"/>
                  </a:lnTo>
                  <a:lnTo>
                    <a:pt x="198" y="749"/>
                  </a:lnTo>
                  <a:lnTo>
                    <a:pt x="201" y="747"/>
                  </a:lnTo>
                  <a:lnTo>
                    <a:pt x="207" y="745"/>
                  </a:lnTo>
                  <a:lnTo>
                    <a:pt x="212" y="741"/>
                  </a:lnTo>
                  <a:lnTo>
                    <a:pt x="222" y="739"/>
                  </a:lnTo>
                  <a:lnTo>
                    <a:pt x="233" y="738"/>
                  </a:lnTo>
                  <a:lnTo>
                    <a:pt x="248" y="739"/>
                  </a:lnTo>
                  <a:lnTo>
                    <a:pt x="257" y="741"/>
                  </a:lnTo>
                  <a:lnTo>
                    <a:pt x="266" y="745"/>
                  </a:lnTo>
                  <a:lnTo>
                    <a:pt x="272" y="749"/>
                  </a:lnTo>
                  <a:lnTo>
                    <a:pt x="275" y="754"/>
                  </a:lnTo>
                  <a:lnTo>
                    <a:pt x="281" y="762"/>
                  </a:lnTo>
                  <a:lnTo>
                    <a:pt x="285" y="77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85" name="Freeform 18"/>
            <p:cNvSpPr>
              <a:spLocks/>
            </p:cNvSpPr>
            <p:nvPr/>
          </p:nvSpPr>
          <p:spPr bwMode="auto">
            <a:xfrm>
              <a:off x="5361555" y="1976997"/>
              <a:ext cx="21393" cy="16794"/>
            </a:xfrm>
            <a:custGeom>
              <a:avLst/>
              <a:gdLst>
                <a:gd name="T0" fmla="*/ 6 w 41"/>
                <a:gd name="T1" fmla="*/ 15 h 33"/>
                <a:gd name="T2" fmla="*/ 4 w 41"/>
                <a:gd name="T3" fmla="*/ 11 h 33"/>
                <a:gd name="T4" fmla="*/ 0 w 41"/>
                <a:gd name="T5" fmla="*/ 7 h 33"/>
                <a:gd name="T6" fmla="*/ 0 w 41"/>
                <a:gd name="T7" fmla="*/ 6 h 33"/>
                <a:gd name="T8" fmla="*/ 0 w 41"/>
                <a:gd name="T9" fmla="*/ 4 h 33"/>
                <a:gd name="T10" fmla="*/ 0 w 41"/>
                <a:gd name="T11" fmla="*/ 2 h 33"/>
                <a:gd name="T12" fmla="*/ 4 w 41"/>
                <a:gd name="T13" fmla="*/ 2 h 33"/>
                <a:gd name="T14" fmla="*/ 6 w 41"/>
                <a:gd name="T15" fmla="*/ 0 h 33"/>
                <a:gd name="T16" fmla="*/ 9 w 41"/>
                <a:gd name="T17" fmla="*/ 2 h 33"/>
                <a:gd name="T18" fmla="*/ 13 w 41"/>
                <a:gd name="T19" fmla="*/ 4 h 33"/>
                <a:gd name="T20" fmla="*/ 17 w 41"/>
                <a:gd name="T21" fmla="*/ 6 h 33"/>
                <a:gd name="T22" fmla="*/ 24 w 41"/>
                <a:gd name="T23" fmla="*/ 2 h 33"/>
                <a:gd name="T24" fmla="*/ 30 w 41"/>
                <a:gd name="T25" fmla="*/ 0 h 33"/>
                <a:gd name="T26" fmla="*/ 33 w 41"/>
                <a:gd name="T27" fmla="*/ 0 h 33"/>
                <a:gd name="T28" fmla="*/ 37 w 41"/>
                <a:gd name="T29" fmla="*/ 0 h 33"/>
                <a:gd name="T30" fmla="*/ 41 w 41"/>
                <a:gd name="T31" fmla="*/ 4 h 33"/>
                <a:gd name="T32" fmla="*/ 41 w 41"/>
                <a:gd name="T33" fmla="*/ 7 h 33"/>
                <a:gd name="T34" fmla="*/ 41 w 41"/>
                <a:gd name="T35" fmla="*/ 13 h 33"/>
                <a:gd name="T36" fmla="*/ 37 w 41"/>
                <a:gd name="T37" fmla="*/ 20 h 33"/>
                <a:gd name="T38" fmla="*/ 37 w 41"/>
                <a:gd name="T39" fmla="*/ 26 h 33"/>
                <a:gd name="T40" fmla="*/ 35 w 41"/>
                <a:gd name="T41" fmla="*/ 28 h 33"/>
                <a:gd name="T42" fmla="*/ 33 w 41"/>
                <a:gd name="T43" fmla="*/ 30 h 33"/>
                <a:gd name="T44" fmla="*/ 30 w 41"/>
                <a:gd name="T45" fmla="*/ 32 h 33"/>
                <a:gd name="T46" fmla="*/ 22 w 41"/>
                <a:gd name="T47" fmla="*/ 33 h 33"/>
                <a:gd name="T48" fmla="*/ 15 w 41"/>
                <a:gd name="T49" fmla="*/ 32 h 33"/>
                <a:gd name="T50" fmla="*/ 4 w 41"/>
                <a:gd name="T51" fmla="*/ 28 h 33"/>
                <a:gd name="T52" fmla="*/ 0 w 41"/>
                <a:gd name="T53" fmla="*/ 26 h 33"/>
                <a:gd name="T54" fmla="*/ 2 w 41"/>
                <a:gd name="T55" fmla="*/ 20 h 33"/>
                <a:gd name="T56" fmla="*/ 6 w 41"/>
                <a:gd name="T57" fmla="*/ 15 h 3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1"/>
                <a:gd name="T88" fmla="*/ 0 h 33"/>
                <a:gd name="T89" fmla="*/ 41 w 41"/>
                <a:gd name="T90" fmla="*/ 33 h 3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1" h="33">
                  <a:moveTo>
                    <a:pt x="6" y="15"/>
                  </a:moveTo>
                  <a:lnTo>
                    <a:pt x="4" y="11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9" y="2"/>
                  </a:lnTo>
                  <a:lnTo>
                    <a:pt x="13" y="4"/>
                  </a:lnTo>
                  <a:lnTo>
                    <a:pt x="17" y="6"/>
                  </a:lnTo>
                  <a:lnTo>
                    <a:pt x="24" y="2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41" y="4"/>
                  </a:lnTo>
                  <a:lnTo>
                    <a:pt x="41" y="7"/>
                  </a:lnTo>
                  <a:lnTo>
                    <a:pt x="41" y="13"/>
                  </a:lnTo>
                  <a:lnTo>
                    <a:pt x="37" y="20"/>
                  </a:lnTo>
                  <a:lnTo>
                    <a:pt x="37" y="26"/>
                  </a:lnTo>
                  <a:lnTo>
                    <a:pt x="35" y="28"/>
                  </a:lnTo>
                  <a:lnTo>
                    <a:pt x="33" y="30"/>
                  </a:lnTo>
                  <a:lnTo>
                    <a:pt x="30" y="32"/>
                  </a:lnTo>
                  <a:lnTo>
                    <a:pt x="22" y="33"/>
                  </a:lnTo>
                  <a:lnTo>
                    <a:pt x="15" y="32"/>
                  </a:lnTo>
                  <a:lnTo>
                    <a:pt x="4" y="28"/>
                  </a:lnTo>
                  <a:lnTo>
                    <a:pt x="0" y="26"/>
                  </a:lnTo>
                  <a:lnTo>
                    <a:pt x="2" y="20"/>
                  </a:lnTo>
                  <a:lnTo>
                    <a:pt x="6" y="1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86" name="Freeform 19"/>
            <p:cNvSpPr>
              <a:spLocks noEditPoints="1"/>
            </p:cNvSpPr>
            <p:nvPr/>
          </p:nvSpPr>
          <p:spPr bwMode="auto">
            <a:xfrm>
              <a:off x="5598449" y="1715421"/>
              <a:ext cx="440914" cy="188294"/>
            </a:xfrm>
            <a:custGeom>
              <a:avLst/>
              <a:gdLst>
                <a:gd name="T0" fmla="*/ 172 w 845"/>
                <a:gd name="T1" fmla="*/ 309 h 370"/>
                <a:gd name="T2" fmla="*/ 194 w 845"/>
                <a:gd name="T3" fmla="*/ 311 h 370"/>
                <a:gd name="T4" fmla="*/ 185 w 845"/>
                <a:gd name="T5" fmla="*/ 281 h 370"/>
                <a:gd name="T6" fmla="*/ 204 w 845"/>
                <a:gd name="T7" fmla="*/ 339 h 370"/>
                <a:gd name="T8" fmla="*/ 207 w 845"/>
                <a:gd name="T9" fmla="*/ 355 h 370"/>
                <a:gd name="T10" fmla="*/ 261 w 845"/>
                <a:gd name="T11" fmla="*/ 335 h 370"/>
                <a:gd name="T12" fmla="*/ 289 w 845"/>
                <a:gd name="T13" fmla="*/ 318 h 370"/>
                <a:gd name="T14" fmla="*/ 272 w 845"/>
                <a:gd name="T15" fmla="*/ 300 h 370"/>
                <a:gd name="T16" fmla="*/ 246 w 845"/>
                <a:gd name="T17" fmla="*/ 287 h 370"/>
                <a:gd name="T18" fmla="*/ 209 w 845"/>
                <a:gd name="T19" fmla="*/ 296 h 370"/>
                <a:gd name="T20" fmla="*/ 72 w 845"/>
                <a:gd name="T21" fmla="*/ 359 h 370"/>
                <a:gd name="T22" fmla="*/ 98 w 845"/>
                <a:gd name="T23" fmla="*/ 370 h 370"/>
                <a:gd name="T24" fmla="*/ 82 w 845"/>
                <a:gd name="T25" fmla="*/ 351 h 370"/>
                <a:gd name="T26" fmla="*/ 23 w 845"/>
                <a:gd name="T27" fmla="*/ 272 h 370"/>
                <a:gd name="T28" fmla="*/ 28 w 845"/>
                <a:gd name="T29" fmla="*/ 257 h 370"/>
                <a:gd name="T30" fmla="*/ 13 w 845"/>
                <a:gd name="T31" fmla="*/ 237 h 370"/>
                <a:gd name="T32" fmla="*/ 48 w 845"/>
                <a:gd name="T33" fmla="*/ 218 h 370"/>
                <a:gd name="T34" fmla="*/ 47 w 845"/>
                <a:gd name="T35" fmla="*/ 237 h 370"/>
                <a:gd name="T36" fmla="*/ 60 w 845"/>
                <a:gd name="T37" fmla="*/ 266 h 370"/>
                <a:gd name="T38" fmla="*/ 104 w 845"/>
                <a:gd name="T39" fmla="*/ 287 h 370"/>
                <a:gd name="T40" fmla="*/ 130 w 845"/>
                <a:gd name="T41" fmla="*/ 270 h 370"/>
                <a:gd name="T42" fmla="*/ 132 w 845"/>
                <a:gd name="T43" fmla="*/ 261 h 370"/>
                <a:gd name="T44" fmla="*/ 146 w 845"/>
                <a:gd name="T45" fmla="*/ 244 h 370"/>
                <a:gd name="T46" fmla="*/ 170 w 845"/>
                <a:gd name="T47" fmla="*/ 226 h 370"/>
                <a:gd name="T48" fmla="*/ 198 w 845"/>
                <a:gd name="T49" fmla="*/ 209 h 370"/>
                <a:gd name="T50" fmla="*/ 163 w 845"/>
                <a:gd name="T51" fmla="*/ 202 h 370"/>
                <a:gd name="T52" fmla="*/ 141 w 845"/>
                <a:gd name="T53" fmla="*/ 176 h 370"/>
                <a:gd name="T54" fmla="*/ 150 w 845"/>
                <a:gd name="T55" fmla="*/ 163 h 370"/>
                <a:gd name="T56" fmla="*/ 161 w 845"/>
                <a:gd name="T57" fmla="*/ 191 h 370"/>
                <a:gd name="T58" fmla="*/ 211 w 845"/>
                <a:gd name="T59" fmla="*/ 189 h 370"/>
                <a:gd name="T60" fmla="*/ 202 w 845"/>
                <a:gd name="T61" fmla="*/ 157 h 370"/>
                <a:gd name="T62" fmla="*/ 194 w 845"/>
                <a:gd name="T63" fmla="*/ 133 h 370"/>
                <a:gd name="T64" fmla="*/ 154 w 845"/>
                <a:gd name="T65" fmla="*/ 137 h 370"/>
                <a:gd name="T66" fmla="*/ 104 w 845"/>
                <a:gd name="T67" fmla="*/ 143 h 370"/>
                <a:gd name="T68" fmla="*/ 100 w 845"/>
                <a:gd name="T69" fmla="*/ 163 h 370"/>
                <a:gd name="T70" fmla="*/ 115 w 845"/>
                <a:gd name="T71" fmla="*/ 183 h 370"/>
                <a:gd name="T72" fmla="*/ 84 w 845"/>
                <a:gd name="T73" fmla="*/ 174 h 370"/>
                <a:gd name="T74" fmla="*/ 56 w 845"/>
                <a:gd name="T75" fmla="*/ 167 h 370"/>
                <a:gd name="T76" fmla="*/ 37 w 845"/>
                <a:gd name="T77" fmla="*/ 202 h 370"/>
                <a:gd name="T78" fmla="*/ 257 w 845"/>
                <a:gd name="T79" fmla="*/ 145 h 370"/>
                <a:gd name="T80" fmla="*/ 290 w 845"/>
                <a:gd name="T81" fmla="*/ 146 h 370"/>
                <a:gd name="T82" fmla="*/ 322 w 845"/>
                <a:gd name="T83" fmla="*/ 100 h 370"/>
                <a:gd name="T84" fmla="*/ 311 w 845"/>
                <a:gd name="T85" fmla="*/ 85 h 370"/>
                <a:gd name="T86" fmla="*/ 283 w 845"/>
                <a:gd name="T87" fmla="*/ 95 h 370"/>
                <a:gd name="T88" fmla="*/ 248 w 845"/>
                <a:gd name="T89" fmla="*/ 104 h 370"/>
                <a:gd name="T90" fmla="*/ 231 w 845"/>
                <a:gd name="T91" fmla="*/ 128 h 370"/>
                <a:gd name="T92" fmla="*/ 217 w 845"/>
                <a:gd name="T93" fmla="*/ 130 h 370"/>
                <a:gd name="T94" fmla="*/ 235 w 845"/>
                <a:gd name="T95" fmla="*/ 148 h 370"/>
                <a:gd name="T96" fmla="*/ 196 w 845"/>
                <a:gd name="T97" fmla="*/ 24 h 370"/>
                <a:gd name="T98" fmla="*/ 200 w 845"/>
                <a:gd name="T99" fmla="*/ 2 h 370"/>
                <a:gd name="T100" fmla="*/ 187 w 845"/>
                <a:gd name="T101" fmla="*/ 13 h 370"/>
                <a:gd name="T102" fmla="*/ 734 w 845"/>
                <a:gd name="T103" fmla="*/ 141 h 370"/>
                <a:gd name="T104" fmla="*/ 745 w 845"/>
                <a:gd name="T105" fmla="*/ 152 h 370"/>
                <a:gd name="T106" fmla="*/ 762 w 845"/>
                <a:gd name="T107" fmla="*/ 133 h 370"/>
                <a:gd name="T108" fmla="*/ 769 w 845"/>
                <a:gd name="T109" fmla="*/ 126 h 370"/>
                <a:gd name="T110" fmla="*/ 750 w 845"/>
                <a:gd name="T111" fmla="*/ 128 h 370"/>
                <a:gd name="T112" fmla="*/ 782 w 845"/>
                <a:gd name="T113" fmla="*/ 117 h 370"/>
                <a:gd name="T114" fmla="*/ 789 w 845"/>
                <a:gd name="T115" fmla="*/ 113 h 370"/>
                <a:gd name="T116" fmla="*/ 839 w 845"/>
                <a:gd name="T117" fmla="*/ 180 h 370"/>
                <a:gd name="T118" fmla="*/ 835 w 845"/>
                <a:gd name="T119" fmla="*/ 180 h 370"/>
                <a:gd name="T120" fmla="*/ 834 w 845"/>
                <a:gd name="T121" fmla="*/ 189 h 370"/>
                <a:gd name="T122" fmla="*/ 841 w 845"/>
                <a:gd name="T123" fmla="*/ 181 h 37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45"/>
                <a:gd name="T187" fmla="*/ 0 h 370"/>
                <a:gd name="T188" fmla="*/ 845 w 845"/>
                <a:gd name="T189" fmla="*/ 370 h 37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45" h="370">
                  <a:moveTo>
                    <a:pt x="170" y="289"/>
                  </a:moveTo>
                  <a:lnTo>
                    <a:pt x="169" y="291"/>
                  </a:lnTo>
                  <a:lnTo>
                    <a:pt x="169" y="292"/>
                  </a:lnTo>
                  <a:lnTo>
                    <a:pt x="169" y="294"/>
                  </a:lnTo>
                  <a:lnTo>
                    <a:pt x="169" y="296"/>
                  </a:lnTo>
                  <a:lnTo>
                    <a:pt x="167" y="298"/>
                  </a:lnTo>
                  <a:lnTo>
                    <a:pt x="169" y="300"/>
                  </a:lnTo>
                  <a:lnTo>
                    <a:pt x="169" y="302"/>
                  </a:lnTo>
                  <a:lnTo>
                    <a:pt x="169" y="303"/>
                  </a:lnTo>
                  <a:lnTo>
                    <a:pt x="169" y="305"/>
                  </a:lnTo>
                  <a:lnTo>
                    <a:pt x="170" y="305"/>
                  </a:lnTo>
                  <a:lnTo>
                    <a:pt x="170" y="307"/>
                  </a:lnTo>
                  <a:lnTo>
                    <a:pt x="172" y="309"/>
                  </a:lnTo>
                  <a:lnTo>
                    <a:pt x="174" y="311"/>
                  </a:lnTo>
                  <a:lnTo>
                    <a:pt x="176" y="311"/>
                  </a:lnTo>
                  <a:lnTo>
                    <a:pt x="178" y="313"/>
                  </a:lnTo>
                  <a:lnTo>
                    <a:pt x="181" y="313"/>
                  </a:lnTo>
                  <a:lnTo>
                    <a:pt x="183" y="315"/>
                  </a:lnTo>
                  <a:lnTo>
                    <a:pt x="185" y="315"/>
                  </a:lnTo>
                  <a:lnTo>
                    <a:pt x="187" y="315"/>
                  </a:lnTo>
                  <a:lnTo>
                    <a:pt x="189" y="315"/>
                  </a:lnTo>
                  <a:lnTo>
                    <a:pt x="189" y="313"/>
                  </a:lnTo>
                  <a:lnTo>
                    <a:pt x="191" y="313"/>
                  </a:lnTo>
                  <a:lnTo>
                    <a:pt x="193" y="313"/>
                  </a:lnTo>
                  <a:lnTo>
                    <a:pt x="194" y="311"/>
                  </a:lnTo>
                  <a:lnTo>
                    <a:pt x="196" y="309"/>
                  </a:lnTo>
                  <a:lnTo>
                    <a:pt x="198" y="309"/>
                  </a:lnTo>
                  <a:lnTo>
                    <a:pt x="200" y="305"/>
                  </a:lnTo>
                  <a:lnTo>
                    <a:pt x="198" y="302"/>
                  </a:lnTo>
                  <a:lnTo>
                    <a:pt x="198" y="298"/>
                  </a:lnTo>
                  <a:lnTo>
                    <a:pt x="196" y="294"/>
                  </a:lnTo>
                  <a:lnTo>
                    <a:pt x="196" y="291"/>
                  </a:lnTo>
                  <a:lnTo>
                    <a:pt x="194" y="289"/>
                  </a:lnTo>
                  <a:lnTo>
                    <a:pt x="193" y="287"/>
                  </a:lnTo>
                  <a:lnTo>
                    <a:pt x="191" y="285"/>
                  </a:lnTo>
                  <a:lnTo>
                    <a:pt x="189" y="283"/>
                  </a:lnTo>
                  <a:lnTo>
                    <a:pt x="185" y="281"/>
                  </a:lnTo>
                  <a:lnTo>
                    <a:pt x="183" y="281"/>
                  </a:lnTo>
                  <a:lnTo>
                    <a:pt x="181" y="281"/>
                  </a:lnTo>
                  <a:lnTo>
                    <a:pt x="178" y="283"/>
                  </a:lnTo>
                  <a:lnTo>
                    <a:pt x="176" y="283"/>
                  </a:lnTo>
                  <a:lnTo>
                    <a:pt x="174" y="285"/>
                  </a:lnTo>
                  <a:lnTo>
                    <a:pt x="172" y="287"/>
                  </a:lnTo>
                  <a:lnTo>
                    <a:pt x="170" y="289"/>
                  </a:lnTo>
                  <a:close/>
                  <a:moveTo>
                    <a:pt x="204" y="327"/>
                  </a:moveTo>
                  <a:lnTo>
                    <a:pt x="204" y="331"/>
                  </a:lnTo>
                  <a:lnTo>
                    <a:pt x="206" y="337"/>
                  </a:lnTo>
                  <a:lnTo>
                    <a:pt x="204" y="337"/>
                  </a:lnTo>
                  <a:lnTo>
                    <a:pt x="204" y="339"/>
                  </a:lnTo>
                  <a:lnTo>
                    <a:pt x="200" y="342"/>
                  </a:lnTo>
                  <a:lnTo>
                    <a:pt x="198" y="348"/>
                  </a:lnTo>
                  <a:lnTo>
                    <a:pt x="198" y="350"/>
                  </a:lnTo>
                  <a:lnTo>
                    <a:pt x="198" y="351"/>
                  </a:lnTo>
                  <a:lnTo>
                    <a:pt x="198" y="353"/>
                  </a:lnTo>
                  <a:lnTo>
                    <a:pt x="200" y="353"/>
                  </a:lnTo>
                  <a:lnTo>
                    <a:pt x="200" y="355"/>
                  </a:lnTo>
                  <a:lnTo>
                    <a:pt x="202" y="355"/>
                  </a:lnTo>
                  <a:lnTo>
                    <a:pt x="204" y="355"/>
                  </a:lnTo>
                  <a:lnTo>
                    <a:pt x="206" y="355"/>
                  </a:lnTo>
                  <a:lnTo>
                    <a:pt x="207" y="355"/>
                  </a:lnTo>
                  <a:lnTo>
                    <a:pt x="209" y="355"/>
                  </a:lnTo>
                  <a:lnTo>
                    <a:pt x="211" y="353"/>
                  </a:lnTo>
                  <a:lnTo>
                    <a:pt x="218" y="350"/>
                  </a:lnTo>
                  <a:lnTo>
                    <a:pt x="226" y="344"/>
                  </a:lnTo>
                  <a:lnTo>
                    <a:pt x="230" y="346"/>
                  </a:lnTo>
                  <a:lnTo>
                    <a:pt x="233" y="346"/>
                  </a:lnTo>
                  <a:lnTo>
                    <a:pt x="237" y="348"/>
                  </a:lnTo>
                  <a:lnTo>
                    <a:pt x="239" y="348"/>
                  </a:lnTo>
                  <a:lnTo>
                    <a:pt x="241" y="348"/>
                  </a:lnTo>
                  <a:lnTo>
                    <a:pt x="242" y="348"/>
                  </a:lnTo>
                  <a:lnTo>
                    <a:pt x="250" y="344"/>
                  </a:lnTo>
                  <a:lnTo>
                    <a:pt x="257" y="339"/>
                  </a:lnTo>
                  <a:lnTo>
                    <a:pt x="261" y="335"/>
                  </a:lnTo>
                  <a:lnTo>
                    <a:pt x="266" y="329"/>
                  </a:lnTo>
                  <a:lnTo>
                    <a:pt x="268" y="329"/>
                  </a:lnTo>
                  <a:lnTo>
                    <a:pt x="270" y="329"/>
                  </a:lnTo>
                  <a:lnTo>
                    <a:pt x="276" y="329"/>
                  </a:lnTo>
                  <a:lnTo>
                    <a:pt x="281" y="329"/>
                  </a:lnTo>
                  <a:lnTo>
                    <a:pt x="283" y="327"/>
                  </a:lnTo>
                  <a:lnTo>
                    <a:pt x="285" y="327"/>
                  </a:lnTo>
                  <a:lnTo>
                    <a:pt x="287" y="326"/>
                  </a:lnTo>
                  <a:lnTo>
                    <a:pt x="289" y="324"/>
                  </a:lnTo>
                  <a:lnTo>
                    <a:pt x="289" y="322"/>
                  </a:lnTo>
                  <a:lnTo>
                    <a:pt x="289" y="318"/>
                  </a:lnTo>
                  <a:lnTo>
                    <a:pt x="289" y="316"/>
                  </a:lnTo>
                  <a:lnTo>
                    <a:pt x="289" y="315"/>
                  </a:lnTo>
                  <a:lnTo>
                    <a:pt x="287" y="313"/>
                  </a:lnTo>
                  <a:lnTo>
                    <a:pt x="285" y="313"/>
                  </a:lnTo>
                  <a:lnTo>
                    <a:pt x="283" y="311"/>
                  </a:lnTo>
                  <a:lnTo>
                    <a:pt x="281" y="309"/>
                  </a:lnTo>
                  <a:lnTo>
                    <a:pt x="278" y="307"/>
                  </a:lnTo>
                  <a:lnTo>
                    <a:pt x="276" y="307"/>
                  </a:lnTo>
                  <a:lnTo>
                    <a:pt x="276" y="305"/>
                  </a:lnTo>
                  <a:lnTo>
                    <a:pt x="274" y="303"/>
                  </a:lnTo>
                  <a:lnTo>
                    <a:pt x="274" y="302"/>
                  </a:lnTo>
                  <a:lnTo>
                    <a:pt x="272" y="300"/>
                  </a:lnTo>
                  <a:lnTo>
                    <a:pt x="270" y="300"/>
                  </a:lnTo>
                  <a:lnTo>
                    <a:pt x="270" y="298"/>
                  </a:lnTo>
                  <a:lnTo>
                    <a:pt x="268" y="298"/>
                  </a:lnTo>
                  <a:lnTo>
                    <a:pt x="265" y="296"/>
                  </a:lnTo>
                  <a:lnTo>
                    <a:pt x="261" y="294"/>
                  </a:lnTo>
                  <a:lnTo>
                    <a:pt x="257" y="294"/>
                  </a:lnTo>
                  <a:lnTo>
                    <a:pt x="252" y="292"/>
                  </a:lnTo>
                  <a:lnTo>
                    <a:pt x="250" y="291"/>
                  </a:lnTo>
                  <a:lnTo>
                    <a:pt x="248" y="289"/>
                  </a:lnTo>
                  <a:lnTo>
                    <a:pt x="246" y="287"/>
                  </a:lnTo>
                  <a:lnTo>
                    <a:pt x="244" y="287"/>
                  </a:lnTo>
                  <a:lnTo>
                    <a:pt x="242" y="287"/>
                  </a:lnTo>
                  <a:lnTo>
                    <a:pt x="241" y="287"/>
                  </a:lnTo>
                  <a:lnTo>
                    <a:pt x="239" y="287"/>
                  </a:lnTo>
                  <a:lnTo>
                    <a:pt x="233" y="287"/>
                  </a:lnTo>
                  <a:lnTo>
                    <a:pt x="228" y="289"/>
                  </a:lnTo>
                  <a:lnTo>
                    <a:pt x="224" y="289"/>
                  </a:lnTo>
                  <a:lnTo>
                    <a:pt x="220" y="289"/>
                  </a:lnTo>
                  <a:lnTo>
                    <a:pt x="218" y="289"/>
                  </a:lnTo>
                  <a:lnTo>
                    <a:pt x="217" y="289"/>
                  </a:lnTo>
                  <a:lnTo>
                    <a:pt x="213" y="289"/>
                  </a:lnTo>
                  <a:lnTo>
                    <a:pt x="211" y="292"/>
                  </a:lnTo>
                  <a:lnTo>
                    <a:pt x="209" y="296"/>
                  </a:lnTo>
                  <a:lnTo>
                    <a:pt x="207" y="300"/>
                  </a:lnTo>
                  <a:lnTo>
                    <a:pt x="206" y="303"/>
                  </a:lnTo>
                  <a:lnTo>
                    <a:pt x="204" y="305"/>
                  </a:lnTo>
                  <a:lnTo>
                    <a:pt x="204" y="309"/>
                  </a:lnTo>
                  <a:lnTo>
                    <a:pt x="204" y="311"/>
                  </a:lnTo>
                  <a:lnTo>
                    <a:pt x="204" y="315"/>
                  </a:lnTo>
                  <a:lnTo>
                    <a:pt x="204" y="316"/>
                  </a:lnTo>
                  <a:lnTo>
                    <a:pt x="204" y="320"/>
                  </a:lnTo>
                  <a:lnTo>
                    <a:pt x="204" y="322"/>
                  </a:lnTo>
                  <a:lnTo>
                    <a:pt x="204" y="326"/>
                  </a:lnTo>
                  <a:lnTo>
                    <a:pt x="204" y="327"/>
                  </a:lnTo>
                  <a:close/>
                  <a:moveTo>
                    <a:pt x="71" y="357"/>
                  </a:moveTo>
                  <a:lnTo>
                    <a:pt x="72" y="359"/>
                  </a:lnTo>
                  <a:lnTo>
                    <a:pt x="74" y="361"/>
                  </a:lnTo>
                  <a:lnTo>
                    <a:pt x="76" y="363"/>
                  </a:lnTo>
                  <a:lnTo>
                    <a:pt x="78" y="364"/>
                  </a:lnTo>
                  <a:lnTo>
                    <a:pt x="80" y="364"/>
                  </a:lnTo>
                  <a:lnTo>
                    <a:pt x="82" y="366"/>
                  </a:lnTo>
                  <a:lnTo>
                    <a:pt x="85" y="368"/>
                  </a:lnTo>
                  <a:lnTo>
                    <a:pt x="87" y="368"/>
                  </a:lnTo>
                  <a:lnTo>
                    <a:pt x="89" y="370"/>
                  </a:lnTo>
                  <a:lnTo>
                    <a:pt x="91" y="370"/>
                  </a:lnTo>
                  <a:lnTo>
                    <a:pt x="93" y="370"/>
                  </a:lnTo>
                  <a:lnTo>
                    <a:pt x="97" y="370"/>
                  </a:lnTo>
                  <a:lnTo>
                    <a:pt x="98" y="370"/>
                  </a:lnTo>
                  <a:lnTo>
                    <a:pt x="100" y="368"/>
                  </a:lnTo>
                  <a:lnTo>
                    <a:pt x="102" y="368"/>
                  </a:lnTo>
                  <a:lnTo>
                    <a:pt x="104" y="366"/>
                  </a:lnTo>
                  <a:lnTo>
                    <a:pt x="104" y="364"/>
                  </a:lnTo>
                  <a:lnTo>
                    <a:pt x="104" y="363"/>
                  </a:lnTo>
                  <a:lnTo>
                    <a:pt x="104" y="361"/>
                  </a:lnTo>
                  <a:lnTo>
                    <a:pt x="104" y="359"/>
                  </a:lnTo>
                  <a:lnTo>
                    <a:pt x="102" y="359"/>
                  </a:lnTo>
                  <a:lnTo>
                    <a:pt x="102" y="357"/>
                  </a:lnTo>
                  <a:lnTo>
                    <a:pt x="98" y="357"/>
                  </a:lnTo>
                  <a:lnTo>
                    <a:pt x="91" y="353"/>
                  </a:lnTo>
                  <a:lnTo>
                    <a:pt x="82" y="351"/>
                  </a:lnTo>
                  <a:lnTo>
                    <a:pt x="78" y="351"/>
                  </a:lnTo>
                  <a:lnTo>
                    <a:pt x="74" y="351"/>
                  </a:lnTo>
                  <a:lnTo>
                    <a:pt x="72" y="351"/>
                  </a:lnTo>
                  <a:lnTo>
                    <a:pt x="71" y="351"/>
                  </a:lnTo>
                  <a:lnTo>
                    <a:pt x="71" y="355"/>
                  </a:lnTo>
                  <a:lnTo>
                    <a:pt x="71" y="357"/>
                  </a:lnTo>
                  <a:close/>
                  <a:moveTo>
                    <a:pt x="8" y="250"/>
                  </a:moveTo>
                  <a:lnTo>
                    <a:pt x="12" y="259"/>
                  </a:lnTo>
                  <a:lnTo>
                    <a:pt x="17" y="268"/>
                  </a:lnTo>
                  <a:lnTo>
                    <a:pt x="19" y="270"/>
                  </a:lnTo>
                  <a:lnTo>
                    <a:pt x="21" y="270"/>
                  </a:lnTo>
                  <a:lnTo>
                    <a:pt x="21" y="272"/>
                  </a:lnTo>
                  <a:lnTo>
                    <a:pt x="23" y="272"/>
                  </a:lnTo>
                  <a:lnTo>
                    <a:pt x="24" y="274"/>
                  </a:lnTo>
                  <a:lnTo>
                    <a:pt x="26" y="274"/>
                  </a:lnTo>
                  <a:lnTo>
                    <a:pt x="28" y="274"/>
                  </a:lnTo>
                  <a:lnTo>
                    <a:pt x="30" y="272"/>
                  </a:lnTo>
                  <a:lnTo>
                    <a:pt x="32" y="272"/>
                  </a:lnTo>
                  <a:lnTo>
                    <a:pt x="34" y="270"/>
                  </a:lnTo>
                  <a:lnTo>
                    <a:pt x="34" y="268"/>
                  </a:lnTo>
                  <a:lnTo>
                    <a:pt x="34" y="266"/>
                  </a:lnTo>
                  <a:lnTo>
                    <a:pt x="32" y="261"/>
                  </a:lnTo>
                  <a:lnTo>
                    <a:pt x="28" y="257"/>
                  </a:lnTo>
                  <a:lnTo>
                    <a:pt x="26" y="255"/>
                  </a:lnTo>
                  <a:lnTo>
                    <a:pt x="26" y="254"/>
                  </a:lnTo>
                  <a:lnTo>
                    <a:pt x="26" y="252"/>
                  </a:lnTo>
                  <a:lnTo>
                    <a:pt x="26" y="248"/>
                  </a:lnTo>
                  <a:lnTo>
                    <a:pt x="24" y="244"/>
                  </a:lnTo>
                  <a:lnTo>
                    <a:pt x="24" y="242"/>
                  </a:lnTo>
                  <a:lnTo>
                    <a:pt x="23" y="242"/>
                  </a:lnTo>
                  <a:lnTo>
                    <a:pt x="21" y="241"/>
                  </a:lnTo>
                  <a:lnTo>
                    <a:pt x="19" y="241"/>
                  </a:lnTo>
                  <a:lnTo>
                    <a:pt x="17" y="239"/>
                  </a:lnTo>
                  <a:lnTo>
                    <a:pt x="15" y="239"/>
                  </a:lnTo>
                  <a:lnTo>
                    <a:pt x="13" y="237"/>
                  </a:lnTo>
                  <a:lnTo>
                    <a:pt x="13" y="235"/>
                  </a:lnTo>
                  <a:lnTo>
                    <a:pt x="12" y="233"/>
                  </a:lnTo>
                  <a:lnTo>
                    <a:pt x="10" y="231"/>
                  </a:lnTo>
                  <a:lnTo>
                    <a:pt x="8" y="231"/>
                  </a:lnTo>
                  <a:lnTo>
                    <a:pt x="6" y="231"/>
                  </a:lnTo>
                  <a:lnTo>
                    <a:pt x="4" y="231"/>
                  </a:lnTo>
                  <a:lnTo>
                    <a:pt x="0" y="231"/>
                  </a:lnTo>
                  <a:lnTo>
                    <a:pt x="4" y="241"/>
                  </a:lnTo>
                  <a:lnTo>
                    <a:pt x="8" y="250"/>
                  </a:lnTo>
                  <a:close/>
                  <a:moveTo>
                    <a:pt x="45" y="217"/>
                  </a:moveTo>
                  <a:lnTo>
                    <a:pt x="47" y="217"/>
                  </a:lnTo>
                  <a:lnTo>
                    <a:pt x="48" y="218"/>
                  </a:lnTo>
                  <a:lnTo>
                    <a:pt x="47" y="220"/>
                  </a:lnTo>
                  <a:lnTo>
                    <a:pt x="45" y="220"/>
                  </a:lnTo>
                  <a:lnTo>
                    <a:pt x="43" y="222"/>
                  </a:lnTo>
                  <a:lnTo>
                    <a:pt x="41" y="222"/>
                  </a:lnTo>
                  <a:lnTo>
                    <a:pt x="41" y="224"/>
                  </a:lnTo>
                  <a:lnTo>
                    <a:pt x="39" y="226"/>
                  </a:lnTo>
                  <a:lnTo>
                    <a:pt x="39" y="228"/>
                  </a:lnTo>
                  <a:lnTo>
                    <a:pt x="39" y="230"/>
                  </a:lnTo>
                  <a:lnTo>
                    <a:pt x="41" y="231"/>
                  </a:lnTo>
                  <a:lnTo>
                    <a:pt x="41" y="233"/>
                  </a:lnTo>
                  <a:lnTo>
                    <a:pt x="47" y="237"/>
                  </a:lnTo>
                  <a:lnTo>
                    <a:pt x="50" y="239"/>
                  </a:lnTo>
                  <a:lnTo>
                    <a:pt x="52" y="241"/>
                  </a:lnTo>
                  <a:lnTo>
                    <a:pt x="54" y="242"/>
                  </a:lnTo>
                  <a:lnTo>
                    <a:pt x="54" y="244"/>
                  </a:lnTo>
                  <a:lnTo>
                    <a:pt x="52" y="250"/>
                  </a:lnTo>
                  <a:lnTo>
                    <a:pt x="52" y="255"/>
                  </a:lnTo>
                  <a:lnTo>
                    <a:pt x="50" y="257"/>
                  </a:lnTo>
                  <a:lnTo>
                    <a:pt x="52" y="259"/>
                  </a:lnTo>
                  <a:lnTo>
                    <a:pt x="54" y="261"/>
                  </a:lnTo>
                  <a:lnTo>
                    <a:pt x="56" y="265"/>
                  </a:lnTo>
                  <a:lnTo>
                    <a:pt x="58" y="265"/>
                  </a:lnTo>
                  <a:lnTo>
                    <a:pt x="60" y="266"/>
                  </a:lnTo>
                  <a:lnTo>
                    <a:pt x="61" y="266"/>
                  </a:lnTo>
                  <a:lnTo>
                    <a:pt x="63" y="268"/>
                  </a:lnTo>
                  <a:lnTo>
                    <a:pt x="65" y="268"/>
                  </a:lnTo>
                  <a:lnTo>
                    <a:pt x="74" y="270"/>
                  </a:lnTo>
                  <a:lnTo>
                    <a:pt x="84" y="272"/>
                  </a:lnTo>
                  <a:lnTo>
                    <a:pt x="87" y="272"/>
                  </a:lnTo>
                  <a:lnTo>
                    <a:pt x="91" y="272"/>
                  </a:lnTo>
                  <a:lnTo>
                    <a:pt x="93" y="274"/>
                  </a:lnTo>
                  <a:lnTo>
                    <a:pt x="93" y="276"/>
                  </a:lnTo>
                  <a:lnTo>
                    <a:pt x="97" y="279"/>
                  </a:lnTo>
                  <a:lnTo>
                    <a:pt x="98" y="283"/>
                  </a:lnTo>
                  <a:lnTo>
                    <a:pt x="100" y="285"/>
                  </a:lnTo>
                  <a:lnTo>
                    <a:pt x="104" y="287"/>
                  </a:lnTo>
                  <a:lnTo>
                    <a:pt x="106" y="287"/>
                  </a:lnTo>
                  <a:lnTo>
                    <a:pt x="108" y="285"/>
                  </a:lnTo>
                  <a:lnTo>
                    <a:pt x="111" y="283"/>
                  </a:lnTo>
                  <a:lnTo>
                    <a:pt x="117" y="279"/>
                  </a:lnTo>
                  <a:lnTo>
                    <a:pt x="119" y="279"/>
                  </a:lnTo>
                  <a:lnTo>
                    <a:pt x="121" y="281"/>
                  </a:lnTo>
                  <a:lnTo>
                    <a:pt x="124" y="281"/>
                  </a:lnTo>
                  <a:lnTo>
                    <a:pt x="128" y="281"/>
                  </a:lnTo>
                  <a:lnTo>
                    <a:pt x="130" y="281"/>
                  </a:lnTo>
                  <a:lnTo>
                    <a:pt x="130" y="276"/>
                  </a:lnTo>
                  <a:lnTo>
                    <a:pt x="130" y="274"/>
                  </a:lnTo>
                  <a:lnTo>
                    <a:pt x="130" y="270"/>
                  </a:lnTo>
                  <a:lnTo>
                    <a:pt x="130" y="268"/>
                  </a:lnTo>
                  <a:lnTo>
                    <a:pt x="130" y="265"/>
                  </a:lnTo>
                  <a:lnTo>
                    <a:pt x="128" y="259"/>
                  </a:lnTo>
                  <a:lnTo>
                    <a:pt x="126" y="254"/>
                  </a:lnTo>
                  <a:lnTo>
                    <a:pt x="126" y="250"/>
                  </a:lnTo>
                  <a:lnTo>
                    <a:pt x="124" y="246"/>
                  </a:lnTo>
                  <a:lnTo>
                    <a:pt x="126" y="248"/>
                  </a:lnTo>
                  <a:lnTo>
                    <a:pt x="128" y="252"/>
                  </a:lnTo>
                  <a:lnTo>
                    <a:pt x="128" y="255"/>
                  </a:lnTo>
                  <a:lnTo>
                    <a:pt x="130" y="259"/>
                  </a:lnTo>
                  <a:lnTo>
                    <a:pt x="132" y="261"/>
                  </a:lnTo>
                  <a:lnTo>
                    <a:pt x="133" y="261"/>
                  </a:lnTo>
                  <a:lnTo>
                    <a:pt x="135" y="261"/>
                  </a:lnTo>
                  <a:lnTo>
                    <a:pt x="137" y="259"/>
                  </a:lnTo>
                  <a:lnTo>
                    <a:pt x="139" y="259"/>
                  </a:lnTo>
                  <a:lnTo>
                    <a:pt x="141" y="257"/>
                  </a:lnTo>
                  <a:lnTo>
                    <a:pt x="143" y="255"/>
                  </a:lnTo>
                  <a:lnTo>
                    <a:pt x="145" y="254"/>
                  </a:lnTo>
                  <a:lnTo>
                    <a:pt x="145" y="250"/>
                  </a:lnTo>
                  <a:lnTo>
                    <a:pt x="146" y="246"/>
                  </a:lnTo>
                  <a:lnTo>
                    <a:pt x="146" y="244"/>
                  </a:lnTo>
                  <a:lnTo>
                    <a:pt x="148" y="242"/>
                  </a:lnTo>
                  <a:lnTo>
                    <a:pt x="152" y="241"/>
                  </a:lnTo>
                  <a:lnTo>
                    <a:pt x="156" y="239"/>
                  </a:lnTo>
                  <a:lnTo>
                    <a:pt x="156" y="237"/>
                  </a:lnTo>
                  <a:lnTo>
                    <a:pt x="157" y="235"/>
                  </a:lnTo>
                  <a:lnTo>
                    <a:pt x="159" y="233"/>
                  </a:lnTo>
                  <a:lnTo>
                    <a:pt x="161" y="231"/>
                  </a:lnTo>
                  <a:lnTo>
                    <a:pt x="165" y="228"/>
                  </a:lnTo>
                  <a:lnTo>
                    <a:pt x="167" y="222"/>
                  </a:lnTo>
                  <a:lnTo>
                    <a:pt x="169" y="224"/>
                  </a:lnTo>
                  <a:lnTo>
                    <a:pt x="170" y="226"/>
                  </a:lnTo>
                  <a:lnTo>
                    <a:pt x="174" y="228"/>
                  </a:lnTo>
                  <a:lnTo>
                    <a:pt x="176" y="230"/>
                  </a:lnTo>
                  <a:lnTo>
                    <a:pt x="178" y="230"/>
                  </a:lnTo>
                  <a:lnTo>
                    <a:pt x="180" y="230"/>
                  </a:lnTo>
                  <a:lnTo>
                    <a:pt x="181" y="228"/>
                  </a:lnTo>
                  <a:lnTo>
                    <a:pt x="183" y="228"/>
                  </a:lnTo>
                  <a:lnTo>
                    <a:pt x="187" y="224"/>
                  </a:lnTo>
                  <a:lnTo>
                    <a:pt x="191" y="222"/>
                  </a:lnTo>
                  <a:lnTo>
                    <a:pt x="194" y="217"/>
                  </a:lnTo>
                  <a:lnTo>
                    <a:pt x="198" y="213"/>
                  </a:lnTo>
                  <a:lnTo>
                    <a:pt x="198" y="211"/>
                  </a:lnTo>
                  <a:lnTo>
                    <a:pt x="198" y="209"/>
                  </a:lnTo>
                  <a:lnTo>
                    <a:pt x="198" y="207"/>
                  </a:lnTo>
                  <a:lnTo>
                    <a:pt x="198" y="206"/>
                  </a:lnTo>
                  <a:lnTo>
                    <a:pt x="196" y="206"/>
                  </a:lnTo>
                  <a:lnTo>
                    <a:pt x="196" y="204"/>
                  </a:lnTo>
                  <a:lnTo>
                    <a:pt x="194" y="204"/>
                  </a:lnTo>
                  <a:lnTo>
                    <a:pt x="193" y="204"/>
                  </a:lnTo>
                  <a:lnTo>
                    <a:pt x="191" y="204"/>
                  </a:lnTo>
                  <a:lnTo>
                    <a:pt x="185" y="204"/>
                  </a:lnTo>
                  <a:lnTo>
                    <a:pt x="180" y="204"/>
                  </a:lnTo>
                  <a:lnTo>
                    <a:pt x="176" y="204"/>
                  </a:lnTo>
                  <a:lnTo>
                    <a:pt x="170" y="204"/>
                  </a:lnTo>
                  <a:lnTo>
                    <a:pt x="167" y="202"/>
                  </a:lnTo>
                  <a:lnTo>
                    <a:pt x="163" y="202"/>
                  </a:lnTo>
                  <a:lnTo>
                    <a:pt x="159" y="200"/>
                  </a:lnTo>
                  <a:lnTo>
                    <a:pt x="157" y="200"/>
                  </a:lnTo>
                  <a:lnTo>
                    <a:pt x="156" y="198"/>
                  </a:lnTo>
                  <a:lnTo>
                    <a:pt x="154" y="196"/>
                  </a:lnTo>
                  <a:lnTo>
                    <a:pt x="150" y="193"/>
                  </a:lnTo>
                  <a:lnTo>
                    <a:pt x="148" y="191"/>
                  </a:lnTo>
                  <a:lnTo>
                    <a:pt x="146" y="189"/>
                  </a:lnTo>
                  <a:lnTo>
                    <a:pt x="145" y="185"/>
                  </a:lnTo>
                  <a:lnTo>
                    <a:pt x="145" y="183"/>
                  </a:lnTo>
                  <a:lnTo>
                    <a:pt x="143" y="181"/>
                  </a:lnTo>
                  <a:lnTo>
                    <a:pt x="141" y="180"/>
                  </a:lnTo>
                  <a:lnTo>
                    <a:pt x="141" y="176"/>
                  </a:lnTo>
                  <a:lnTo>
                    <a:pt x="141" y="174"/>
                  </a:lnTo>
                  <a:lnTo>
                    <a:pt x="141" y="172"/>
                  </a:lnTo>
                  <a:lnTo>
                    <a:pt x="141" y="170"/>
                  </a:lnTo>
                  <a:lnTo>
                    <a:pt x="141" y="169"/>
                  </a:lnTo>
                  <a:lnTo>
                    <a:pt x="143" y="167"/>
                  </a:lnTo>
                  <a:lnTo>
                    <a:pt x="143" y="165"/>
                  </a:lnTo>
                  <a:lnTo>
                    <a:pt x="145" y="165"/>
                  </a:lnTo>
                  <a:lnTo>
                    <a:pt x="145" y="163"/>
                  </a:lnTo>
                  <a:lnTo>
                    <a:pt x="148" y="163"/>
                  </a:lnTo>
                  <a:lnTo>
                    <a:pt x="150" y="161"/>
                  </a:lnTo>
                  <a:lnTo>
                    <a:pt x="150" y="163"/>
                  </a:lnTo>
                  <a:lnTo>
                    <a:pt x="150" y="165"/>
                  </a:lnTo>
                  <a:lnTo>
                    <a:pt x="150" y="169"/>
                  </a:lnTo>
                  <a:lnTo>
                    <a:pt x="150" y="172"/>
                  </a:lnTo>
                  <a:lnTo>
                    <a:pt x="150" y="176"/>
                  </a:lnTo>
                  <a:lnTo>
                    <a:pt x="150" y="178"/>
                  </a:lnTo>
                  <a:lnTo>
                    <a:pt x="150" y="180"/>
                  </a:lnTo>
                  <a:lnTo>
                    <a:pt x="152" y="181"/>
                  </a:lnTo>
                  <a:lnTo>
                    <a:pt x="152" y="183"/>
                  </a:lnTo>
                  <a:lnTo>
                    <a:pt x="152" y="185"/>
                  </a:lnTo>
                  <a:lnTo>
                    <a:pt x="154" y="187"/>
                  </a:lnTo>
                  <a:lnTo>
                    <a:pt x="156" y="189"/>
                  </a:lnTo>
                  <a:lnTo>
                    <a:pt x="157" y="189"/>
                  </a:lnTo>
                  <a:lnTo>
                    <a:pt x="161" y="191"/>
                  </a:lnTo>
                  <a:lnTo>
                    <a:pt x="165" y="193"/>
                  </a:lnTo>
                  <a:lnTo>
                    <a:pt x="169" y="194"/>
                  </a:lnTo>
                  <a:lnTo>
                    <a:pt x="170" y="194"/>
                  </a:lnTo>
                  <a:lnTo>
                    <a:pt x="174" y="194"/>
                  </a:lnTo>
                  <a:lnTo>
                    <a:pt x="176" y="196"/>
                  </a:lnTo>
                  <a:lnTo>
                    <a:pt x="180" y="196"/>
                  </a:lnTo>
                  <a:lnTo>
                    <a:pt x="193" y="196"/>
                  </a:lnTo>
                  <a:lnTo>
                    <a:pt x="206" y="194"/>
                  </a:lnTo>
                  <a:lnTo>
                    <a:pt x="207" y="194"/>
                  </a:lnTo>
                  <a:lnTo>
                    <a:pt x="209" y="193"/>
                  </a:lnTo>
                  <a:lnTo>
                    <a:pt x="211" y="191"/>
                  </a:lnTo>
                  <a:lnTo>
                    <a:pt x="211" y="189"/>
                  </a:lnTo>
                  <a:lnTo>
                    <a:pt x="211" y="185"/>
                  </a:lnTo>
                  <a:lnTo>
                    <a:pt x="209" y="181"/>
                  </a:lnTo>
                  <a:lnTo>
                    <a:pt x="207" y="176"/>
                  </a:lnTo>
                  <a:lnTo>
                    <a:pt x="207" y="174"/>
                  </a:lnTo>
                  <a:lnTo>
                    <a:pt x="207" y="172"/>
                  </a:lnTo>
                  <a:lnTo>
                    <a:pt x="207" y="170"/>
                  </a:lnTo>
                  <a:lnTo>
                    <a:pt x="209" y="169"/>
                  </a:lnTo>
                  <a:lnTo>
                    <a:pt x="207" y="169"/>
                  </a:lnTo>
                  <a:lnTo>
                    <a:pt x="207" y="167"/>
                  </a:lnTo>
                  <a:lnTo>
                    <a:pt x="207" y="165"/>
                  </a:lnTo>
                  <a:lnTo>
                    <a:pt x="207" y="163"/>
                  </a:lnTo>
                  <a:lnTo>
                    <a:pt x="204" y="159"/>
                  </a:lnTo>
                  <a:lnTo>
                    <a:pt x="202" y="157"/>
                  </a:lnTo>
                  <a:lnTo>
                    <a:pt x="200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48"/>
                  </a:lnTo>
                  <a:lnTo>
                    <a:pt x="198" y="146"/>
                  </a:lnTo>
                  <a:lnTo>
                    <a:pt x="200" y="146"/>
                  </a:lnTo>
                  <a:lnTo>
                    <a:pt x="200" y="141"/>
                  </a:lnTo>
                  <a:lnTo>
                    <a:pt x="200" y="137"/>
                  </a:lnTo>
                  <a:lnTo>
                    <a:pt x="200" y="135"/>
                  </a:lnTo>
                  <a:lnTo>
                    <a:pt x="200" y="133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89" y="133"/>
                  </a:lnTo>
                  <a:lnTo>
                    <a:pt x="185" y="135"/>
                  </a:lnTo>
                  <a:lnTo>
                    <a:pt x="183" y="137"/>
                  </a:lnTo>
                  <a:lnTo>
                    <a:pt x="181" y="137"/>
                  </a:lnTo>
                  <a:lnTo>
                    <a:pt x="180" y="139"/>
                  </a:lnTo>
                  <a:lnTo>
                    <a:pt x="174" y="135"/>
                  </a:lnTo>
                  <a:lnTo>
                    <a:pt x="169" y="133"/>
                  </a:lnTo>
                  <a:lnTo>
                    <a:pt x="167" y="133"/>
                  </a:lnTo>
                  <a:lnTo>
                    <a:pt x="161" y="135"/>
                  </a:lnTo>
                  <a:lnTo>
                    <a:pt x="156" y="135"/>
                  </a:lnTo>
                  <a:lnTo>
                    <a:pt x="154" y="137"/>
                  </a:lnTo>
                  <a:lnTo>
                    <a:pt x="152" y="139"/>
                  </a:lnTo>
                  <a:lnTo>
                    <a:pt x="148" y="143"/>
                  </a:lnTo>
                  <a:lnTo>
                    <a:pt x="145" y="146"/>
                  </a:lnTo>
                  <a:lnTo>
                    <a:pt x="143" y="148"/>
                  </a:lnTo>
                  <a:lnTo>
                    <a:pt x="141" y="150"/>
                  </a:lnTo>
                  <a:lnTo>
                    <a:pt x="141" y="152"/>
                  </a:lnTo>
                  <a:lnTo>
                    <a:pt x="137" y="152"/>
                  </a:lnTo>
                  <a:lnTo>
                    <a:pt x="135" y="154"/>
                  </a:lnTo>
                  <a:lnTo>
                    <a:pt x="124" y="148"/>
                  </a:lnTo>
                  <a:lnTo>
                    <a:pt x="113" y="145"/>
                  </a:lnTo>
                  <a:lnTo>
                    <a:pt x="109" y="145"/>
                  </a:lnTo>
                  <a:lnTo>
                    <a:pt x="106" y="143"/>
                  </a:lnTo>
                  <a:lnTo>
                    <a:pt x="104" y="143"/>
                  </a:lnTo>
                  <a:lnTo>
                    <a:pt x="104" y="145"/>
                  </a:lnTo>
                  <a:lnTo>
                    <a:pt x="102" y="145"/>
                  </a:lnTo>
                  <a:lnTo>
                    <a:pt x="100" y="145"/>
                  </a:lnTo>
                  <a:lnTo>
                    <a:pt x="98" y="148"/>
                  </a:lnTo>
                  <a:lnTo>
                    <a:pt x="98" y="150"/>
                  </a:lnTo>
                  <a:lnTo>
                    <a:pt x="98" y="152"/>
                  </a:lnTo>
                  <a:lnTo>
                    <a:pt x="100" y="154"/>
                  </a:lnTo>
                  <a:lnTo>
                    <a:pt x="102" y="157"/>
                  </a:lnTo>
                  <a:lnTo>
                    <a:pt x="102" y="159"/>
                  </a:lnTo>
                  <a:lnTo>
                    <a:pt x="102" y="161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100" y="167"/>
                  </a:lnTo>
                  <a:lnTo>
                    <a:pt x="100" y="169"/>
                  </a:lnTo>
                  <a:lnTo>
                    <a:pt x="102" y="170"/>
                  </a:lnTo>
                  <a:lnTo>
                    <a:pt x="102" y="172"/>
                  </a:lnTo>
                  <a:lnTo>
                    <a:pt x="104" y="174"/>
                  </a:lnTo>
                  <a:lnTo>
                    <a:pt x="108" y="176"/>
                  </a:lnTo>
                  <a:lnTo>
                    <a:pt x="111" y="178"/>
                  </a:lnTo>
                  <a:lnTo>
                    <a:pt x="113" y="180"/>
                  </a:lnTo>
                  <a:lnTo>
                    <a:pt x="115" y="181"/>
                  </a:lnTo>
                  <a:lnTo>
                    <a:pt x="115" y="183"/>
                  </a:lnTo>
                  <a:lnTo>
                    <a:pt x="117" y="185"/>
                  </a:lnTo>
                  <a:lnTo>
                    <a:pt x="117" y="187"/>
                  </a:lnTo>
                  <a:lnTo>
                    <a:pt x="117" y="189"/>
                  </a:lnTo>
                  <a:lnTo>
                    <a:pt x="109" y="191"/>
                  </a:lnTo>
                  <a:lnTo>
                    <a:pt x="104" y="189"/>
                  </a:lnTo>
                  <a:lnTo>
                    <a:pt x="102" y="187"/>
                  </a:lnTo>
                  <a:lnTo>
                    <a:pt x="98" y="185"/>
                  </a:lnTo>
                  <a:lnTo>
                    <a:pt x="93" y="181"/>
                  </a:lnTo>
                  <a:lnTo>
                    <a:pt x="89" y="178"/>
                  </a:lnTo>
                  <a:lnTo>
                    <a:pt x="87" y="176"/>
                  </a:lnTo>
                  <a:lnTo>
                    <a:pt x="85" y="174"/>
                  </a:lnTo>
                  <a:lnTo>
                    <a:pt x="84" y="174"/>
                  </a:lnTo>
                  <a:lnTo>
                    <a:pt x="82" y="174"/>
                  </a:lnTo>
                  <a:lnTo>
                    <a:pt x="76" y="174"/>
                  </a:lnTo>
                  <a:lnTo>
                    <a:pt x="69" y="174"/>
                  </a:lnTo>
                  <a:lnTo>
                    <a:pt x="67" y="172"/>
                  </a:lnTo>
                  <a:lnTo>
                    <a:pt x="65" y="172"/>
                  </a:lnTo>
                  <a:lnTo>
                    <a:pt x="65" y="170"/>
                  </a:lnTo>
                  <a:lnTo>
                    <a:pt x="63" y="169"/>
                  </a:lnTo>
                  <a:lnTo>
                    <a:pt x="60" y="169"/>
                  </a:lnTo>
                  <a:lnTo>
                    <a:pt x="58" y="167"/>
                  </a:lnTo>
                  <a:lnTo>
                    <a:pt x="56" y="167"/>
                  </a:lnTo>
                  <a:lnTo>
                    <a:pt x="54" y="169"/>
                  </a:lnTo>
                  <a:lnTo>
                    <a:pt x="52" y="169"/>
                  </a:lnTo>
                  <a:lnTo>
                    <a:pt x="50" y="170"/>
                  </a:lnTo>
                  <a:lnTo>
                    <a:pt x="48" y="172"/>
                  </a:lnTo>
                  <a:lnTo>
                    <a:pt x="45" y="178"/>
                  </a:lnTo>
                  <a:lnTo>
                    <a:pt x="43" y="185"/>
                  </a:lnTo>
                  <a:lnTo>
                    <a:pt x="43" y="187"/>
                  </a:lnTo>
                  <a:lnTo>
                    <a:pt x="43" y="189"/>
                  </a:lnTo>
                  <a:lnTo>
                    <a:pt x="41" y="193"/>
                  </a:lnTo>
                  <a:lnTo>
                    <a:pt x="41" y="194"/>
                  </a:lnTo>
                  <a:lnTo>
                    <a:pt x="39" y="198"/>
                  </a:lnTo>
                  <a:lnTo>
                    <a:pt x="37" y="202"/>
                  </a:lnTo>
                  <a:lnTo>
                    <a:pt x="36" y="204"/>
                  </a:lnTo>
                  <a:lnTo>
                    <a:pt x="36" y="206"/>
                  </a:lnTo>
                  <a:lnTo>
                    <a:pt x="36" y="207"/>
                  </a:lnTo>
                  <a:lnTo>
                    <a:pt x="36" y="209"/>
                  </a:lnTo>
                  <a:lnTo>
                    <a:pt x="37" y="211"/>
                  </a:lnTo>
                  <a:lnTo>
                    <a:pt x="39" y="213"/>
                  </a:lnTo>
                  <a:lnTo>
                    <a:pt x="41" y="215"/>
                  </a:lnTo>
                  <a:lnTo>
                    <a:pt x="43" y="215"/>
                  </a:lnTo>
                  <a:lnTo>
                    <a:pt x="45" y="217"/>
                  </a:lnTo>
                  <a:close/>
                  <a:moveTo>
                    <a:pt x="257" y="145"/>
                  </a:moveTo>
                  <a:lnTo>
                    <a:pt x="265" y="143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4" y="143"/>
                  </a:lnTo>
                  <a:lnTo>
                    <a:pt x="278" y="145"/>
                  </a:lnTo>
                  <a:lnTo>
                    <a:pt x="279" y="145"/>
                  </a:lnTo>
                  <a:lnTo>
                    <a:pt x="281" y="146"/>
                  </a:lnTo>
                  <a:lnTo>
                    <a:pt x="283" y="146"/>
                  </a:lnTo>
                  <a:lnTo>
                    <a:pt x="285" y="146"/>
                  </a:lnTo>
                  <a:lnTo>
                    <a:pt x="287" y="146"/>
                  </a:lnTo>
                  <a:lnTo>
                    <a:pt x="289" y="146"/>
                  </a:lnTo>
                  <a:lnTo>
                    <a:pt x="290" y="146"/>
                  </a:lnTo>
                  <a:lnTo>
                    <a:pt x="292" y="143"/>
                  </a:lnTo>
                  <a:lnTo>
                    <a:pt x="296" y="141"/>
                  </a:lnTo>
                  <a:lnTo>
                    <a:pt x="303" y="133"/>
                  </a:lnTo>
                  <a:lnTo>
                    <a:pt x="309" y="124"/>
                  </a:lnTo>
                  <a:lnTo>
                    <a:pt x="313" y="122"/>
                  </a:lnTo>
                  <a:lnTo>
                    <a:pt x="314" y="119"/>
                  </a:lnTo>
                  <a:lnTo>
                    <a:pt x="316" y="115"/>
                  </a:lnTo>
                  <a:lnTo>
                    <a:pt x="318" y="113"/>
                  </a:lnTo>
                  <a:lnTo>
                    <a:pt x="320" y="109"/>
                  </a:lnTo>
                  <a:lnTo>
                    <a:pt x="320" y="106"/>
                  </a:lnTo>
                  <a:lnTo>
                    <a:pt x="322" y="104"/>
                  </a:lnTo>
                  <a:lnTo>
                    <a:pt x="322" y="102"/>
                  </a:lnTo>
                  <a:lnTo>
                    <a:pt x="322" y="100"/>
                  </a:lnTo>
                  <a:lnTo>
                    <a:pt x="322" y="98"/>
                  </a:lnTo>
                  <a:lnTo>
                    <a:pt x="322" y="96"/>
                  </a:lnTo>
                  <a:lnTo>
                    <a:pt x="322" y="95"/>
                  </a:lnTo>
                  <a:lnTo>
                    <a:pt x="322" y="91"/>
                  </a:lnTo>
                  <a:lnTo>
                    <a:pt x="320" y="89"/>
                  </a:lnTo>
                  <a:lnTo>
                    <a:pt x="320" y="87"/>
                  </a:lnTo>
                  <a:lnTo>
                    <a:pt x="318" y="85"/>
                  </a:lnTo>
                  <a:lnTo>
                    <a:pt x="316" y="85"/>
                  </a:lnTo>
                  <a:lnTo>
                    <a:pt x="314" y="85"/>
                  </a:lnTo>
                  <a:lnTo>
                    <a:pt x="313" y="85"/>
                  </a:lnTo>
                  <a:lnTo>
                    <a:pt x="311" y="85"/>
                  </a:lnTo>
                  <a:lnTo>
                    <a:pt x="307" y="89"/>
                  </a:lnTo>
                  <a:lnTo>
                    <a:pt x="303" y="93"/>
                  </a:lnTo>
                  <a:lnTo>
                    <a:pt x="302" y="93"/>
                  </a:lnTo>
                  <a:lnTo>
                    <a:pt x="300" y="93"/>
                  </a:lnTo>
                  <a:lnTo>
                    <a:pt x="298" y="93"/>
                  </a:lnTo>
                  <a:lnTo>
                    <a:pt x="296" y="93"/>
                  </a:lnTo>
                  <a:lnTo>
                    <a:pt x="294" y="91"/>
                  </a:lnTo>
                  <a:lnTo>
                    <a:pt x="292" y="91"/>
                  </a:lnTo>
                  <a:lnTo>
                    <a:pt x="290" y="91"/>
                  </a:lnTo>
                  <a:lnTo>
                    <a:pt x="289" y="93"/>
                  </a:lnTo>
                  <a:lnTo>
                    <a:pt x="285" y="95"/>
                  </a:lnTo>
                  <a:lnTo>
                    <a:pt x="283" y="95"/>
                  </a:lnTo>
                  <a:lnTo>
                    <a:pt x="281" y="96"/>
                  </a:lnTo>
                  <a:lnTo>
                    <a:pt x="279" y="100"/>
                  </a:lnTo>
                  <a:lnTo>
                    <a:pt x="276" y="102"/>
                  </a:lnTo>
                  <a:lnTo>
                    <a:pt x="274" y="106"/>
                  </a:lnTo>
                  <a:lnTo>
                    <a:pt x="270" y="108"/>
                  </a:lnTo>
                  <a:lnTo>
                    <a:pt x="265" y="108"/>
                  </a:lnTo>
                  <a:lnTo>
                    <a:pt x="257" y="106"/>
                  </a:lnTo>
                  <a:lnTo>
                    <a:pt x="255" y="106"/>
                  </a:lnTo>
                  <a:lnTo>
                    <a:pt x="254" y="104"/>
                  </a:lnTo>
                  <a:lnTo>
                    <a:pt x="252" y="104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6" y="104"/>
                  </a:lnTo>
                  <a:lnTo>
                    <a:pt x="244" y="104"/>
                  </a:lnTo>
                  <a:lnTo>
                    <a:pt x="244" y="106"/>
                  </a:lnTo>
                  <a:lnTo>
                    <a:pt x="242" y="106"/>
                  </a:lnTo>
                  <a:lnTo>
                    <a:pt x="241" y="106"/>
                  </a:lnTo>
                  <a:lnTo>
                    <a:pt x="241" y="108"/>
                  </a:lnTo>
                  <a:lnTo>
                    <a:pt x="239" y="109"/>
                  </a:lnTo>
                  <a:lnTo>
                    <a:pt x="237" y="111"/>
                  </a:lnTo>
                  <a:lnTo>
                    <a:pt x="235" y="113"/>
                  </a:lnTo>
                  <a:lnTo>
                    <a:pt x="233" y="121"/>
                  </a:lnTo>
                  <a:lnTo>
                    <a:pt x="231" y="128"/>
                  </a:lnTo>
                  <a:lnTo>
                    <a:pt x="230" y="128"/>
                  </a:lnTo>
                  <a:lnTo>
                    <a:pt x="228" y="126"/>
                  </a:lnTo>
                  <a:lnTo>
                    <a:pt x="226" y="122"/>
                  </a:lnTo>
                  <a:lnTo>
                    <a:pt x="224" y="122"/>
                  </a:lnTo>
                  <a:lnTo>
                    <a:pt x="222" y="121"/>
                  </a:lnTo>
                  <a:lnTo>
                    <a:pt x="220" y="122"/>
                  </a:lnTo>
                  <a:lnTo>
                    <a:pt x="218" y="122"/>
                  </a:lnTo>
                  <a:lnTo>
                    <a:pt x="217" y="124"/>
                  </a:lnTo>
                  <a:lnTo>
                    <a:pt x="215" y="126"/>
                  </a:lnTo>
                  <a:lnTo>
                    <a:pt x="217" y="130"/>
                  </a:lnTo>
                  <a:lnTo>
                    <a:pt x="218" y="133"/>
                  </a:lnTo>
                  <a:lnTo>
                    <a:pt x="218" y="135"/>
                  </a:lnTo>
                  <a:lnTo>
                    <a:pt x="220" y="137"/>
                  </a:lnTo>
                  <a:lnTo>
                    <a:pt x="220" y="139"/>
                  </a:lnTo>
                  <a:lnTo>
                    <a:pt x="222" y="141"/>
                  </a:lnTo>
                  <a:lnTo>
                    <a:pt x="224" y="143"/>
                  </a:lnTo>
                  <a:lnTo>
                    <a:pt x="226" y="145"/>
                  </a:lnTo>
                  <a:lnTo>
                    <a:pt x="228" y="145"/>
                  </a:lnTo>
                  <a:lnTo>
                    <a:pt x="230" y="146"/>
                  </a:lnTo>
                  <a:lnTo>
                    <a:pt x="231" y="146"/>
                  </a:lnTo>
                  <a:lnTo>
                    <a:pt x="233" y="146"/>
                  </a:lnTo>
                  <a:lnTo>
                    <a:pt x="235" y="148"/>
                  </a:lnTo>
                  <a:lnTo>
                    <a:pt x="239" y="148"/>
                  </a:lnTo>
                  <a:lnTo>
                    <a:pt x="242" y="148"/>
                  </a:lnTo>
                  <a:lnTo>
                    <a:pt x="244" y="148"/>
                  </a:lnTo>
                  <a:lnTo>
                    <a:pt x="248" y="146"/>
                  </a:lnTo>
                  <a:lnTo>
                    <a:pt x="252" y="146"/>
                  </a:lnTo>
                  <a:lnTo>
                    <a:pt x="257" y="145"/>
                  </a:lnTo>
                  <a:close/>
                  <a:moveTo>
                    <a:pt x="185" y="23"/>
                  </a:moveTo>
                  <a:lnTo>
                    <a:pt x="187" y="23"/>
                  </a:lnTo>
                  <a:lnTo>
                    <a:pt x="189" y="24"/>
                  </a:lnTo>
                  <a:lnTo>
                    <a:pt x="191" y="24"/>
                  </a:lnTo>
                  <a:lnTo>
                    <a:pt x="193" y="24"/>
                  </a:lnTo>
                  <a:lnTo>
                    <a:pt x="194" y="24"/>
                  </a:lnTo>
                  <a:lnTo>
                    <a:pt x="196" y="24"/>
                  </a:lnTo>
                  <a:lnTo>
                    <a:pt x="202" y="23"/>
                  </a:lnTo>
                  <a:lnTo>
                    <a:pt x="206" y="17"/>
                  </a:lnTo>
                  <a:lnTo>
                    <a:pt x="206" y="15"/>
                  </a:lnTo>
                  <a:lnTo>
                    <a:pt x="206" y="13"/>
                  </a:lnTo>
                  <a:lnTo>
                    <a:pt x="206" y="11"/>
                  </a:lnTo>
                  <a:lnTo>
                    <a:pt x="206" y="10"/>
                  </a:lnTo>
                  <a:lnTo>
                    <a:pt x="206" y="8"/>
                  </a:lnTo>
                  <a:lnTo>
                    <a:pt x="204" y="6"/>
                  </a:lnTo>
                  <a:lnTo>
                    <a:pt x="204" y="4"/>
                  </a:lnTo>
                  <a:lnTo>
                    <a:pt x="202" y="2"/>
                  </a:lnTo>
                  <a:lnTo>
                    <a:pt x="200" y="2"/>
                  </a:lnTo>
                  <a:lnTo>
                    <a:pt x="198" y="2"/>
                  </a:lnTo>
                  <a:lnTo>
                    <a:pt x="198" y="0"/>
                  </a:lnTo>
                  <a:lnTo>
                    <a:pt x="196" y="0"/>
                  </a:lnTo>
                  <a:lnTo>
                    <a:pt x="194" y="2"/>
                  </a:lnTo>
                  <a:lnTo>
                    <a:pt x="193" y="2"/>
                  </a:lnTo>
                  <a:lnTo>
                    <a:pt x="191" y="4"/>
                  </a:lnTo>
                  <a:lnTo>
                    <a:pt x="191" y="6"/>
                  </a:lnTo>
                  <a:lnTo>
                    <a:pt x="189" y="8"/>
                  </a:lnTo>
                  <a:lnTo>
                    <a:pt x="189" y="10"/>
                  </a:lnTo>
                  <a:lnTo>
                    <a:pt x="187" y="13"/>
                  </a:lnTo>
                  <a:lnTo>
                    <a:pt x="187" y="17"/>
                  </a:lnTo>
                  <a:lnTo>
                    <a:pt x="185" y="23"/>
                  </a:lnTo>
                  <a:close/>
                  <a:moveTo>
                    <a:pt x="747" y="146"/>
                  </a:moveTo>
                  <a:lnTo>
                    <a:pt x="747" y="146"/>
                  </a:lnTo>
                  <a:lnTo>
                    <a:pt x="747" y="145"/>
                  </a:lnTo>
                  <a:lnTo>
                    <a:pt x="745" y="143"/>
                  </a:lnTo>
                  <a:lnTo>
                    <a:pt x="741" y="141"/>
                  </a:lnTo>
                  <a:lnTo>
                    <a:pt x="736" y="141"/>
                  </a:lnTo>
                  <a:lnTo>
                    <a:pt x="734" y="141"/>
                  </a:lnTo>
                  <a:lnTo>
                    <a:pt x="732" y="143"/>
                  </a:lnTo>
                  <a:lnTo>
                    <a:pt x="732" y="145"/>
                  </a:lnTo>
                  <a:lnTo>
                    <a:pt x="732" y="146"/>
                  </a:lnTo>
                  <a:lnTo>
                    <a:pt x="732" y="148"/>
                  </a:lnTo>
                  <a:lnTo>
                    <a:pt x="734" y="150"/>
                  </a:lnTo>
                  <a:lnTo>
                    <a:pt x="736" y="150"/>
                  </a:lnTo>
                  <a:lnTo>
                    <a:pt x="738" y="152"/>
                  </a:lnTo>
                  <a:lnTo>
                    <a:pt x="739" y="152"/>
                  </a:lnTo>
                  <a:lnTo>
                    <a:pt x="741" y="154"/>
                  </a:lnTo>
                  <a:lnTo>
                    <a:pt x="743" y="154"/>
                  </a:lnTo>
                  <a:lnTo>
                    <a:pt x="745" y="152"/>
                  </a:lnTo>
                  <a:lnTo>
                    <a:pt x="747" y="152"/>
                  </a:lnTo>
                  <a:lnTo>
                    <a:pt x="747" y="150"/>
                  </a:lnTo>
                  <a:lnTo>
                    <a:pt x="747" y="148"/>
                  </a:lnTo>
                  <a:lnTo>
                    <a:pt x="747" y="146"/>
                  </a:lnTo>
                  <a:close/>
                  <a:moveTo>
                    <a:pt x="767" y="126"/>
                  </a:moveTo>
                  <a:lnTo>
                    <a:pt x="765" y="126"/>
                  </a:lnTo>
                  <a:lnTo>
                    <a:pt x="763" y="126"/>
                  </a:lnTo>
                  <a:lnTo>
                    <a:pt x="762" y="130"/>
                  </a:lnTo>
                  <a:lnTo>
                    <a:pt x="762" y="133"/>
                  </a:lnTo>
                  <a:lnTo>
                    <a:pt x="763" y="135"/>
                  </a:lnTo>
                  <a:lnTo>
                    <a:pt x="763" y="137"/>
                  </a:lnTo>
                  <a:lnTo>
                    <a:pt x="765" y="137"/>
                  </a:lnTo>
                  <a:lnTo>
                    <a:pt x="765" y="139"/>
                  </a:lnTo>
                  <a:lnTo>
                    <a:pt x="767" y="139"/>
                  </a:lnTo>
                  <a:lnTo>
                    <a:pt x="769" y="137"/>
                  </a:lnTo>
                  <a:lnTo>
                    <a:pt x="771" y="137"/>
                  </a:lnTo>
                  <a:lnTo>
                    <a:pt x="771" y="133"/>
                  </a:lnTo>
                  <a:lnTo>
                    <a:pt x="771" y="130"/>
                  </a:lnTo>
                  <a:lnTo>
                    <a:pt x="771" y="128"/>
                  </a:lnTo>
                  <a:lnTo>
                    <a:pt x="769" y="126"/>
                  </a:lnTo>
                  <a:lnTo>
                    <a:pt x="767" y="126"/>
                  </a:lnTo>
                  <a:close/>
                  <a:moveTo>
                    <a:pt x="749" y="119"/>
                  </a:moveTo>
                  <a:lnTo>
                    <a:pt x="749" y="119"/>
                  </a:lnTo>
                  <a:lnTo>
                    <a:pt x="745" y="119"/>
                  </a:lnTo>
                  <a:lnTo>
                    <a:pt x="743" y="122"/>
                  </a:lnTo>
                  <a:lnTo>
                    <a:pt x="743" y="126"/>
                  </a:lnTo>
                  <a:lnTo>
                    <a:pt x="745" y="128"/>
                  </a:lnTo>
                  <a:lnTo>
                    <a:pt x="747" y="128"/>
                  </a:lnTo>
                  <a:lnTo>
                    <a:pt x="749" y="130"/>
                  </a:lnTo>
                  <a:lnTo>
                    <a:pt x="750" y="128"/>
                  </a:lnTo>
                  <a:lnTo>
                    <a:pt x="752" y="128"/>
                  </a:lnTo>
                  <a:lnTo>
                    <a:pt x="754" y="126"/>
                  </a:lnTo>
                  <a:lnTo>
                    <a:pt x="754" y="122"/>
                  </a:lnTo>
                  <a:lnTo>
                    <a:pt x="754" y="121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49" y="119"/>
                  </a:lnTo>
                  <a:close/>
                  <a:moveTo>
                    <a:pt x="786" y="111"/>
                  </a:moveTo>
                  <a:lnTo>
                    <a:pt x="786" y="111"/>
                  </a:lnTo>
                  <a:lnTo>
                    <a:pt x="784" y="113"/>
                  </a:lnTo>
                  <a:lnTo>
                    <a:pt x="782" y="113"/>
                  </a:lnTo>
                  <a:lnTo>
                    <a:pt x="782" y="117"/>
                  </a:lnTo>
                  <a:lnTo>
                    <a:pt x="782" y="119"/>
                  </a:lnTo>
                  <a:lnTo>
                    <a:pt x="782" y="121"/>
                  </a:lnTo>
                  <a:lnTo>
                    <a:pt x="784" y="122"/>
                  </a:lnTo>
                  <a:lnTo>
                    <a:pt x="786" y="122"/>
                  </a:lnTo>
                  <a:lnTo>
                    <a:pt x="787" y="122"/>
                  </a:lnTo>
                  <a:lnTo>
                    <a:pt x="789" y="122"/>
                  </a:lnTo>
                  <a:lnTo>
                    <a:pt x="791" y="121"/>
                  </a:lnTo>
                  <a:lnTo>
                    <a:pt x="791" y="117"/>
                  </a:lnTo>
                  <a:lnTo>
                    <a:pt x="791" y="115"/>
                  </a:lnTo>
                  <a:lnTo>
                    <a:pt x="791" y="113"/>
                  </a:lnTo>
                  <a:lnTo>
                    <a:pt x="789" y="113"/>
                  </a:lnTo>
                  <a:lnTo>
                    <a:pt x="787" y="111"/>
                  </a:lnTo>
                  <a:lnTo>
                    <a:pt x="786" y="111"/>
                  </a:lnTo>
                  <a:close/>
                  <a:moveTo>
                    <a:pt x="841" y="167"/>
                  </a:moveTo>
                  <a:lnTo>
                    <a:pt x="839" y="167"/>
                  </a:lnTo>
                  <a:lnTo>
                    <a:pt x="837" y="167"/>
                  </a:lnTo>
                  <a:lnTo>
                    <a:pt x="837" y="169"/>
                  </a:lnTo>
                  <a:lnTo>
                    <a:pt x="835" y="172"/>
                  </a:lnTo>
                  <a:lnTo>
                    <a:pt x="835" y="176"/>
                  </a:lnTo>
                  <a:lnTo>
                    <a:pt x="837" y="178"/>
                  </a:lnTo>
                  <a:lnTo>
                    <a:pt x="839" y="180"/>
                  </a:lnTo>
                  <a:lnTo>
                    <a:pt x="841" y="180"/>
                  </a:lnTo>
                  <a:lnTo>
                    <a:pt x="843" y="180"/>
                  </a:lnTo>
                  <a:lnTo>
                    <a:pt x="843" y="178"/>
                  </a:lnTo>
                  <a:lnTo>
                    <a:pt x="845" y="178"/>
                  </a:lnTo>
                  <a:lnTo>
                    <a:pt x="845" y="174"/>
                  </a:lnTo>
                  <a:lnTo>
                    <a:pt x="845" y="169"/>
                  </a:lnTo>
                  <a:lnTo>
                    <a:pt x="843" y="167"/>
                  </a:lnTo>
                  <a:lnTo>
                    <a:pt x="841" y="167"/>
                  </a:lnTo>
                  <a:close/>
                  <a:moveTo>
                    <a:pt x="835" y="180"/>
                  </a:moveTo>
                  <a:lnTo>
                    <a:pt x="835" y="180"/>
                  </a:lnTo>
                  <a:lnTo>
                    <a:pt x="834" y="180"/>
                  </a:lnTo>
                  <a:lnTo>
                    <a:pt x="832" y="181"/>
                  </a:lnTo>
                  <a:lnTo>
                    <a:pt x="832" y="183"/>
                  </a:lnTo>
                  <a:lnTo>
                    <a:pt x="832" y="185"/>
                  </a:lnTo>
                  <a:lnTo>
                    <a:pt x="832" y="187"/>
                  </a:lnTo>
                  <a:lnTo>
                    <a:pt x="834" y="189"/>
                  </a:lnTo>
                  <a:lnTo>
                    <a:pt x="835" y="189"/>
                  </a:lnTo>
                  <a:lnTo>
                    <a:pt x="837" y="189"/>
                  </a:lnTo>
                  <a:lnTo>
                    <a:pt x="839" y="189"/>
                  </a:lnTo>
                  <a:lnTo>
                    <a:pt x="839" y="187"/>
                  </a:lnTo>
                  <a:lnTo>
                    <a:pt x="841" y="187"/>
                  </a:lnTo>
                  <a:lnTo>
                    <a:pt x="841" y="185"/>
                  </a:lnTo>
                  <a:lnTo>
                    <a:pt x="841" y="183"/>
                  </a:lnTo>
                  <a:lnTo>
                    <a:pt x="841" y="181"/>
                  </a:lnTo>
                  <a:lnTo>
                    <a:pt x="839" y="181"/>
                  </a:lnTo>
                  <a:lnTo>
                    <a:pt x="839" y="180"/>
                  </a:lnTo>
                  <a:lnTo>
                    <a:pt x="837" y="180"/>
                  </a:lnTo>
                  <a:lnTo>
                    <a:pt x="835" y="18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88" name="Freeform 20"/>
            <p:cNvSpPr>
              <a:spLocks/>
            </p:cNvSpPr>
            <p:nvPr/>
          </p:nvSpPr>
          <p:spPr bwMode="auto">
            <a:xfrm>
              <a:off x="5309376" y="1800408"/>
              <a:ext cx="806169" cy="874295"/>
            </a:xfrm>
            <a:custGeom>
              <a:avLst/>
              <a:gdLst>
                <a:gd name="T0" fmla="*/ 1454 w 1545"/>
                <a:gd name="T1" fmla="*/ 118 h 1718"/>
                <a:gd name="T2" fmla="*/ 1491 w 1545"/>
                <a:gd name="T3" fmla="*/ 214 h 1718"/>
                <a:gd name="T4" fmla="*/ 1535 w 1545"/>
                <a:gd name="T5" fmla="*/ 292 h 1718"/>
                <a:gd name="T6" fmla="*/ 1467 w 1545"/>
                <a:gd name="T7" fmla="*/ 403 h 1718"/>
                <a:gd name="T8" fmla="*/ 1474 w 1545"/>
                <a:gd name="T9" fmla="*/ 451 h 1718"/>
                <a:gd name="T10" fmla="*/ 1478 w 1545"/>
                <a:gd name="T11" fmla="*/ 567 h 1718"/>
                <a:gd name="T12" fmla="*/ 1402 w 1545"/>
                <a:gd name="T13" fmla="*/ 617 h 1718"/>
                <a:gd name="T14" fmla="*/ 1391 w 1545"/>
                <a:gd name="T15" fmla="*/ 661 h 1718"/>
                <a:gd name="T16" fmla="*/ 1386 w 1545"/>
                <a:gd name="T17" fmla="*/ 733 h 1718"/>
                <a:gd name="T18" fmla="*/ 1436 w 1545"/>
                <a:gd name="T19" fmla="*/ 877 h 1718"/>
                <a:gd name="T20" fmla="*/ 1375 w 1545"/>
                <a:gd name="T21" fmla="*/ 896 h 1718"/>
                <a:gd name="T22" fmla="*/ 1293 w 1545"/>
                <a:gd name="T23" fmla="*/ 972 h 1718"/>
                <a:gd name="T24" fmla="*/ 1325 w 1545"/>
                <a:gd name="T25" fmla="*/ 1155 h 1718"/>
                <a:gd name="T26" fmla="*/ 1301 w 1545"/>
                <a:gd name="T27" fmla="*/ 1219 h 1718"/>
                <a:gd name="T28" fmla="*/ 1210 w 1545"/>
                <a:gd name="T29" fmla="*/ 1295 h 1718"/>
                <a:gd name="T30" fmla="*/ 1166 w 1545"/>
                <a:gd name="T31" fmla="*/ 1328 h 1718"/>
                <a:gd name="T32" fmla="*/ 1173 w 1545"/>
                <a:gd name="T33" fmla="*/ 1461 h 1718"/>
                <a:gd name="T34" fmla="*/ 1218 w 1545"/>
                <a:gd name="T35" fmla="*/ 1598 h 1718"/>
                <a:gd name="T36" fmla="*/ 1070 w 1545"/>
                <a:gd name="T37" fmla="*/ 1689 h 1718"/>
                <a:gd name="T38" fmla="*/ 907 w 1545"/>
                <a:gd name="T39" fmla="*/ 1700 h 1718"/>
                <a:gd name="T40" fmla="*/ 686 w 1545"/>
                <a:gd name="T41" fmla="*/ 1687 h 1718"/>
                <a:gd name="T42" fmla="*/ 638 w 1545"/>
                <a:gd name="T43" fmla="*/ 1611 h 1718"/>
                <a:gd name="T44" fmla="*/ 593 w 1545"/>
                <a:gd name="T45" fmla="*/ 1543 h 1718"/>
                <a:gd name="T46" fmla="*/ 549 w 1545"/>
                <a:gd name="T47" fmla="*/ 1522 h 1718"/>
                <a:gd name="T48" fmla="*/ 433 w 1545"/>
                <a:gd name="T49" fmla="*/ 1463 h 1718"/>
                <a:gd name="T50" fmla="*/ 366 w 1545"/>
                <a:gd name="T51" fmla="*/ 1604 h 1718"/>
                <a:gd name="T52" fmla="*/ 307 w 1545"/>
                <a:gd name="T53" fmla="*/ 1594 h 1718"/>
                <a:gd name="T54" fmla="*/ 220 w 1545"/>
                <a:gd name="T55" fmla="*/ 1561 h 1718"/>
                <a:gd name="T56" fmla="*/ 200 w 1545"/>
                <a:gd name="T57" fmla="*/ 1369 h 1718"/>
                <a:gd name="T58" fmla="*/ 130 w 1545"/>
                <a:gd name="T59" fmla="*/ 1262 h 1718"/>
                <a:gd name="T60" fmla="*/ 111 w 1545"/>
                <a:gd name="T61" fmla="*/ 1206 h 1718"/>
                <a:gd name="T62" fmla="*/ 28 w 1545"/>
                <a:gd name="T63" fmla="*/ 1177 h 1718"/>
                <a:gd name="T64" fmla="*/ 30 w 1545"/>
                <a:gd name="T65" fmla="*/ 1014 h 1718"/>
                <a:gd name="T66" fmla="*/ 35 w 1545"/>
                <a:gd name="T67" fmla="*/ 874 h 1718"/>
                <a:gd name="T68" fmla="*/ 91 w 1545"/>
                <a:gd name="T69" fmla="*/ 746 h 1718"/>
                <a:gd name="T70" fmla="*/ 155 w 1545"/>
                <a:gd name="T71" fmla="*/ 598 h 1718"/>
                <a:gd name="T72" fmla="*/ 94 w 1545"/>
                <a:gd name="T73" fmla="*/ 473 h 1718"/>
                <a:gd name="T74" fmla="*/ 135 w 1545"/>
                <a:gd name="T75" fmla="*/ 406 h 1718"/>
                <a:gd name="T76" fmla="*/ 157 w 1545"/>
                <a:gd name="T77" fmla="*/ 443 h 1718"/>
                <a:gd name="T78" fmla="*/ 274 w 1545"/>
                <a:gd name="T79" fmla="*/ 391 h 1718"/>
                <a:gd name="T80" fmla="*/ 342 w 1545"/>
                <a:gd name="T81" fmla="*/ 430 h 1718"/>
                <a:gd name="T82" fmla="*/ 392 w 1545"/>
                <a:gd name="T83" fmla="*/ 345 h 1718"/>
                <a:gd name="T84" fmla="*/ 469 w 1545"/>
                <a:gd name="T85" fmla="*/ 340 h 1718"/>
                <a:gd name="T86" fmla="*/ 542 w 1545"/>
                <a:gd name="T87" fmla="*/ 380 h 1718"/>
                <a:gd name="T88" fmla="*/ 549 w 1545"/>
                <a:gd name="T89" fmla="*/ 430 h 1718"/>
                <a:gd name="T90" fmla="*/ 586 w 1545"/>
                <a:gd name="T91" fmla="*/ 445 h 1718"/>
                <a:gd name="T92" fmla="*/ 660 w 1545"/>
                <a:gd name="T93" fmla="*/ 415 h 1718"/>
                <a:gd name="T94" fmla="*/ 737 w 1545"/>
                <a:gd name="T95" fmla="*/ 369 h 1718"/>
                <a:gd name="T96" fmla="*/ 815 w 1545"/>
                <a:gd name="T97" fmla="*/ 360 h 1718"/>
                <a:gd name="T98" fmla="*/ 841 w 1545"/>
                <a:gd name="T99" fmla="*/ 329 h 1718"/>
                <a:gd name="T100" fmla="*/ 795 w 1545"/>
                <a:gd name="T101" fmla="*/ 249 h 1718"/>
                <a:gd name="T102" fmla="*/ 941 w 1545"/>
                <a:gd name="T103" fmla="*/ 151 h 1718"/>
                <a:gd name="T104" fmla="*/ 946 w 1545"/>
                <a:gd name="T105" fmla="*/ 164 h 1718"/>
                <a:gd name="T106" fmla="*/ 939 w 1545"/>
                <a:gd name="T107" fmla="*/ 216 h 1718"/>
                <a:gd name="T108" fmla="*/ 974 w 1545"/>
                <a:gd name="T109" fmla="*/ 129 h 1718"/>
                <a:gd name="T110" fmla="*/ 1020 w 1545"/>
                <a:gd name="T111" fmla="*/ 149 h 1718"/>
                <a:gd name="T112" fmla="*/ 1101 w 1545"/>
                <a:gd name="T113" fmla="*/ 135 h 1718"/>
                <a:gd name="T114" fmla="*/ 1179 w 1545"/>
                <a:gd name="T115" fmla="*/ 87 h 1718"/>
                <a:gd name="T116" fmla="*/ 1321 w 1545"/>
                <a:gd name="T117" fmla="*/ 14 h 1718"/>
                <a:gd name="T118" fmla="*/ 1404 w 1545"/>
                <a:gd name="T119" fmla="*/ 27 h 17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545"/>
                <a:gd name="T181" fmla="*/ 0 h 1718"/>
                <a:gd name="T182" fmla="*/ 1545 w 1545"/>
                <a:gd name="T183" fmla="*/ 1718 h 17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545" h="1718">
                  <a:moveTo>
                    <a:pt x="1404" y="0"/>
                  </a:moveTo>
                  <a:lnTo>
                    <a:pt x="1419" y="9"/>
                  </a:lnTo>
                  <a:lnTo>
                    <a:pt x="1436" y="18"/>
                  </a:lnTo>
                  <a:lnTo>
                    <a:pt x="1450" y="27"/>
                  </a:lnTo>
                  <a:lnTo>
                    <a:pt x="1465" y="39"/>
                  </a:lnTo>
                  <a:lnTo>
                    <a:pt x="1471" y="42"/>
                  </a:lnTo>
                  <a:lnTo>
                    <a:pt x="1474" y="46"/>
                  </a:lnTo>
                  <a:lnTo>
                    <a:pt x="1476" y="50"/>
                  </a:lnTo>
                  <a:lnTo>
                    <a:pt x="1478" y="53"/>
                  </a:lnTo>
                  <a:lnTo>
                    <a:pt x="1476" y="59"/>
                  </a:lnTo>
                  <a:lnTo>
                    <a:pt x="1471" y="68"/>
                  </a:lnTo>
                  <a:lnTo>
                    <a:pt x="1467" y="87"/>
                  </a:lnTo>
                  <a:lnTo>
                    <a:pt x="1463" y="101"/>
                  </a:lnTo>
                  <a:lnTo>
                    <a:pt x="1458" y="111"/>
                  </a:lnTo>
                  <a:lnTo>
                    <a:pt x="1454" y="118"/>
                  </a:lnTo>
                  <a:lnTo>
                    <a:pt x="1443" y="131"/>
                  </a:lnTo>
                  <a:lnTo>
                    <a:pt x="1434" y="146"/>
                  </a:lnTo>
                  <a:lnTo>
                    <a:pt x="1428" y="157"/>
                  </a:lnTo>
                  <a:lnTo>
                    <a:pt x="1425" y="166"/>
                  </a:lnTo>
                  <a:lnTo>
                    <a:pt x="1423" y="173"/>
                  </a:lnTo>
                  <a:lnTo>
                    <a:pt x="1423" y="179"/>
                  </a:lnTo>
                  <a:lnTo>
                    <a:pt x="1430" y="179"/>
                  </a:lnTo>
                  <a:lnTo>
                    <a:pt x="1437" y="181"/>
                  </a:lnTo>
                  <a:lnTo>
                    <a:pt x="1436" y="190"/>
                  </a:lnTo>
                  <a:lnTo>
                    <a:pt x="1436" y="201"/>
                  </a:lnTo>
                  <a:lnTo>
                    <a:pt x="1449" y="210"/>
                  </a:lnTo>
                  <a:lnTo>
                    <a:pt x="1458" y="214"/>
                  </a:lnTo>
                  <a:lnTo>
                    <a:pt x="1467" y="216"/>
                  </a:lnTo>
                  <a:lnTo>
                    <a:pt x="1476" y="216"/>
                  </a:lnTo>
                  <a:lnTo>
                    <a:pt x="1491" y="214"/>
                  </a:lnTo>
                  <a:lnTo>
                    <a:pt x="1508" y="216"/>
                  </a:lnTo>
                  <a:lnTo>
                    <a:pt x="1515" y="223"/>
                  </a:lnTo>
                  <a:lnTo>
                    <a:pt x="1522" y="236"/>
                  </a:lnTo>
                  <a:lnTo>
                    <a:pt x="1524" y="242"/>
                  </a:lnTo>
                  <a:lnTo>
                    <a:pt x="1530" y="247"/>
                  </a:lnTo>
                  <a:lnTo>
                    <a:pt x="1534" y="251"/>
                  </a:lnTo>
                  <a:lnTo>
                    <a:pt x="1539" y="253"/>
                  </a:lnTo>
                  <a:lnTo>
                    <a:pt x="1541" y="253"/>
                  </a:lnTo>
                  <a:lnTo>
                    <a:pt x="1543" y="262"/>
                  </a:lnTo>
                  <a:lnTo>
                    <a:pt x="1545" y="271"/>
                  </a:lnTo>
                  <a:lnTo>
                    <a:pt x="1539" y="277"/>
                  </a:lnTo>
                  <a:lnTo>
                    <a:pt x="1535" y="282"/>
                  </a:lnTo>
                  <a:lnTo>
                    <a:pt x="1535" y="288"/>
                  </a:lnTo>
                  <a:lnTo>
                    <a:pt x="1535" y="292"/>
                  </a:lnTo>
                  <a:lnTo>
                    <a:pt x="1535" y="303"/>
                  </a:lnTo>
                  <a:lnTo>
                    <a:pt x="1535" y="310"/>
                  </a:lnTo>
                  <a:lnTo>
                    <a:pt x="1522" y="310"/>
                  </a:lnTo>
                  <a:lnTo>
                    <a:pt x="1511" y="310"/>
                  </a:lnTo>
                  <a:lnTo>
                    <a:pt x="1510" y="319"/>
                  </a:lnTo>
                  <a:lnTo>
                    <a:pt x="1510" y="332"/>
                  </a:lnTo>
                  <a:lnTo>
                    <a:pt x="1491" y="340"/>
                  </a:lnTo>
                  <a:lnTo>
                    <a:pt x="1473" y="347"/>
                  </a:lnTo>
                  <a:lnTo>
                    <a:pt x="1467" y="366"/>
                  </a:lnTo>
                  <a:lnTo>
                    <a:pt x="1461" y="377"/>
                  </a:lnTo>
                  <a:lnTo>
                    <a:pt x="1469" y="388"/>
                  </a:lnTo>
                  <a:lnTo>
                    <a:pt x="1478" y="395"/>
                  </a:lnTo>
                  <a:lnTo>
                    <a:pt x="1474" y="399"/>
                  </a:lnTo>
                  <a:lnTo>
                    <a:pt x="1471" y="401"/>
                  </a:lnTo>
                  <a:lnTo>
                    <a:pt x="1467" y="403"/>
                  </a:lnTo>
                  <a:lnTo>
                    <a:pt x="1463" y="403"/>
                  </a:lnTo>
                  <a:lnTo>
                    <a:pt x="1458" y="403"/>
                  </a:lnTo>
                  <a:lnTo>
                    <a:pt x="1456" y="404"/>
                  </a:lnTo>
                  <a:lnTo>
                    <a:pt x="1454" y="408"/>
                  </a:lnTo>
                  <a:lnTo>
                    <a:pt x="1454" y="412"/>
                  </a:lnTo>
                  <a:lnTo>
                    <a:pt x="1454" y="419"/>
                  </a:lnTo>
                  <a:lnTo>
                    <a:pt x="1458" y="423"/>
                  </a:lnTo>
                  <a:lnTo>
                    <a:pt x="1461" y="423"/>
                  </a:lnTo>
                  <a:lnTo>
                    <a:pt x="1467" y="423"/>
                  </a:lnTo>
                  <a:lnTo>
                    <a:pt x="1471" y="423"/>
                  </a:lnTo>
                  <a:lnTo>
                    <a:pt x="1476" y="425"/>
                  </a:lnTo>
                  <a:lnTo>
                    <a:pt x="1482" y="427"/>
                  </a:lnTo>
                  <a:lnTo>
                    <a:pt x="1485" y="432"/>
                  </a:lnTo>
                  <a:lnTo>
                    <a:pt x="1482" y="443"/>
                  </a:lnTo>
                  <a:lnTo>
                    <a:pt x="1474" y="451"/>
                  </a:lnTo>
                  <a:lnTo>
                    <a:pt x="1471" y="456"/>
                  </a:lnTo>
                  <a:lnTo>
                    <a:pt x="1469" y="462"/>
                  </a:lnTo>
                  <a:lnTo>
                    <a:pt x="1471" y="469"/>
                  </a:lnTo>
                  <a:lnTo>
                    <a:pt x="1476" y="476"/>
                  </a:lnTo>
                  <a:lnTo>
                    <a:pt x="1485" y="488"/>
                  </a:lnTo>
                  <a:lnTo>
                    <a:pt x="1495" y="497"/>
                  </a:lnTo>
                  <a:lnTo>
                    <a:pt x="1500" y="502"/>
                  </a:lnTo>
                  <a:lnTo>
                    <a:pt x="1504" y="508"/>
                  </a:lnTo>
                  <a:lnTo>
                    <a:pt x="1508" y="513"/>
                  </a:lnTo>
                  <a:lnTo>
                    <a:pt x="1510" y="521"/>
                  </a:lnTo>
                  <a:lnTo>
                    <a:pt x="1502" y="534"/>
                  </a:lnTo>
                  <a:lnTo>
                    <a:pt x="1493" y="556"/>
                  </a:lnTo>
                  <a:lnTo>
                    <a:pt x="1487" y="561"/>
                  </a:lnTo>
                  <a:lnTo>
                    <a:pt x="1482" y="565"/>
                  </a:lnTo>
                  <a:lnTo>
                    <a:pt x="1478" y="567"/>
                  </a:lnTo>
                  <a:lnTo>
                    <a:pt x="1476" y="571"/>
                  </a:lnTo>
                  <a:lnTo>
                    <a:pt x="1474" y="576"/>
                  </a:lnTo>
                  <a:lnTo>
                    <a:pt x="1473" y="584"/>
                  </a:lnTo>
                  <a:lnTo>
                    <a:pt x="1456" y="582"/>
                  </a:lnTo>
                  <a:lnTo>
                    <a:pt x="1439" y="582"/>
                  </a:lnTo>
                  <a:lnTo>
                    <a:pt x="1437" y="587"/>
                  </a:lnTo>
                  <a:lnTo>
                    <a:pt x="1434" y="593"/>
                  </a:lnTo>
                  <a:lnTo>
                    <a:pt x="1434" y="600"/>
                  </a:lnTo>
                  <a:lnTo>
                    <a:pt x="1432" y="606"/>
                  </a:lnTo>
                  <a:lnTo>
                    <a:pt x="1425" y="608"/>
                  </a:lnTo>
                  <a:lnTo>
                    <a:pt x="1415" y="608"/>
                  </a:lnTo>
                  <a:lnTo>
                    <a:pt x="1412" y="608"/>
                  </a:lnTo>
                  <a:lnTo>
                    <a:pt x="1408" y="609"/>
                  </a:lnTo>
                  <a:lnTo>
                    <a:pt x="1404" y="613"/>
                  </a:lnTo>
                  <a:lnTo>
                    <a:pt x="1402" y="617"/>
                  </a:lnTo>
                  <a:lnTo>
                    <a:pt x="1401" y="622"/>
                  </a:lnTo>
                  <a:lnTo>
                    <a:pt x="1402" y="628"/>
                  </a:lnTo>
                  <a:lnTo>
                    <a:pt x="1406" y="630"/>
                  </a:lnTo>
                  <a:lnTo>
                    <a:pt x="1410" y="634"/>
                  </a:lnTo>
                  <a:lnTo>
                    <a:pt x="1413" y="635"/>
                  </a:lnTo>
                  <a:lnTo>
                    <a:pt x="1417" y="639"/>
                  </a:lnTo>
                  <a:lnTo>
                    <a:pt x="1419" y="646"/>
                  </a:lnTo>
                  <a:lnTo>
                    <a:pt x="1419" y="656"/>
                  </a:lnTo>
                  <a:lnTo>
                    <a:pt x="1415" y="659"/>
                  </a:lnTo>
                  <a:lnTo>
                    <a:pt x="1412" y="659"/>
                  </a:lnTo>
                  <a:lnTo>
                    <a:pt x="1408" y="659"/>
                  </a:lnTo>
                  <a:lnTo>
                    <a:pt x="1404" y="658"/>
                  </a:lnTo>
                  <a:lnTo>
                    <a:pt x="1399" y="654"/>
                  </a:lnTo>
                  <a:lnTo>
                    <a:pt x="1393" y="652"/>
                  </a:lnTo>
                  <a:lnTo>
                    <a:pt x="1391" y="661"/>
                  </a:lnTo>
                  <a:lnTo>
                    <a:pt x="1389" y="669"/>
                  </a:lnTo>
                  <a:lnTo>
                    <a:pt x="1382" y="670"/>
                  </a:lnTo>
                  <a:lnTo>
                    <a:pt x="1375" y="669"/>
                  </a:lnTo>
                  <a:lnTo>
                    <a:pt x="1371" y="670"/>
                  </a:lnTo>
                  <a:lnTo>
                    <a:pt x="1367" y="672"/>
                  </a:lnTo>
                  <a:lnTo>
                    <a:pt x="1362" y="676"/>
                  </a:lnTo>
                  <a:lnTo>
                    <a:pt x="1358" y="683"/>
                  </a:lnTo>
                  <a:lnTo>
                    <a:pt x="1364" y="689"/>
                  </a:lnTo>
                  <a:lnTo>
                    <a:pt x="1367" y="696"/>
                  </a:lnTo>
                  <a:lnTo>
                    <a:pt x="1369" y="702"/>
                  </a:lnTo>
                  <a:lnTo>
                    <a:pt x="1369" y="707"/>
                  </a:lnTo>
                  <a:lnTo>
                    <a:pt x="1369" y="717"/>
                  </a:lnTo>
                  <a:lnTo>
                    <a:pt x="1371" y="724"/>
                  </a:lnTo>
                  <a:lnTo>
                    <a:pt x="1380" y="728"/>
                  </a:lnTo>
                  <a:lnTo>
                    <a:pt x="1386" y="733"/>
                  </a:lnTo>
                  <a:lnTo>
                    <a:pt x="1386" y="748"/>
                  </a:lnTo>
                  <a:lnTo>
                    <a:pt x="1384" y="759"/>
                  </a:lnTo>
                  <a:lnTo>
                    <a:pt x="1391" y="774"/>
                  </a:lnTo>
                  <a:lnTo>
                    <a:pt x="1404" y="792"/>
                  </a:lnTo>
                  <a:lnTo>
                    <a:pt x="1419" y="811"/>
                  </a:lnTo>
                  <a:lnTo>
                    <a:pt x="1428" y="822"/>
                  </a:lnTo>
                  <a:lnTo>
                    <a:pt x="1425" y="842"/>
                  </a:lnTo>
                  <a:lnTo>
                    <a:pt x="1425" y="859"/>
                  </a:lnTo>
                  <a:lnTo>
                    <a:pt x="1430" y="864"/>
                  </a:lnTo>
                  <a:lnTo>
                    <a:pt x="1434" y="870"/>
                  </a:lnTo>
                  <a:lnTo>
                    <a:pt x="1436" y="872"/>
                  </a:lnTo>
                  <a:lnTo>
                    <a:pt x="1436" y="874"/>
                  </a:lnTo>
                  <a:lnTo>
                    <a:pt x="1436" y="877"/>
                  </a:lnTo>
                  <a:lnTo>
                    <a:pt x="1434" y="879"/>
                  </a:lnTo>
                  <a:lnTo>
                    <a:pt x="1428" y="883"/>
                  </a:lnTo>
                  <a:lnTo>
                    <a:pt x="1423" y="885"/>
                  </a:lnTo>
                  <a:lnTo>
                    <a:pt x="1419" y="883"/>
                  </a:lnTo>
                  <a:lnTo>
                    <a:pt x="1415" y="879"/>
                  </a:lnTo>
                  <a:lnTo>
                    <a:pt x="1410" y="872"/>
                  </a:lnTo>
                  <a:lnTo>
                    <a:pt x="1406" y="868"/>
                  </a:lnTo>
                  <a:lnTo>
                    <a:pt x="1402" y="874"/>
                  </a:lnTo>
                  <a:lnTo>
                    <a:pt x="1402" y="879"/>
                  </a:lnTo>
                  <a:lnTo>
                    <a:pt x="1393" y="877"/>
                  </a:lnTo>
                  <a:lnTo>
                    <a:pt x="1382" y="877"/>
                  </a:lnTo>
                  <a:lnTo>
                    <a:pt x="1376" y="881"/>
                  </a:lnTo>
                  <a:lnTo>
                    <a:pt x="1375" y="887"/>
                  </a:lnTo>
                  <a:lnTo>
                    <a:pt x="1375" y="890"/>
                  </a:lnTo>
                  <a:lnTo>
                    <a:pt x="1375" y="896"/>
                  </a:lnTo>
                  <a:lnTo>
                    <a:pt x="1376" y="900"/>
                  </a:lnTo>
                  <a:lnTo>
                    <a:pt x="1376" y="905"/>
                  </a:lnTo>
                  <a:lnTo>
                    <a:pt x="1375" y="911"/>
                  </a:lnTo>
                  <a:lnTo>
                    <a:pt x="1371" y="916"/>
                  </a:lnTo>
                  <a:lnTo>
                    <a:pt x="1347" y="916"/>
                  </a:lnTo>
                  <a:lnTo>
                    <a:pt x="1319" y="914"/>
                  </a:lnTo>
                  <a:lnTo>
                    <a:pt x="1304" y="913"/>
                  </a:lnTo>
                  <a:lnTo>
                    <a:pt x="1293" y="913"/>
                  </a:lnTo>
                  <a:lnTo>
                    <a:pt x="1290" y="913"/>
                  </a:lnTo>
                  <a:lnTo>
                    <a:pt x="1286" y="914"/>
                  </a:lnTo>
                  <a:lnTo>
                    <a:pt x="1284" y="916"/>
                  </a:lnTo>
                  <a:lnTo>
                    <a:pt x="1284" y="920"/>
                  </a:lnTo>
                  <a:lnTo>
                    <a:pt x="1286" y="935"/>
                  </a:lnTo>
                  <a:lnTo>
                    <a:pt x="1290" y="955"/>
                  </a:lnTo>
                  <a:lnTo>
                    <a:pt x="1293" y="972"/>
                  </a:lnTo>
                  <a:lnTo>
                    <a:pt x="1293" y="981"/>
                  </a:lnTo>
                  <a:lnTo>
                    <a:pt x="1290" y="1009"/>
                  </a:lnTo>
                  <a:lnTo>
                    <a:pt x="1280" y="1034"/>
                  </a:lnTo>
                  <a:lnTo>
                    <a:pt x="1277" y="1047"/>
                  </a:lnTo>
                  <a:lnTo>
                    <a:pt x="1273" y="1059"/>
                  </a:lnTo>
                  <a:lnTo>
                    <a:pt x="1273" y="1070"/>
                  </a:lnTo>
                  <a:lnTo>
                    <a:pt x="1273" y="1077"/>
                  </a:lnTo>
                  <a:lnTo>
                    <a:pt x="1279" y="1086"/>
                  </a:lnTo>
                  <a:lnTo>
                    <a:pt x="1284" y="1092"/>
                  </a:lnTo>
                  <a:lnTo>
                    <a:pt x="1290" y="1095"/>
                  </a:lnTo>
                  <a:lnTo>
                    <a:pt x="1297" y="1099"/>
                  </a:lnTo>
                  <a:lnTo>
                    <a:pt x="1301" y="1112"/>
                  </a:lnTo>
                  <a:lnTo>
                    <a:pt x="1303" y="1125"/>
                  </a:lnTo>
                  <a:lnTo>
                    <a:pt x="1314" y="1144"/>
                  </a:lnTo>
                  <a:lnTo>
                    <a:pt x="1325" y="1155"/>
                  </a:lnTo>
                  <a:lnTo>
                    <a:pt x="1330" y="1160"/>
                  </a:lnTo>
                  <a:lnTo>
                    <a:pt x="1334" y="1164"/>
                  </a:lnTo>
                  <a:lnTo>
                    <a:pt x="1336" y="1171"/>
                  </a:lnTo>
                  <a:lnTo>
                    <a:pt x="1338" y="1177"/>
                  </a:lnTo>
                  <a:lnTo>
                    <a:pt x="1336" y="1180"/>
                  </a:lnTo>
                  <a:lnTo>
                    <a:pt x="1332" y="1182"/>
                  </a:lnTo>
                  <a:lnTo>
                    <a:pt x="1327" y="1180"/>
                  </a:lnTo>
                  <a:lnTo>
                    <a:pt x="1321" y="1179"/>
                  </a:lnTo>
                  <a:lnTo>
                    <a:pt x="1314" y="1182"/>
                  </a:lnTo>
                  <a:lnTo>
                    <a:pt x="1310" y="1186"/>
                  </a:lnTo>
                  <a:lnTo>
                    <a:pt x="1308" y="1192"/>
                  </a:lnTo>
                  <a:lnTo>
                    <a:pt x="1306" y="1197"/>
                  </a:lnTo>
                  <a:lnTo>
                    <a:pt x="1306" y="1203"/>
                  </a:lnTo>
                  <a:lnTo>
                    <a:pt x="1304" y="1210"/>
                  </a:lnTo>
                  <a:lnTo>
                    <a:pt x="1301" y="1219"/>
                  </a:lnTo>
                  <a:lnTo>
                    <a:pt x="1295" y="1227"/>
                  </a:lnTo>
                  <a:lnTo>
                    <a:pt x="1288" y="1234"/>
                  </a:lnTo>
                  <a:lnTo>
                    <a:pt x="1282" y="1238"/>
                  </a:lnTo>
                  <a:lnTo>
                    <a:pt x="1277" y="1240"/>
                  </a:lnTo>
                  <a:lnTo>
                    <a:pt x="1269" y="1241"/>
                  </a:lnTo>
                  <a:lnTo>
                    <a:pt x="1260" y="1243"/>
                  </a:lnTo>
                  <a:lnTo>
                    <a:pt x="1253" y="1247"/>
                  </a:lnTo>
                  <a:lnTo>
                    <a:pt x="1251" y="1260"/>
                  </a:lnTo>
                  <a:lnTo>
                    <a:pt x="1255" y="1280"/>
                  </a:lnTo>
                  <a:lnTo>
                    <a:pt x="1245" y="1282"/>
                  </a:lnTo>
                  <a:lnTo>
                    <a:pt x="1238" y="1280"/>
                  </a:lnTo>
                  <a:lnTo>
                    <a:pt x="1231" y="1278"/>
                  </a:lnTo>
                  <a:lnTo>
                    <a:pt x="1221" y="1278"/>
                  </a:lnTo>
                  <a:lnTo>
                    <a:pt x="1216" y="1286"/>
                  </a:lnTo>
                  <a:lnTo>
                    <a:pt x="1210" y="1295"/>
                  </a:lnTo>
                  <a:lnTo>
                    <a:pt x="1203" y="1293"/>
                  </a:lnTo>
                  <a:lnTo>
                    <a:pt x="1194" y="1289"/>
                  </a:lnTo>
                  <a:lnTo>
                    <a:pt x="1190" y="1297"/>
                  </a:lnTo>
                  <a:lnTo>
                    <a:pt x="1184" y="1304"/>
                  </a:lnTo>
                  <a:lnTo>
                    <a:pt x="1179" y="1304"/>
                  </a:lnTo>
                  <a:lnTo>
                    <a:pt x="1173" y="1302"/>
                  </a:lnTo>
                  <a:lnTo>
                    <a:pt x="1170" y="1302"/>
                  </a:lnTo>
                  <a:lnTo>
                    <a:pt x="1168" y="1302"/>
                  </a:lnTo>
                  <a:lnTo>
                    <a:pt x="1164" y="1304"/>
                  </a:lnTo>
                  <a:lnTo>
                    <a:pt x="1162" y="1308"/>
                  </a:lnTo>
                  <a:lnTo>
                    <a:pt x="1159" y="1314"/>
                  </a:lnTo>
                  <a:lnTo>
                    <a:pt x="1159" y="1319"/>
                  </a:lnTo>
                  <a:lnTo>
                    <a:pt x="1159" y="1323"/>
                  </a:lnTo>
                  <a:lnTo>
                    <a:pt x="1160" y="1325"/>
                  </a:lnTo>
                  <a:lnTo>
                    <a:pt x="1166" y="1328"/>
                  </a:lnTo>
                  <a:lnTo>
                    <a:pt x="1168" y="1334"/>
                  </a:lnTo>
                  <a:lnTo>
                    <a:pt x="1160" y="1341"/>
                  </a:lnTo>
                  <a:lnTo>
                    <a:pt x="1155" y="1347"/>
                  </a:lnTo>
                  <a:lnTo>
                    <a:pt x="1157" y="1360"/>
                  </a:lnTo>
                  <a:lnTo>
                    <a:pt x="1160" y="1371"/>
                  </a:lnTo>
                  <a:lnTo>
                    <a:pt x="1159" y="1382"/>
                  </a:lnTo>
                  <a:lnTo>
                    <a:pt x="1157" y="1391"/>
                  </a:lnTo>
                  <a:lnTo>
                    <a:pt x="1164" y="1399"/>
                  </a:lnTo>
                  <a:lnTo>
                    <a:pt x="1170" y="1410"/>
                  </a:lnTo>
                  <a:lnTo>
                    <a:pt x="1162" y="1411"/>
                  </a:lnTo>
                  <a:lnTo>
                    <a:pt x="1153" y="1417"/>
                  </a:lnTo>
                  <a:lnTo>
                    <a:pt x="1168" y="1430"/>
                  </a:lnTo>
                  <a:lnTo>
                    <a:pt x="1183" y="1441"/>
                  </a:lnTo>
                  <a:lnTo>
                    <a:pt x="1177" y="1450"/>
                  </a:lnTo>
                  <a:lnTo>
                    <a:pt x="1173" y="1461"/>
                  </a:lnTo>
                  <a:lnTo>
                    <a:pt x="1183" y="1471"/>
                  </a:lnTo>
                  <a:lnTo>
                    <a:pt x="1190" y="1480"/>
                  </a:lnTo>
                  <a:lnTo>
                    <a:pt x="1183" y="1493"/>
                  </a:lnTo>
                  <a:lnTo>
                    <a:pt x="1175" y="1506"/>
                  </a:lnTo>
                  <a:lnTo>
                    <a:pt x="1192" y="1511"/>
                  </a:lnTo>
                  <a:lnTo>
                    <a:pt x="1208" y="1522"/>
                  </a:lnTo>
                  <a:lnTo>
                    <a:pt x="1207" y="1533"/>
                  </a:lnTo>
                  <a:lnTo>
                    <a:pt x="1207" y="1548"/>
                  </a:lnTo>
                  <a:lnTo>
                    <a:pt x="1199" y="1556"/>
                  </a:lnTo>
                  <a:lnTo>
                    <a:pt x="1197" y="1563"/>
                  </a:lnTo>
                  <a:lnTo>
                    <a:pt x="1197" y="1570"/>
                  </a:lnTo>
                  <a:lnTo>
                    <a:pt x="1201" y="1576"/>
                  </a:lnTo>
                  <a:lnTo>
                    <a:pt x="1210" y="1585"/>
                  </a:lnTo>
                  <a:lnTo>
                    <a:pt x="1218" y="1591"/>
                  </a:lnTo>
                  <a:lnTo>
                    <a:pt x="1218" y="1598"/>
                  </a:lnTo>
                  <a:lnTo>
                    <a:pt x="1216" y="1604"/>
                  </a:lnTo>
                  <a:lnTo>
                    <a:pt x="1216" y="1609"/>
                  </a:lnTo>
                  <a:lnTo>
                    <a:pt x="1212" y="1613"/>
                  </a:lnTo>
                  <a:lnTo>
                    <a:pt x="1190" y="1622"/>
                  </a:lnTo>
                  <a:lnTo>
                    <a:pt x="1168" y="1633"/>
                  </a:lnTo>
                  <a:lnTo>
                    <a:pt x="1149" y="1642"/>
                  </a:lnTo>
                  <a:lnTo>
                    <a:pt x="1144" y="1650"/>
                  </a:lnTo>
                  <a:lnTo>
                    <a:pt x="1147" y="1661"/>
                  </a:lnTo>
                  <a:lnTo>
                    <a:pt x="1147" y="1672"/>
                  </a:lnTo>
                  <a:lnTo>
                    <a:pt x="1138" y="1676"/>
                  </a:lnTo>
                  <a:lnTo>
                    <a:pt x="1129" y="1676"/>
                  </a:lnTo>
                  <a:lnTo>
                    <a:pt x="1118" y="1674"/>
                  </a:lnTo>
                  <a:lnTo>
                    <a:pt x="1103" y="1674"/>
                  </a:lnTo>
                  <a:lnTo>
                    <a:pt x="1088" y="1681"/>
                  </a:lnTo>
                  <a:lnTo>
                    <a:pt x="1070" y="1689"/>
                  </a:lnTo>
                  <a:lnTo>
                    <a:pt x="1059" y="1687"/>
                  </a:lnTo>
                  <a:lnTo>
                    <a:pt x="1050" y="1689"/>
                  </a:lnTo>
                  <a:lnTo>
                    <a:pt x="1044" y="1690"/>
                  </a:lnTo>
                  <a:lnTo>
                    <a:pt x="1038" y="1694"/>
                  </a:lnTo>
                  <a:lnTo>
                    <a:pt x="1031" y="1705"/>
                  </a:lnTo>
                  <a:lnTo>
                    <a:pt x="1018" y="1714"/>
                  </a:lnTo>
                  <a:lnTo>
                    <a:pt x="1000" y="1709"/>
                  </a:lnTo>
                  <a:lnTo>
                    <a:pt x="981" y="1703"/>
                  </a:lnTo>
                  <a:lnTo>
                    <a:pt x="957" y="1711"/>
                  </a:lnTo>
                  <a:lnTo>
                    <a:pt x="935" y="1718"/>
                  </a:lnTo>
                  <a:lnTo>
                    <a:pt x="929" y="1716"/>
                  </a:lnTo>
                  <a:lnTo>
                    <a:pt x="924" y="1714"/>
                  </a:lnTo>
                  <a:lnTo>
                    <a:pt x="920" y="1709"/>
                  </a:lnTo>
                  <a:lnTo>
                    <a:pt x="913" y="1705"/>
                  </a:lnTo>
                  <a:lnTo>
                    <a:pt x="907" y="1700"/>
                  </a:lnTo>
                  <a:lnTo>
                    <a:pt x="898" y="1696"/>
                  </a:lnTo>
                  <a:lnTo>
                    <a:pt x="889" y="1692"/>
                  </a:lnTo>
                  <a:lnTo>
                    <a:pt x="874" y="1692"/>
                  </a:lnTo>
                  <a:lnTo>
                    <a:pt x="848" y="1696"/>
                  </a:lnTo>
                  <a:lnTo>
                    <a:pt x="828" y="1698"/>
                  </a:lnTo>
                  <a:lnTo>
                    <a:pt x="815" y="1690"/>
                  </a:lnTo>
                  <a:lnTo>
                    <a:pt x="802" y="1683"/>
                  </a:lnTo>
                  <a:lnTo>
                    <a:pt x="778" y="1679"/>
                  </a:lnTo>
                  <a:lnTo>
                    <a:pt x="767" y="1676"/>
                  </a:lnTo>
                  <a:lnTo>
                    <a:pt x="752" y="1683"/>
                  </a:lnTo>
                  <a:lnTo>
                    <a:pt x="737" y="1687"/>
                  </a:lnTo>
                  <a:lnTo>
                    <a:pt x="723" y="1690"/>
                  </a:lnTo>
                  <a:lnTo>
                    <a:pt x="704" y="1692"/>
                  </a:lnTo>
                  <a:lnTo>
                    <a:pt x="693" y="1690"/>
                  </a:lnTo>
                  <a:lnTo>
                    <a:pt x="686" y="1687"/>
                  </a:lnTo>
                  <a:lnTo>
                    <a:pt x="682" y="1681"/>
                  </a:lnTo>
                  <a:lnTo>
                    <a:pt x="680" y="1674"/>
                  </a:lnTo>
                  <a:lnTo>
                    <a:pt x="680" y="1668"/>
                  </a:lnTo>
                  <a:lnTo>
                    <a:pt x="680" y="1661"/>
                  </a:lnTo>
                  <a:lnTo>
                    <a:pt x="678" y="1655"/>
                  </a:lnTo>
                  <a:lnTo>
                    <a:pt x="676" y="1652"/>
                  </a:lnTo>
                  <a:lnTo>
                    <a:pt x="671" y="1652"/>
                  </a:lnTo>
                  <a:lnTo>
                    <a:pt x="663" y="1654"/>
                  </a:lnTo>
                  <a:lnTo>
                    <a:pt x="660" y="1655"/>
                  </a:lnTo>
                  <a:lnTo>
                    <a:pt x="656" y="1654"/>
                  </a:lnTo>
                  <a:lnTo>
                    <a:pt x="652" y="1652"/>
                  </a:lnTo>
                  <a:lnTo>
                    <a:pt x="649" y="1648"/>
                  </a:lnTo>
                  <a:lnTo>
                    <a:pt x="647" y="1633"/>
                  </a:lnTo>
                  <a:lnTo>
                    <a:pt x="647" y="1618"/>
                  </a:lnTo>
                  <a:lnTo>
                    <a:pt x="638" y="1611"/>
                  </a:lnTo>
                  <a:lnTo>
                    <a:pt x="628" y="1607"/>
                  </a:lnTo>
                  <a:lnTo>
                    <a:pt x="632" y="1598"/>
                  </a:lnTo>
                  <a:lnTo>
                    <a:pt x="632" y="1593"/>
                  </a:lnTo>
                  <a:lnTo>
                    <a:pt x="630" y="1589"/>
                  </a:lnTo>
                  <a:lnTo>
                    <a:pt x="626" y="1585"/>
                  </a:lnTo>
                  <a:lnTo>
                    <a:pt x="619" y="1581"/>
                  </a:lnTo>
                  <a:lnTo>
                    <a:pt x="615" y="1574"/>
                  </a:lnTo>
                  <a:lnTo>
                    <a:pt x="614" y="1561"/>
                  </a:lnTo>
                  <a:lnTo>
                    <a:pt x="612" y="1554"/>
                  </a:lnTo>
                  <a:lnTo>
                    <a:pt x="608" y="1550"/>
                  </a:lnTo>
                  <a:lnTo>
                    <a:pt x="604" y="1548"/>
                  </a:lnTo>
                  <a:lnTo>
                    <a:pt x="602" y="1548"/>
                  </a:lnTo>
                  <a:lnTo>
                    <a:pt x="599" y="1548"/>
                  </a:lnTo>
                  <a:lnTo>
                    <a:pt x="597" y="1546"/>
                  </a:lnTo>
                  <a:lnTo>
                    <a:pt x="593" y="1543"/>
                  </a:lnTo>
                  <a:lnTo>
                    <a:pt x="595" y="1533"/>
                  </a:lnTo>
                  <a:lnTo>
                    <a:pt x="595" y="1528"/>
                  </a:lnTo>
                  <a:lnTo>
                    <a:pt x="595" y="1520"/>
                  </a:lnTo>
                  <a:lnTo>
                    <a:pt x="591" y="1517"/>
                  </a:lnTo>
                  <a:lnTo>
                    <a:pt x="588" y="1513"/>
                  </a:lnTo>
                  <a:lnTo>
                    <a:pt x="584" y="1511"/>
                  </a:lnTo>
                  <a:lnTo>
                    <a:pt x="578" y="1509"/>
                  </a:lnTo>
                  <a:lnTo>
                    <a:pt x="573" y="1509"/>
                  </a:lnTo>
                  <a:lnTo>
                    <a:pt x="571" y="1515"/>
                  </a:lnTo>
                  <a:lnTo>
                    <a:pt x="567" y="1520"/>
                  </a:lnTo>
                  <a:lnTo>
                    <a:pt x="566" y="1522"/>
                  </a:lnTo>
                  <a:lnTo>
                    <a:pt x="564" y="1522"/>
                  </a:lnTo>
                  <a:lnTo>
                    <a:pt x="560" y="1522"/>
                  </a:lnTo>
                  <a:lnTo>
                    <a:pt x="554" y="1519"/>
                  </a:lnTo>
                  <a:lnTo>
                    <a:pt x="549" y="1522"/>
                  </a:lnTo>
                  <a:lnTo>
                    <a:pt x="542" y="1526"/>
                  </a:lnTo>
                  <a:lnTo>
                    <a:pt x="532" y="1528"/>
                  </a:lnTo>
                  <a:lnTo>
                    <a:pt x="523" y="1526"/>
                  </a:lnTo>
                  <a:lnTo>
                    <a:pt x="523" y="1517"/>
                  </a:lnTo>
                  <a:lnTo>
                    <a:pt x="523" y="1508"/>
                  </a:lnTo>
                  <a:lnTo>
                    <a:pt x="521" y="1500"/>
                  </a:lnTo>
                  <a:lnTo>
                    <a:pt x="518" y="1493"/>
                  </a:lnTo>
                  <a:lnTo>
                    <a:pt x="514" y="1487"/>
                  </a:lnTo>
                  <a:lnTo>
                    <a:pt x="508" y="1482"/>
                  </a:lnTo>
                  <a:lnTo>
                    <a:pt x="503" y="1476"/>
                  </a:lnTo>
                  <a:lnTo>
                    <a:pt x="495" y="1472"/>
                  </a:lnTo>
                  <a:lnTo>
                    <a:pt x="482" y="1465"/>
                  </a:lnTo>
                  <a:lnTo>
                    <a:pt x="466" y="1463"/>
                  </a:lnTo>
                  <a:lnTo>
                    <a:pt x="449" y="1461"/>
                  </a:lnTo>
                  <a:lnTo>
                    <a:pt x="433" y="1463"/>
                  </a:lnTo>
                  <a:lnTo>
                    <a:pt x="421" y="1485"/>
                  </a:lnTo>
                  <a:lnTo>
                    <a:pt x="416" y="1500"/>
                  </a:lnTo>
                  <a:lnTo>
                    <a:pt x="414" y="1509"/>
                  </a:lnTo>
                  <a:lnTo>
                    <a:pt x="414" y="1517"/>
                  </a:lnTo>
                  <a:lnTo>
                    <a:pt x="416" y="1520"/>
                  </a:lnTo>
                  <a:lnTo>
                    <a:pt x="418" y="1524"/>
                  </a:lnTo>
                  <a:lnTo>
                    <a:pt x="416" y="1530"/>
                  </a:lnTo>
                  <a:lnTo>
                    <a:pt x="414" y="1537"/>
                  </a:lnTo>
                  <a:lnTo>
                    <a:pt x="399" y="1546"/>
                  </a:lnTo>
                  <a:lnTo>
                    <a:pt x="385" y="1557"/>
                  </a:lnTo>
                  <a:lnTo>
                    <a:pt x="381" y="1574"/>
                  </a:lnTo>
                  <a:lnTo>
                    <a:pt x="375" y="1589"/>
                  </a:lnTo>
                  <a:lnTo>
                    <a:pt x="373" y="1594"/>
                  </a:lnTo>
                  <a:lnTo>
                    <a:pt x="370" y="1600"/>
                  </a:lnTo>
                  <a:lnTo>
                    <a:pt x="366" y="1604"/>
                  </a:lnTo>
                  <a:lnTo>
                    <a:pt x="360" y="1605"/>
                  </a:lnTo>
                  <a:lnTo>
                    <a:pt x="360" y="1615"/>
                  </a:lnTo>
                  <a:lnTo>
                    <a:pt x="357" y="1622"/>
                  </a:lnTo>
                  <a:lnTo>
                    <a:pt x="353" y="1622"/>
                  </a:lnTo>
                  <a:lnTo>
                    <a:pt x="351" y="1618"/>
                  </a:lnTo>
                  <a:lnTo>
                    <a:pt x="351" y="1617"/>
                  </a:lnTo>
                  <a:lnTo>
                    <a:pt x="351" y="1611"/>
                  </a:lnTo>
                  <a:lnTo>
                    <a:pt x="349" y="1604"/>
                  </a:lnTo>
                  <a:lnTo>
                    <a:pt x="348" y="1596"/>
                  </a:lnTo>
                  <a:lnTo>
                    <a:pt x="336" y="1585"/>
                  </a:lnTo>
                  <a:lnTo>
                    <a:pt x="329" y="1578"/>
                  </a:lnTo>
                  <a:lnTo>
                    <a:pt x="322" y="1589"/>
                  </a:lnTo>
                  <a:lnTo>
                    <a:pt x="316" y="1593"/>
                  </a:lnTo>
                  <a:lnTo>
                    <a:pt x="312" y="1594"/>
                  </a:lnTo>
                  <a:lnTo>
                    <a:pt x="307" y="1594"/>
                  </a:lnTo>
                  <a:lnTo>
                    <a:pt x="292" y="1602"/>
                  </a:lnTo>
                  <a:lnTo>
                    <a:pt x="283" y="1604"/>
                  </a:lnTo>
                  <a:lnTo>
                    <a:pt x="277" y="1604"/>
                  </a:lnTo>
                  <a:lnTo>
                    <a:pt x="268" y="1605"/>
                  </a:lnTo>
                  <a:lnTo>
                    <a:pt x="257" y="1618"/>
                  </a:lnTo>
                  <a:lnTo>
                    <a:pt x="246" y="1628"/>
                  </a:lnTo>
                  <a:lnTo>
                    <a:pt x="235" y="1622"/>
                  </a:lnTo>
                  <a:lnTo>
                    <a:pt x="227" y="1617"/>
                  </a:lnTo>
                  <a:lnTo>
                    <a:pt x="224" y="1607"/>
                  </a:lnTo>
                  <a:lnTo>
                    <a:pt x="220" y="1600"/>
                  </a:lnTo>
                  <a:lnTo>
                    <a:pt x="220" y="1591"/>
                  </a:lnTo>
                  <a:lnTo>
                    <a:pt x="220" y="1583"/>
                  </a:lnTo>
                  <a:lnTo>
                    <a:pt x="220" y="1578"/>
                  </a:lnTo>
                  <a:lnTo>
                    <a:pt x="222" y="1574"/>
                  </a:lnTo>
                  <a:lnTo>
                    <a:pt x="220" y="1561"/>
                  </a:lnTo>
                  <a:lnTo>
                    <a:pt x="218" y="1548"/>
                  </a:lnTo>
                  <a:lnTo>
                    <a:pt x="218" y="1537"/>
                  </a:lnTo>
                  <a:lnTo>
                    <a:pt x="220" y="1526"/>
                  </a:lnTo>
                  <a:lnTo>
                    <a:pt x="224" y="1515"/>
                  </a:lnTo>
                  <a:lnTo>
                    <a:pt x="229" y="1504"/>
                  </a:lnTo>
                  <a:lnTo>
                    <a:pt x="235" y="1495"/>
                  </a:lnTo>
                  <a:lnTo>
                    <a:pt x="240" y="1487"/>
                  </a:lnTo>
                  <a:lnTo>
                    <a:pt x="240" y="1471"/>
                  </a:lnTo>
                  <a:lnTo>
                    <a:pt x="242" y="1456"/>
                  </a:lnTo>
                  <a:lnTo>
                    <a:pt x="227" y="1447"/>
                  </a:lnTo>
                  <a:lnTo>
                    <a:pt x="215" y="1437"/>
                  </a:lnTo>
                  <a:lnTo>
                    <a:pt x="203" y="1424"/>
                  </a:lnTo>
                  <a:lnTo>
                    <a:pt x="192" y="1411"/>
                  </a:lnTo>
                  <a:lnTo>
                    <a:pt x="196" y="1391"/>
                  </a:lnTo>
                  <a:lnTo>
                    <a:pt x="200" y="1369"/>
                  </a:lnTo>
                  <a:lnTo>
                    <a:pt x="194" y="1360"/>
                  </a:lnTo>
                  <a:lnTo>
                    <a:pt x="185" y="1352"/>
                  </a:lnTo>
                  <a:lnTo>
                    <a:pt x="181" y="1345"/>
                  </a:lnTo>
                  <a:lnTo>
                    <a:pt x="179" y="1338"/>
                  </a:lnTo>
                  <a:lnTo>
                    <a:pt x="178" y="1325"/>
                  </a:lnTo>
                  <a:lnTo>
                    <a:pt x="179" y="1310"/>
                  </a:lnTo>
                  <a:lnTo>
                    <a:pt x="179" y="1304"/>
                  </a:lnTo>
                  <a:lnTo>
                    <a:pt x="178" y="1297"/>
                  </a:lnTo>
                  <a:lnTo>
                    <a:pt x="174" y="1288"/>
                  </a:lnTo>
                  <a:lnTo>
                    <a:pt x="168" y="1278"/>
                  </a:lnTo>
                  <a:lnTo>
                    <a:pt x="159" y="1264"/>
                  </a:lnTo>
                  <a:lnTo>
                    <a:pt x="152" y="1256"/>
                  </a:lnTo>
                  <a:lnTo>
                    <a:pt x="143" y="1258"/>
                  </a:lnTo>
                  <a:lnTo>
                    <a:pt x="135" y="1260"/>
                  </a:lnTo>
                  <a:lnTo>
                    <a:pt x="130" y="1262"/>
                  </a:lnTo>
                  <a:lnTo>
                    <a:pt x="128" y="1262"/>
                  </a:lnTo>
                  <a:lnTo>
                    <a:pt x="124" y="1260"/>
                  </a:lnTo>
                  <a:lnTo>
                    <a:pt x="124" y="1258"/>
                  </a:lnTo>
                  <a:lnTo>
                    <a:pt x="122" y="1253"/>
                  </a:lnTo>
                  <a:lnTo>
                    <a:pt x="122" y="1247"/>
                  </a:lnTo>
                  <a:lnTo>
                    <a:pt x="122" y="1240"/>
                  </a:lnTo>
                  <a:lnTo>
                    <a:pt x="124" y="1234"/>
                  </a:lnTo>
                  <a:lnTo>
                    <a:pt x="131" y="1236"/>
                  </a:lnTo>
                  <a:lnTo>
                    <a:pt x="137" y="1236"/>
                  </a:lnTo>
                  <a:lnTo>
                    <a:pt x="141" y="1234"/>
                  </a:lnTo>
                  <a:lnTo>
                    <a:pt x="141" y="1232"/>
                  </a:lnTo>
                  <a:lnTo>
                    <a:pt x="143" y="1229"/>
                  </a:lnTo>
                  <a:lnTo>
                    <a:pt x="141" y="1223"/>
                  </a:lnTo>
                  <a:lnTo>
                    <a:pt x="126" y="1199"/>
                  </a:lnTo>
                  <a:lnTo>
                    <a:pt x="111" y="1206"/>
                  </a:lnTo>
                  <a:lnTo>
                    <a:pt x="104" y="1203"/>
                  </a:lnTo>
                  <a:lnTo>
                    <a:pt x="94" y="1201"/>
                  </a:lnTo>
                  <a:lnTo>
                    <a:pt x="83" y="1201"/>
                  </a:lnTo>
                  <a:lnTo>
                    <a:pt x="74" y="1203"/>
                  </a:lnTo>
                  <a:lnTo>
                    <a:pt x="67" y="1197"/>
                  </a:lnTo>
                  <a:lnTo>
                    <a:pt x="61" y="1192"/>
                  </a:lnTo>
                  <a:lnTo>
                    <a:pt x="54" y="1192"/>
                  </a:lnTo>
                  <a:lnTo>
                    <a:pt x="48" y="1195"/>
                  </a:lnTo>
                  <a:lnTo>
                    <a:pt x="45" y="1195"/>
                  </a:lnTo>
                  <a:lnTo>
                    <a:pt x="41" y="1195"/>
                  </a:lnTo>
                  <a:lnTo>
                    <a:pt x="37" y="1193"/>
                  </a:lnTo>
                  <a:lnTo>
                    <a:pt x="30" y="1188"/>
                  </a:lnTo>
                  <a:lnTo>
                    <a:pt x="28" y="1184"/>
                  </a:lnTo>
                  <a:lnTo>
                    <a:pt x="28" y="1180"/>
                  </a:lnTo>
                  <a:lnTo>
                    <a:pt x="28" y="1177"/>
                  </a:lnTo>
                  <a:lnTo>
                    <a:pt x="32" y="1173"/>
                  </a:lnTo>
                  <a:lnTo>
                    <a:pt x="37" y="1166"/>
                  </a:lnTo>
                  <a:lnTo>
                    <a:pt x="45" y="1162"/>
                  </a:lnTo>
                  <a:lnTo>
                    <a:pt x="39" y="1156"/>
                  </a:lnTo>
                  <a:lnTo>
                    <a:pt x="35" y="1151"/>
                  </a:lnTo>
                  <a:lnTo>
                    <a:pt x="50" y="1132"/>
                  </a:lnTo>
                  <a:lnTo>
                    <a:pt x="67" y="1107"/>
                  </a:lnTo>
                  <a:lnTo>
                    <a:pt x="58" y="1099"/>
                  </a:lnTo>
                  <a:lnTo>
                    <a:pt x="54" y="1090"/>
                  </a:lnTo>
                  <a:lnTo>
                    <a:pt x="50" y="1084"/>
                  </a:lnTo>
                  <a:lnTo>
                    <a:pt x="48" y="1077"/>
                  </a:lnTo>
                  <a:lnTo>
                    <a:pt x="35" y="1064"/>
                  </a:lnTo>
                  <a:lnTo>
                    <a:pt x="22" y="1049"/>
                  </a:lnTo>
                  <a:lnTo>
                    <a:pt x="26" y="1031"/>
                  </a:lnTo>
                  <a:lnTo>
                    <a:pt x="30" y="1014"/>
                  </a:lnTo>
                  <a:lnTo>
                    <a:pt x="30" y="1007"/>
                  </a:lnTo>
                  <a:lnTo>
                    <a:pt x="28" y="1001"/>
                  </a:lnTo>
                  <a:lnTo>
                    <a:pt x="22" y="998"/>
                  </a:lnTo>
                  <a:lnTo>
                    <a:pt x="19" y="996"/>
                  </a:lnTo>
                  <a:lnTo>
                    <a:pt x="13" y="992"/>
                  </a:lnTo>
                  <a:lnTo>
                    <a:pt x="10" y="990"/>
                  </a:lnTo>
                  <a:lnTo>
                    <a:pt x="8" y="986"/>
                  </a:lnTo>
                  <a:lnTo>
                    <a:pt x="6" y="983"/>
                  </a:lnTo>
                  <a:lnTo>
                    <a:pt x="26" y="975"/>
                  </a:lnTo>
                  <a:lnTo>
                    <a:pt x="45" y="968"/>
                  </a:lnTo>
                  <a:lnTo>
                    <a:pt x="45" y="955"/>
                  </a:lnTo>
                  <a:lnTo>
                    <a:pt x="43" y="938"/>
                  </a:lnTo>
                  <a:lnTo>
                    <a:pt x="39" y="922"/>
                  </a:lnTo>
                  <a:lnTo>
                    <a:pt x="37" y="901"/>
                  </a:lnTo>
                  <a:lnTo>
                    <a:pt x="35" y="874"/>
                  </a:lnTo>
                  <a:lnTo>
                    <a:pt x="34" y="850"/>
                  </a:lnTo>
                  <a:lnTo>
                    <a:pt x="30" y="829"/>
                  </a:lnTo>
                  <a:lnTo>
                    <a:pt x="24" y="813"/>
                  </a:lnTo>
                  <a:lnTo>
                    <a:pt x="17" y="804"/>
                  </a:lnTo>
                  <a:lnTo>
                    <a:pt x="8" y="796"/>
                  </a:lnTo>
                  <a:lnTo>
                    <a:pt x="4" y="791"/>
                  </a:lnTo>
                  <a:lnTo>
                    <a:pt x="0" y="787"/>
                  </a:lnTo>
                  <a:lnTo>
                    <a:pt x="0" y="779"/>
                  </a:lnTo>
                  <a:lnTo>
                    <a:pt x="0" y="772"/>
                  </a:lnTo>
                  <a:lnTo>
                    <a:pt x="11" y="772"/>
                  </a:lnTo>
                  <a:lnTo>
                    <a:pt x="26" y="772"/>
                  </a:lnTo>
                  <a:lnTo>
                    <a:pt x="46" y="755"/>
                  </a:lnTo>
                  <a:lnTo>
                    <a:pt x="63" y="743"/>
                  </a:lnTo>
                  <a:lnTo>
                    <a:pt x="76" y="744"/>
                  </a:lnTo>
                  <a:lnTo>
                    <a:pt x="91" y="746"/>
                  </a:lnTo>
                  <a:lnTo>
                    <a:pt x="94" y="726"/>
                  </a:lnTo>
                  <a:lnTo>
                    <a:pt x="94" y="706"/>
                  </a:lnTo>
                  <a:lnTo>
                    <a:pt x="98" y="700"/>
                  </a:lnTo>
                  <a:lnTo>
                    <a:pt x="102" y="694"/>
                  </a:lnTo>
                  <a:lnTo>
                    <a:pt x="109" y="691"/>
                  </a:lnTo>
                  <a:lnTo>
                    <a:pt x="120" y="685"/>
                  </a:lnTo>
                  <a:lnTo>
                    <a:pt x="126" y="678"/>
                  </a:lnTo>
                  <a:lnTo>
                    <a:pt x="128" y="667"/>
                  </a:lnTo>
                  <a:lnTo>
                    <a:pt x="150" y="645"/>
                  </a:lnTo>
                  <a:lnTo>
                    <a:pt x="172" y="622"/>
                  </a:lnTo>
                  <a:lnTo>
                    <a:pt x="170" y="617"/>
                  </a:lnTo>
                  <a:lnTo>
                    <a:pt x="168" y="613"/>
                  </a:lnTo>
                  <a:lnTo>
                    <a:pt x="167" y="609"/>
                  </a:lnTo>
                  <a:lnTo>
                    <a:pt x="163" y="606"/>
                  </a:lnTo>
                  <a:lnTo>
                    <a:pt x="155" y="598"/>
                  </a:lnTo>
                  <a:lnTo>
                    <a:pt x="150" y="593"/>
                  </a:lnTo>
                  <a:lnTo>
                    <a:pt x="148" y="576"/>
                  </a:lnTo>
                  <a:lnTo>
                    <a:pt x="146" y="560"/>
                  </a:lnTo>
                  <a:lnTo>
                    <a:pt x="143" y="552"/>
                  </a:lnTo>
                  <a:lnTo>
                    <a:pt x="139" y="547"/>
                  </a:lnTo>
                  <a:lnTo>
                    <a:pt x="135" y="541"/>
                  </a:lnTo>
                  <a:lnTo>
                    <a:pt x="130" y="537"/>
                  </a:lnTo>
                  <a:lnTo>
                    <a:pt x="118" y="530"/>
                  </a:lnTo>
                  <a:lnTo>
                    <a:pt x="109" y="523"/>
                  </a:lnTo>
                  <a:lnTo>
                    <a:pt x="104" y="510"/>
                  </a:lnTo>
                  <a:lnTo>
                    <a:pt x="100" y="495"/>
                  </a:lnTo>
                  <a:lnTo>
                    <a:pt x="94" y="489"/>
                  </a:lnTo>
                  <a:lnTo>
                    <a:pt x="93" y="484"/>
                  </a:lnTo>
                  <a:lnTo>
                    <a:pt x="93" y="478"/>
                  </a:lnTo>
                  <a:lnTo>
                    <a:pt x="94" y="473"/>
                  </a:lnTo>
                  <a:lnTo>
                    <a:pt x="96" y="464"/>
                  </a:lnTo>
                  <a:lnTo>
                    <a:pt x="98" y="456"/>
                  </a:lnTo>
                  <a:lnTo>
                    <a:pt x="91" y="451"/>
                  </a:lnTo>
                  <a:lnTo>
                    <a:pt x="87" y="445"/>
                  </a:lnTo>
                  <a:lnTo>
                    <a:pt x="85" y="439"/>
                  </a:lnTo>
                  <a:lnTo>
                    <a:pt x="85" y="434"/>
                  </a:lnTo>
                  <a:lnTo>
                    <a:pt x="91" y="423"/>
                  </a:lnTo>
                  <a:lnTo>
                    <a:pt x="100" y="408"/>
                  </a:lnTo>
                  <a:lnTo>
                    <a:pt x="111" y="414"/>
                  </a:lnTo>
                  <a:lnTo>
                    <a:pt x="124" y="419"/>
                  </a:lnTo>
                  <a:lnTo>
                    <a:pt x="128" y="419"/>
                  </a:lnTo>
                  <a:lnTo>
                    <a:pt x="131" y="417"/>
                  </a:lnTo>
                  <a:lnTo>
                    <a:pt x="135" y="415"/>
                  </a:lnTo>
                  <a:lnTo>
                    <a:pt x="137" y="412"/>
                  </a:lnTo>
                  <a:lnTo>
                    <a:pt x="135" y="406"/>
                  </a:lnTo>
                  <a:lnTo>
                    <a:pt x="133" y="403"/>
                  </a:lnTo>
                  <a:lnTo>
                    <a:pt x="131" y="397"/>
                  </a:lnTo>
                  <a:lnTo>
                    <a:pt x="133" y="391"/>
                  </a:lnTo>
                  <a:lnTo>
                    <a:pt x="135" y="391"/>
                  </a:lnTo>
                  <a:lnTo>
                    <a:pt x="137" y="391"/>
                  </a:lnTo>
                  <a:lnTo>
                    <a:pt x="139" y="391"/>
                  </a:lnTo>
                  <a:lnTo>
                    <a:pt x="139" y="393"/>
                  </a:lnTo>
                  <a:lnTo>
                    <a:pt x="141" y="399"/>
                  </a:lnTo>
                  <a:lnTo>
                    <a:pt x="143" y="404"/>
                  </a:lnTo>
                  <a:lnTo>
                    <a:pt x="148" y="415"/>
                  </a:lnTo>
                  <a:lnTo>
                    <a:pt x="148" y="421"/>
                  </a:lnTo>
                  <a:lnTo>
                    <a:pt x="146" y="425"/>
                  </a:lnTo>
                  <a:lnTo>
                    <a:pt x="144" y="432"/>
                  </a:lnTo>
                  <a:lnTo>
                    <a:pt x="150" y="439"/>
                  </a:lnTo>
                  <a:lnTo>
                    <a:pt x="157" y="443"/>
                  </a:lnTo>
                  <a:lnTo>
                    <a:pt x="165" y="445"/>
                  </a:lnTo>
                  <a:lnTo>
                    <a:pt x="172" y="445"/>
                  </a:lnTo>
                  <a:lnTo>
                    <a:pt x="163" y="436"/>
                  </a:lnTo>
                  <a:lnTo>
                    <a:pt x="159" y="427"/>
                  </a:lnTo>
                  <a:lnTo>
                    <a:pt x="163" y="423"/>
                  </a:lnTo>
                  <a:lnTo>
                    <a:pt x="176" y="421"/>
                  </a:lnTo>
                  <a:lnTo>
                    <a:pt x="187" y="414"/>
                  </a:lnTo>
                  <a:lnTo>
                    <a:pt x="196" y="403"/>
                  </a:lnTo>
                  <a:lnTo>
                    <a:pt x="203" y="399"/>
                  </a:lnTo>
                  <a:lnTo>
                    <a:pt x="211" y="397"/>
                  </a:lnTo>
                  <a:lnTo>
                    <a:pt x="222" y="397"/>
                  </a:lnTo>
                  <a:lnTo>
                    <a:pt x="237" y="399"/>
                  </a:lnTo>
                  <a:lnTo>
                    <a:pt x="251" y="393"/>
                  </a:lnTo>
                  <a:lnTo>
                    <a:pt x="266" y="391"/>
                  </a:lnTo>
                  <a:lnTo>
                    <a:pt x="274" y="391"/>
                  </a:lnTo>
                  <a:lnTo>
                    <a:pt x="279" y="393"/>
                  </a:lnTo>
                  <a:lnTo>
                    <a:pt x="283" y="397"/>
                  </a:lnTo>
                  <a:lnTo>
                    <a:pt x="285" y="403"/>
                  </a:lnTo>
                  <a:lnTo>
                    <a:pt x="281" y="406"/>
                  </a:lnTo>
                  <a:lnTo>
                    <a:pt x="279" y="408"/>
                  </a:lnTo>
                  <a:lnTo>
                    <a:pt x="277" y="412"/>
                  </a:lnTo>
                  <a:lnTo>
                    <a:pt x="277" y="415"/>
                  </a:lnTo>
                  <a:lnTo>
                    <a:pt x="279" y="417"/>
                  </a:lnTo>
                  <a:lnTo>
                    <a:pt x="283" y="421"/>
                  </a:lnTo>
                  <a:lnTo>
                    <a:pt x="290" y="423"/>
                  </a:lnTo>
                  <a:lnTo>
                    <a:pt x="298" y="425"/>
                  </a:lnTo>
                  <a:lnTo>
                    <a:pt x="312" y="425"/>
                  </a:lnTo>
                  <a:lnTo>
                    <a:pt x="325" y="427"/>
                  </a:lnTo>
                  <a:lnTo>
                    <a:pt x="336" y="428"/>
                  </a:lnTo>
                  <a:lnTo>
                    <a:pt x="342" y="430"/>
                  </a:lnTo>
                  <a:lnTo>
                    <a:pt x="355" y="425"/>
                  </a:lnTo>
                  <a:lnTo>
                    <a:pt x="373" y="415"/>
                  </a:lnTo>
                  <a:lnTo>
                    <a:pt x="396" y="406"/>
                  </a:lnTo>
                  <a:lnTo>
                    <a:pt x="407" y="401"/>
                  </a:lnTo>
                  <a:lnTo>
                    <a:pt x="407" y="391"/>
                  </a:lnTo>
                  <a:lnTo>
                    <a:pt x="403" y="386"/>
                  </a:lnTo>
                  <a:lnTo>
                    <a:pt x="399" y="382"/>
                  </a:lnTo>
                  <a:lnTo>
                    <a:pt x="396" y="379"/>
                  </a:lnTo>
                  <a:lnTo>
                    <a:pt x="394" y="373"/>
                  </a:lnTo>
                  <a:lnTo>
                    <a:pt x="396" y="367"/>
                  </a:lnTo>
                  <a:lnTo>
                    <a:pt x="388" y="360"/>
                  </a:lnTo>
                  <a:lnTo>
                    <a:pt x="386" y="354"/>
                  </a:lnTo>
                  <a:lnTo>
                    <a:pt x="386" y="351"/>
                  </a:lnTo>
                  <a:lnTo>
                    <a:pt x="388" y="349"/>
                  </a:lnTo>
                  <a:lnTo>
                    <a:pt x="392" y="345"/>
                  </a:lnTo>
                  <a:lnTo>
                    <a:pt x="399" y="343"/>
                  </a:lnTo>
                  <a:lnTo>
                    <a:pt x="403" y="338"/>
                  </a:lnTo>
                  <a:lnTo>
                    <a:pt x="407" y="334"/>
                  </a:lnTo>
                  <a:lnTo>
                    <a:pt x="410" y="332"/>
                  </a:lnTo>
                  <a:lnTo>
                    <a:pt x="414" y="332"/>
                  </a:lnTo>
                  <a:lnTo>
                    <a:pt x="423" y="336"/>
                  </a:lnTo>
                  <a:lnTo>
                    <a:pt x="433" y="343"/>
                  </a:lnTo>
                  <a:lnTo>
                    <a:pt x="436" y="342"/>
                  </a:lnTo>
                  <a:lnTo>
                    <a:pt x="440" y="342"/>
                  </a:lnTo>
                  <a:lnTo>
                    <a:pt x="445" y="340"/>
                  </a:lnTo>
                  <a:lnTo>
                    <a:pt x="451" y="343"/>
                  </a:lnTo>
                  <a:lnTo>
                    <a:pt x="455" y="340"/>
                  </a:lnTo>
                  <a:lnTo>
                    <a:pt x="460" y="340"/>
                  </a:lnTo>
                  <a:lnTo>
                    <a:pt x="464" y="340"/>
                  </a:lnTo>
                  <a:lnTo>
                    <a:pt x="469" y="340"/>
                  </a:lnTo>
                  <a:lnTo>
                    <a:pt x="473" y="329"/>
                  </a:lnTo>
                  <a:lnTo>
                    <a:pt x="479" y="318"/>
                  </a:lnTo>
                  <a:lnTo>
                    <a:pt x="482" y="316"/>
                  </a:lnTo>
                  <a:lnTo>
                    <a:pt x="486" y="316"/>
                  </a:lnTo>
                  <a:lnTo>
                    <a:pt x="492" y="318"/>
                  </a:lnTo>
                  <a:lnTo>
                    <a:pt x="495" y="319"/>
                  </a:lnTo>
                  <a:lnTo>
                    <a:pt x="506" y="325"/>
                  </a:lnTo>
                  <a:lnTo>
                    <a:pt x="514" y="332"/>
                  </a:lnTo>
                  <a:lnTo>
                    <a:pt x="527" y="340"/>
                  </a:lnTo>
                  <a:lnTo>
                    <a:pt x="536" y="347"/>
                  </a:lnTo>
                  <a:lnTo>
                    <a:pt x="543" y="358"/>
                  </a:lnTo>
                  <a:lnTo>
                    <a:pt x="551" y="371"/>
                  </a:lnTo>
                  <a:lnTo>
                    <a:pt x="549" y="377"/>
                  </a:lnTo>
                  <a:lnTo>
                    <a:pt x="543" y="379"/>
                  </a:lnTo>
                  <a:lnTo>
                    <a:pt x="542" y="380"/>
                  </a:lnTo>
                  <a:lnTo>
                    <a:pt x="542" y="382"/>
                  </a:lnTo>
                  <a:lnTo>
                    <a:pt x="542" y="384"/>
                  </a:lnTo>
                  <a:lnTo>
                    <a:pt x="543" y="388"/>
                  </a:lnTo>
                  <a:lnTo>
                    <a:pt x="551" y="386"/>
                  </a:lnTo>
                  <a:lnTo>
                    <a:pt x="558" y="388"/>
                  </a:lnTo>
                  <a:lnTo>
                    <a:pt x="564" y="391"/>
                  </a:lnTo>
                  <a:lnTo>
                    <a:pt x="571" y="401"/>
                  </a:lnTo>
                  <a:lnTo>
                    <a:pt x="571" y="406"/>
                  </a:lnTo>
                  <a:lnTo>
                    <a:pt x="569" y="410"/>
                  </a:lnTo>
                  <a:lnTo>
                    <a:pt x="567" y="412"/>
                  </a:lnTo>
                  <a:lnTo>
                    <a:pt x="564" y="414"/>
                  </a:lnTo>
                  <a:lnTo>
                    <a:pt x="556" y="415"/>
                  </a:lnTo>
                  <a:lnTo>
                    <a:pt x="547" y="417"/>
                  </a:lnTo>
                  <a:lnTo>
                    <a:pt x="547" y="423"/>
                  </a:lnTo>
                  <a:lnTo>
                    <a:pt x="549" y="430"/>
                  </a:lnTo>
                  <a:lnTo>
                    <a:pt x="553" y="434"/>
                  </a:lnTo>
                  <a:lnTo>
                    <a:pt x="556" y="438"/>
                  </a:lnTo>
                  <a:lnTo>
                    <a:pt x="560" y="439"/>
                  </a:lnTo>
                  <a:lnTo>
                    <a:pt x="567" y="441"/>
                  </a:lnTo>
                  <a:lnTo>
                    <a:pt x="569" y="438"/>
                  </a:lnTo>
                  <a:lnTo>
                    <a:pt x="569" y="436"/>
                  </a:lnTo>
                  <a:lnTo>
                    <a:pt x="569" y="432"/>
                  </a:lnTo>
                  <a:lnTo>
                    <a:pt x="567" y="430"/>
                  </a:lnTo>
                  <a:lnTo>
                    <a:pt x="564" y="428"/>
                  </a:lnTo>
                  <a:lnTo>
                    <a:pt x="562" y="425"/>
                  </a:lnTo>
                  <a:lnTo>
                    <a:pt x="566" y="423"/>
                  </a:lnTo>
                  <a:lnTo>
                    <a:pt x="573" y="425"/>
                  </a:lnTo>
                  <a:lnTo>
                    <a:pt x="582" y="427"/>
                  </a:lnTo>
                  <a:lnTo>
                    <a:pt x="588" y="432"/>
                  </a:lnTo>
                  <a:lnTo>
                    <a:pt x="586" y="445"/>
                  </a:lnTo>
                  <a:lnTo>
                    <a:pt x="586" y="456"/>
                  </a:lnTo>
                  <a:lnTo>
                    <a:pt x="588" y="462"/>
                  </a:lnTo>
                  <a:lnTo>
                    <a:pt x="593" y="465"/>
                  </a:lnTo>
                  <a:lnTo>
                    <a:pt x="601" y="471"/>
                  </a:lnTo>
                  <a:lnTo>
                    <a:pt x="608" y="475"/>
                  </a:lnTo>
                  <a:lnTo>
                    <a:pt x="628" y="484"/>
                  </a:lnTo>
                  <a:lnTo>
                    <a:pt x="647" y="493"/>
                  </a:lnTo>
                  <a:lnTo>
                    <a:pt x="651" y="489"/>
                  </a:lnTo>
                  <a:lnTo>
                    <a:pt x="651" y="484"/>
                  </a:lnTo>
                  <a:lnTo>
                    <a:pt x="662" y="489"/>
                  </a:lnTo>
                  <a:lnTo>
                    <a:pt x="675" y="497"/>
                  </a:lnTo>
                  <a:lnTo>
                    <a:pt x="671" y="471"/>
                  </a:lnTo>
                  <a:lnTo>
                    <a:pt x="669" y="445"/>
                  </a:lnTo>
                  <a:lnTo>
                    <a:pt x="667" y="432"/>
                  </a:lnTo>
                  <a:lnTo>
                    <a:pt x="660" y="415"/>
                  </a:lnTo>
                  <a:lnTo>
                    <a:pt x="658" y="406"/>
                  </a:lnTo>
                  <a:lnTo>
                    <a:pt x="656" y="397"/>
                  </a:lnTo>
                  <a:lnTo>
                    <a:pt x="656" y="393"/>
                  </a:lnTo>
                  <a:lnTo>
                    <a:pt x="658" y="391"/>
                  </a:lnTo>
                  <a:lnTo>
                    <a:pt x="660" y="388"/>
                  </a:lnTo>
                  <a:lnTo>
                    <a:pt x="662" y="386"/>
                  </a:lnTo>
                  <a:lnTo>
                    <a:pt x="673" y="395"/>
                  </a:lnTo>
                  <a:lnTo>
                    <a:pt x="689" y="408"/>
                  </a:lnTo>
                  <a:lnTo>
                    <a:pt x="699" y="408"/>
                  </a:lnTo>
                  <a:lnTo>
                    <a:pt x="710" y="408"/>
                  </a:lnTo>
                  <a:lnTo>
                    <a:pt x="719" y="406"/>
                  </a:lnTo>
                  <a:lnTo>
                    <a:pt x="728" y="403"/>
                  </a:lnTo>
                  <a:lnTo>
                    <a:pt x="728" y="390"/>
                  </a:lnTo>
                  <a:lnTo>
                    <a:pt x="732" y="375"/>
                  </a:lnTo>
                  <a:lnTo>
                    <a:pt x="737" y="369"/>
                  </a:lnTo>
                  <a:lnTo>
                    <a:pt x="743" y="364"/>
                  </a:lnTo>
                  <a:lnTo>
                    <a:pt x="748" y="362"/>
                  </a:lnTo>
                  <a:lnTo>
                    <a:pt x="754" y="360"/>
                  </a:lnTo>
                  <a:lnTo>
                    <a:pt x="758" y="360"/>
                  </a:lnTo>
                  <a:lnTo>
                    <a:pt x="763" y="362"/>
                  </a:lnTo>
                  <a:lnTo>
                    <a:pt x="767" y="364"/>
                  </a:lnTo>
                  <a:lnTo>
                    <a:pt x="772" y="367"/>
                  </a:lnTo>
                  <a:lnTo>
                    <a:pt x="791" y="369"/>
                  </a:lnTo>
                  <a:lnTo>
                    <a:pt x="809" y="375"/>
                  </a:lnTo>
                  <a:lnTo>
                    <a:pt x="815" y="371"/>
                  </a:lnTo>
                  <a:lnTo>
                    <a:pt x="820" y="367"/>
                  </a:lnTo>
                  <a:lnTo>
                    <a:pt x="822" y="362"/>
                  </a:lnTo>
                  <a:lnTo>
                    <a:pt x="822" y="356"/>
                  </a:lnTo>
                  <a:lnTo>
                    <a:pt x="819" y="356"/>
                  </a:lnTo>
                  <a:lnTo>
                    <a:pt x="815" y="360"/>
                  </a:lnTo>
                  <a:lnTo>
                    <a:pt x="811" y="362"/>
                  </a:lnTo>
                  <a:lnTo>
                    <a:pt x="809" y="362"/>
                  </a:lnTo>
                  <a:lnTo>
                    <a:pt x="808" y="358"/>
                  </a:lnTo>
                  <a:lnTo>
                    <a:pt x="804" y="353"/>
                  </a:lnTo>
                  <a:lnTo>
                    <a:pt x="802" y="336"/>
                  </a:lnTo>
                  <a:lnTo>
                    <a:pt x="804" y="332"/>
                  </a:lnTo>
                  <a:lnTo>
                    <a:pt x="809" y="330"/>
                  </a:lnTo>
                  <a:lnTo>
                    <a:pt x="824" y="327"/>
                  </a:lnTo>
                  <a:lnTo>
                    <a:pt x="828" y="329"/>
                  </a:lnTo>
                  <a:lnTo>
                    <a:pt x="830" y="332"/>
                  </a:lnTo>
                  <a:lnTo>
                    <a:pt x="832" y="332"/>
                  </a:lnTo>
                  <a:lnTo>
                    <a:pt x="833" y="334"/>
                  </a:lnTo>
                  <a:lnTo>
                    <a:pt x="835" y="334"/>
                  </a:lnTo>
                  <a:lnTo>
                    <a:pt x="839" y="332"/>
                  </a:lnTo>
                  <a:lnTo>
                    <a:pt x="841" y="329"/>
                  </a:lnTo>
                  <a:lnTo>
                    <a:pt x="841" y="323"/>
                  </a:lnTo>
                  <a:lnTo>
                    <a:pt x="839" y="318"/>
                  </a:lnTo>
                  <a:lnTo>
                    <a:pt x="835" y="312"/>
                  </a:lnTo>
                  <a:lnTo>
                    <a:pt x="826" y="303"/>
                  </a:lnTo>
                  <a:lnTo>
                    <a:pt x="817" y="295"/>
                  </a:lnTo>
                  <a:lnTo>
                    <a:pt x="819" y="281"/>
                  </a:lnTo>
                  <a:lnTo>
                    <a:pt x="819" y="266"/>
                  </a:lnTo>
                  <a:lnTo>
                    <a:pt x="806" y="273"/>
                  </a:lnTo>
                  <a:lnTo>
                    <a:pt x="795" y="282"/>
                  </a:lnTo>
                  <a:lnTo>
                    <a:pt x="791" y="279"/>
                  </a:lnTo>
                  <a:lnTo>
                    <a:pt x="791" y="273"/>
                  </a:lnTo>
                  <a:lnTo>
                    <a:pt x="793" y="268"/>
                  </a:lnTo>
                  <a:lnTo>
                    <a:pt x="796" y="264"/>
                  </a:lnTo>
                  <a:lnTo>
                    <a:pt x="796" y="257"/>
                  </a:lnTo>
                  <a:lnTo>
                    <a:pt x="795" y="249"/>
                  </a:lnTo>
                  <a:lnTo>
                    <a:pt x="800" y="244"/>
                  </a:lnTo>
                  <a:lnTo>
                    <a:pt x="808" y="240"/>
                  </a:lnTo>
                  <a:lnTo>
                    <a:pt x="813" y="236"/>
                  </a:lnTo>
                  <a:lnTo>
                    <a:pt x="817" y="229"/>
                  </a:lnTo>
                  <a:lnTo>
                    <a:pt x="808" y="216"/>
                  </a:lnTo>
                  <a:lnTo>
                    <a:pt x="796" y="207"/>
                  </a:lnTo>
                  <a:lnTo>
                    <a:pt x="811" y="203"/>
                  </a:lnTo>
                  <a:lnTo>
                    <a:pt x="835" y="201"/>
                  </a:lnTo>
                  <a:lnTo>
                    <a:pt x="863" y="184"/>
                  </a:lnTo>
                  <a:lnTo>
                    <a:pt x="885" y="172"/>
                  </a:lnTo>
                  <a:lnTo>
                    <a:pt x="909" y="164"/>
                  </a:lnTo>
                  <a:lnTo>
                    <a:pt x="926" y="157"/>
                  </a:lnTo>
                  <a:lnTo>
                    <a:pt x="931" y="153"/>
                  </a:lnTo>
                  <a:lnTo>
                    <a:pt x="937" y="153"/>
                  </a:lnTo>
                  <a:lnTo>
                    <a:pt x="941" y="151"/>
                  </a:lnTo>
                  <a:lnTo>
                    <a:pt x="942" y="153"/>
                  </a:lnTo>
                  <a:lnTo>
                    <a:pt x="928" y="166"/>
                  </a:lnTo>
                  <a:lnTo>
                    <a:pt x="907" y="181"/>
                  </a:lnTo>
                  <a:lnTo>
                    <a:pt x="905" y="190"/>
                  </a:lnTo>
                  <a:lnTo>
                    <a:pt x="902" y="197"/>
                  </a:lnTo>
                  <a:lnTo>
                    <a:pt x="907" y="201"/>
                  </a:lnTo>
                  <a:lnTo>
                    <a:pt x="911" y="201"/>
                  </a:lnTo>
                  <a:lnTo>
                    <a:pt x="913" y="201"/>
                  </a:lnTo>
                  <a:lnTo>
                    <a:pt x="917" y="199"/>
                  </a:lnTo>
                  <a:lnTo>
                    <a:pt x="922" y="192"/>
                  </a:lnTo>
                  <a:lnTo>
                    <a:pt x="926" y="183"/>
                  </a:lnTo>
                  <a:lnTo>
                    <a:pt x="929" y="177"/>
                  </a:lnTo>
                  <a:lnTo>
                    <a:pt x="939" y="170"/>
                  </a:lnTo>
                  <a:lnTo>
                    <a:pt x="942" y="166"/>
                  </a:lnTo>
                  <a:lnTo>
                    <a:pt x="946" y="164"/>
                  </a:lnTo>
                  <a:lnTo>
                    <a:pt x="950" y="164"/>
                  </a:lnTo>
                  <a:lnTo>
                    <a:pt x="952" y="164"/>
                  </a:lnTo>
                  <a:lnTo>
                    <a:pt x="953" y="177"/>
                  </a:lnTo>
                  <a:lnTo>
                    <a:pt x="952" y="190"/>
                  </a:lnTo>
                  <a:lnTo>
                    <a:pt x="948" y="188"/>
                  </a:lnTo>
                  <a:lnTo>
                    <a:pt x="946" y="183"/>
                  </a:lnTo>
                  <a:lnTo>
                    <a:pt x="944" y="181"/>
                  </a:lnTo>
                  <a:lnTo>
                    <a:pt x="942" y="181"/>
                  </a:lnTo>
                  <a:lnTo>
                    <a:pt x="941" y="183"/>
                  </a:lnTo>
                  <a:lnTo>
                    <a:pt x="937" y="186"/>
                  </a:lnTo>
                  <a:lnTo>
                    <a:pt x="944" y="192"/>
                  </a:lnTo>
                  <a:lnTo>
                    <a:pt x="944" y="196"/>
                  </a:lnTo>
                  <a:lnTo>
                    <a:pt x="942" y="201"/>
                  </a:lnTo>
                  <a:lnTo>
                    <a:pt x="933" y="210"/>
                  </a:lnTo>
                  <a:lnTo>
                    <a:pt x="939" y="216"/>
                  </a:lnTo>
                  <a:lnTo>
                    <a:pt x="944" y="227"/>
                  </a:lnTo>
                  <a:lnTo>
                    <a:pt x="948" y="227"/>
                  </a:lnTo>
                  <a:lnTo>
                    <a:pt x="952" y="225"/>
                  </a:lnTo>
                  <a:lnTo>
                    <a:pt x="955" y="221"/>
                  </a:lnTo>
                  <a:lnTo>
                    <a:pt x="957" y="216"/>
                  </a:lnTo>
                  <a:lnTo>
                    <a:pt x="959" y="212"/>
                  </a:lnTo>
                  <a:lnTo>
                    <a:pt x="963" y="209"/>
                  </a:lnTo>
                  <a:lnTo>
                    <a:pt x="965" y="201"/>
                  </a:lnTo>
                  <a:lnTo>
                    <a:pt x="965" y="186"/>
                  </a:lnTo>
                  <a:lnTo>
                    <a:pt x="961" y="166"/>
                  </a:lnTo>
                  <a:lnTo>
                    <a:pt x="959" y="149"/>
                  </a:lnTo>
                  <a:lnTo>
                    <a:pt x="959" y="142"/>
                  </a:lnTo>
                  <a:lnTo>
                    <a:pt x="961" y="136"/>
                  </a:lnTo>
                  <a:lnTo>
                    <a:pt x="966" y="133"/>
                  </a:lnTo>
                  <a:lnTo>
                    <a:pt x="974" y="129"/>
                  </a:lnTo>
                  <a:lnTo>
                    <a:pt x="992" y="122"/>
                  </a:lnTo>
                  <a:lnTo>
                    <a:pt x="1011" y="116"/>
                  </a:lnTo>
                  <a:lnTo>
                    <a:pt x="1020" y="114"/>
                  </a:lnTo>
                  <a:lnTo>
                    <a:pt x="1029" y="114"/>
                  </a:lnTo>
                  <a:lnTo>
                    <a:pt x="1037" y="116"/>
                  </a:lnTo>
                  <a:lnTo>
                    <a:pt x="1042" y="124"/>
                  </a:lnTo>
                  <a:lnTo>
                    <a:pt x="1040" y="127"/>
                  </a:lnTo>
                  <a:lnTo>
                    <a:pt x="1040" y="131"/>
                  </a:lnTo>
                  <a:lnTo>
                    <a:pt x="1038" y="133"/>
                  </a:lnTo>
                  <a:lnTo>
                    <a:pt x="1037" y="135"/>
                  </a:lnTo>
                  <a:lnTo>
                    <a:pt x="1031" y="135"/>
                  </a:lnTo>
                  <a:lnTo>
                    <a:pt x="1026" y="138"/>
                  </a:lnTo>
                  <a:lnTo>
                    <a:pt x="1022" y="142"/>
                  </a:lnTo>
                  <a:lnTo>
                    <a:pt x="1020" y="148"/>
                  </a:lnTo>
                  <a:lnTo>
                    <a:pt x="1020" y="149"/>
                  </a:lnTo>
                  <a:lnTo>
                    <a:pt x="1022" y="151"/>
                  </a:lnTo>
                  <a:lnTo>
                    <a:pt x="1024" y="151"/>
                  </a:lnTo>
                  <a:lnTo>
                    <a:pt x="1026" y="151"/>
                  </a:lnTo>
                  <a:lnTo>
                    <a:pt x="1040" y="148"/>
                  </a:lnTo>
                  <a:lnTo>
                    <a:pt x="1059" y="144"/>
                  </a:lnTo>
                  <a:lnTo>
                    <a:pt x="1064" y="140"/>
                  </a:lnTo>
                  <a:lnTo>
                    <a:pt x="1066" y="138"/>
                  </a:lnTo>
                  <a:lnTo>
                    <a:pt x="1070" y="140"/>
                  </a:lnTo>
                  <a:lnTo>
                    <a:pt x="1074" y="146"/>
                  </a:lnTo>
                  <a:lnTo>
                    <a:pt x="1079" y="136"/>
                  </a:lnTo>
                  <a:lnTo>
                    <a:pt x="1085" y="133"/>
                  </a:lnTo>
                  <a:lnTo>
                    <a:pt x="1088" y="131"/>
                  </a:lnTo>
                  <a:lnTo>
                    <a:pt x="1092" y="131"/>
                  </a:lnTo>
                  <a:lnTo>
                    <a:pt x="1096" y="131"/>
                  </a:lnTo>
                  <a:lnTo>
                    <a:pt x="1101" y="135"/>
                  </a:lnTo>
                  <a:lnTo>
                    <a:pt x="1105" y="133"/>
                  </a:lnTo>
                  <a:lnTo>
                    <a:pt x="1110" y="131"/>
                  </a:lnTo>
                  <a:lnTo>
                    <a:pt x="1118" y="135"/>
                  </a:lnTo>
                  <a:lnTo>
                    <a:pt x="1131" y="138"/>
                  </a:lnTo>
                  <a:lnTo>
                    <a:pt x="1129" y="142"/>
                  </a:lnTo>
                  <a:lnTo>
                    <a:pt x="1127" y="146"/>
                  </a:lnTo>
                  <a:lnTo>
                    <a:pt x="1136" y="146"/>
                  </a:lnTo>
                  <a:lnTo>
                    <a:pt x="1142" y="144"/>
                  </a:lnTo>
                  <a:lnTo>
                    <a:pt x="1147" y="138"/>
                  </a:lnTo>
                  <a:lnTo>
                    <a:pt x="1151" y="133"/>
                  </a:lnTo>
                  <a:lnTo>
                    <a:pt x="1155" y="125"/>
                  </a:lnTo>
                  <a:lnTo>
                    <a:pt x="1160" y="120"/>
                  </a:lnTo>
                  <a:lnTo>
                    <a:pt x="1166" y="114"/>
                  </a:lnTo>
                  <a:lnTo>
                    <a:pt x="1171" y="111"/>
                  </a:lnTo>
                  <a:lnTo>
                    <a:pt x="1179" y="87"/>
                  </a:lnTo>
                  <a:lnTo>
                    <a:pt x="1186" y="70"/>
                  </a:lnTo>
                  <a:lnTo>
                    <a:pt x="1194" y="59"/>
                  </a:lnTo>
                  <a:lnTo>
                    <a:pt x="1201" y="51"/>
                  </a:lnTo>
                  <a:lnTo>
                    <a:pt x="1214" y="42"/>
                  </a:lnTo>
                  <a:lnTo>
                    <a:pt x="1221" y="37"/>
                  </a:lnTo>
                  <a:lnTo>
                    <a:pt x="1221" y="29"/>
                  </a:lnTo>
                  <a:lnTo>
                    <a:pt x="1227" y="24"/>
                  </a:lnTo>
                  <a:lnTo>
                    <a:pt x="1232" y="18"/>
                  </a:lnTo>
                  <a:lnTo>
                    <a:pt x="1242" y="16"/>
                  </a:lnTo>
                  <a:lnTo>
                    <a:pt x="1260" y="13"/>
                  </a:lnTo>
                  <a:lnTo>
                    <a:pt x="1277" y="7"/>
                  </a:lnTo>
                  <a:lnTo>
                    <a:pt x="1290" y="7"/>
                  </a:lnTo>
                  <a:lnTo>
                    <a:pt x="1306" y="7"/>
                  </a:lnTo>
                  <a:lnTo>
                    <a:pt x="1314" y="11"/>
                  </a:lnTo>
                  <a:lnTo>
                    <a:pt x="1321" y="14"/>
                  </a:lnTo>
                  <a:lnTo>
                    <a:pt x="1327" y="22"/>
                  </a:lnTo>
                  <a:lnTo>
                    <a:pt x="1330" y="33"/>
                  </a:lnTo>
                  <a:lnTo>
                    <a:pt x="1332" y="37"/>
                  </a:lnTo>
                  <a:lnTo>
                    <a:pt x="1336" y="40"/>
                  </a:lnTo>
                  <a:lnTo>
                    <a:pt x="1340" y="44"/>
                  </a:lnTo>
                  <a:lnTo>
                    <a:pt x="1343" y="46"/>
                  </a:lnTo>
                  <a:lnTo>
                    <a:pt x="1351" y="48"/>
                  </a:lnTo>
                  <a:lnTo>
                    <a:pt x="1358" y="48"/>
                  </a:lnTo>
                  <a:lnTo>
                    <a:pt x="1369" y="40"/>
                  </a:lnTo>
                  <a:lnTo>
                    <a:pt x="1375" y="39"/>
                  </a:lnTo>
                  <a:lnTo>
                    <a:pt x="1384" y="39"/>
                  </a:lnTo>
                  <a:lnTo>
                    <a:pt x="1395" y="40"/>
                  </a:lnTo>
                  <a:lnTo>
                    <a:pt x="1393" y="33"/>
                  </a:lnTo>
                  <a:lnTo>
                    <a:pt x="1395" y="24"/>
                  </a:lnTo>
                  <a:lnTo>
                    <a:pt x="1404" y="27"/>
                  </a:lnTo>
                  <a:lnTo>
                    <a:pt x="1413" y="31"/>
                  </a:lnTo>
                  <a:lnTo>
                    <a:pt x="1406" y="11"/>
                  </a:lnTo>
                  <a:lnTo>
                    <a:pt x="1404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89" name="Freeform 21"/>
            <p:cNvSpPr>
              <a:spLocks/>
            </p:cNvSpPr>
            <p:nvPr/>
          </p:nvSpPr>
          <p:spPr bwMode="auto">
            <a:xfrm>
              <a:off x="6064409" y="2822285"/>
              <a:ext cx="128883" cy="103816"/>
            </a:xfrm>
            <a:custGeom>
              <a:avLst/>
              <a:gdLst>
                <a:gd name="T0" fmla="*/ 7 w 247"/>
                <a:gd name="T1" fmla="*/ 141 h 204"/>
                <a:gd name="T2" fmla="*/ 20 w 247"/>
                <a:gd name="T3" fmla="*/ 157 h 204"/>
                <a:gd name="T4" fmla="*/ 35 w 247"/>
                <a:gd name="T5" fmla="*/ 174 h 204"/>
                <a:gd name="T6" fmla="*/ 37 w 247"/>
                <a:gd name="T7" fmla="*/ 187 h 204"/>
                <a:gd name="T8" fmla="*/ 50 w 247"/>
                <a:gd name="T9" fmla="*/ 192 h 204"/>
                <a:gd name="T10" fmla="*/ 64 w 247"/>
                <a:gd name="T11" fmla="*/ 198 h 204"/>
                <a:gd name="T12" fmla="*/ 87 w 247"/>
                <a:gd name="T13" fmla="*/ 194 h 204"/>
                <a:gd name="T14" fmla="*/ 107 w 247"/>
                <a:gd name="T15" fmla="*/ 178 h 204"/>
                <a:gd name="T16" fmla="*/ 136 w 247"/>
                <a:gd name="T17" fmla="*/ 148 h 204"/>
                <a:gd name="T18" fmla="*/ 153 w 247"/>
                <a:gd name="T19" fmla="*/ 120 h 204"/>
                <a:gd name="T20" fmla="*/ 173 w 247"/>
                <a:gd name="T21" fmla="*/ 102 h 204"/>
                <a:gd name="T22" fmla="*/ 186 w 247"/>
                <a:gd name="T23" fmla="*/ 82 h 204"/>
                <a:gd name="T24" fmla="*/ 207 w 247"/>
                <a:gd name="T25" fmla="*/ 58 h 204"/>
                <a:gd name="T26" fmla="*/ 223 w 247"/>
                <a:gd name="T27" fmla="*/ 39 h 204"/>
                <a:gd name="T28" fmla="*/ 234 w 247"/>
                <a:gd name="T29" fmla="*/ 32 h 204"/>
                <a:gd name="T30" fmla="*/ 245 w 247"/>
                <a:gd name="T31" fmla="*/ 11 h 204"/>
                <a:gd name="T32" fmla="*/ 247 w 247"/>
                <a:gd name="T33" fmla="*/ 2 h 204"/>
                <a:gd name="T34" fmla="*/ 234 w 247"/>
                <a:gd name="T35" fmla="*/ 2 h 204"/>
                <a:gd name="T36" fmla="*/ 218 w 247"/>
                <a:gd name="T37" fmla="*/ 8 h 204"/>
                <a:gd name="T38" fmla="*/ 199 w 247"/>
                <a:gd name="T39" fmla="*/ 21 h 204"/>
                <a:gd name="T40" fmla="*/ 184 w 247"/>
                <a:gd name="T41" fmla="*/ 41 h 204"/>
                <a:gd name="T42" fmla="*/ 171 w 247"/>
                <a:gd name="T43" fmla="*/ 56 h 204"/>
                <a:gd name="T44" fmla="*/ 160 w 247"/>
                <a:gd name="T45" fmla="*/ 58 h 204"/>
                <a:gd name="T46" fmla="*/ 146 w 247"/>
                <a:gd name="T47" fmla="*/ 54 h 204"/>
                <a:gd name="T48" fmla="*/ 123 w 247"/>
                <a:gd name="T49" fmla="*/ 41 h 204"/>
                <a:gd name="T50" fmla="*/ 98 w 247"/>
                <a:gd name="T51" fmla="*/ 39 h 204"/>
                <a:gd name="T52" fmla="*/ 70 w 247"/>
                <a:gd name="T53" fmla="*/ 41 h 204"/>
                <a:gd name="T54" fmla="*/ 53 w 247"/>
                <a:gd name="T55" fmla="*/ 52 h 204"/>
                <a:gd name="T56" fmla="*/ 37 w 247"/>
                <a:gd name="T57" fmla="*/ 65 h 204"/>
                <a:gd name="T58" fmla="*/ 26 w 247"/>
                <a:gd name="T59" fmla="*/ 63 h 204"/>
                <a:gd name="T60" fmla="*/ 16 w 247"/>
                <a:gd name="T61" fmla="*/ 78 h 204"/>
                <a:gd name="T62" fmla="*/ 11 w 247"/>
                <a:gd name="T63" fmla="*/ 107 h 204"/>
                <a:gd name="T64" fmla="*/ 5 w 247"/>
                <a:gd name="T65" fmla="*/ 122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7"/>
                <a:gd name="T100" fmla="*/ 0 h 204"/>
                <a:gd name="T101" fmla="*/ 247 w 247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7" h="204">
                  <a:moveTo>
                    <a:pt x="0" y="130"/>
                  </a:moveTo>
                  <a:lnTo>
                    <a:pt x="7" y="141"/>
                  </a:lnTo>
                  <a:lnTo>
                    <a:pt x="13" y="150"/>
                  </a:lnTo>
                  <a:lnTo>
                    <a:pt x="20" y="157"/>
                  </a:lnTo>
                  <a:lnTo>
                    <a:pt x="33" y="167"/>
                  </a:lnTo>
                  <a:lnTo>
                    <a:pt x="35" y="174"/>
                  </a:lnTo>
                  <a:lnTo>
                    <a:pt x="35" y="180"/>
                  </a:lnTo>
                  <a:lnTo>
                    <a:pt x="37" y="187"/>
                  </a:lnTo>
                  <a:lnTo>
                    <a:pt x="44" y="192"/>
                  </a:lnTo>
                  <a:lnTo>
                    <a:pt x="50" y="192"/>
                  </a:lnTo>
                  <a:lnTo>
                    <a:pt x="57" y="192"/>
                  </a:lnTo>
                  <a:lnTo>
                    <a:pt x="64" y="198"/>
                  </a:lnTo>
                  <a:lnTo>
                    <a:pt x="79" y="204"/>
                  </a:lnTo>
                  <a:lnTo>
                    <a:pt x="87" y="194"/>
                  </a:lnTo>
                  <a:lnTo>
                    <a:pt x="92" y="187"/>
                  </a:lnTo>
                  <a:lnTo>
                    <a:pt x="107" y="178"/>
                  </a:lnTo>
                  <a:lnTo>
                    <a:pt x="133" y="165"/>
                  </a:lnTo>
                  <a:lnTo>
                    <a:pt x="136" y="148"/>
                  </a:lnTo>
                  <a:lnTo>
                    <a:pt x="142" y="130"/>
                  </a:lnTo>
                  <a:lnTo>
                    <a:pt x="153" y="120"/>
                  </a:lnTo>
                  <a:lnTo>
                    <a:pt x="168" y="115"/>
                  </a:lnTo>
                  <a:lnTo>
                    <a:pt x="173" y="102"/>
                  </a:lnTo>
                  <a:lnTo>
                    <a:pt x="179" y="91"/>
                  </a:lnTo>
                  <a:lnTo>
                    <a:pt x="186" y="82"/>
                  </a:lnTo>
                  <a:lnTo>
                    <a:pt x="192" y="72"/>
                  </a:lnTo>
                  <a:lnTo>
                    <a:pt x="207" y="58"/>
                  </a:lnTo>
                  <a:lnTo>
                    <a:pt x="218" y="39"/>
                  </a:lnTo>
                  <a:lnTo>
                    <a:pt x="223" y="39"/>
                  </a:lnTo>
                  <a:lnTo>
                    <a:pt x="229" y="39"/>
                  </a:lnTo>
                  <a:lnTo>
                    <a:pt x="234" y="32"/>
                  </a:lnTo>
                  <a:lnTo>
                    <a:pt x="242" y="19"/>
                  </a:lnTo>
                  <a:lnTo>
                    <a:pt x="245" y="11"/>
                  </a:lnTo>
                  <a:lnTo>
                    <a:pt x="247" y="8"/>
                  </a:lnTo>
                  <a:lnTo>
                    <a:pt x="247" y="2"/>
                  </a:lnTo>
                  <a:lnTo>
                    <a:pt x="244" y="0"/>
                  </a:lnTo>
                  <a:lnTo>
                    <a:pt x="234" y="2"/>
                  </a:lnTo>
                  <a:lnTo>
                    <a:pt x="225" y="6"/>
                  </a:lnTo>
                  <a:lnTo>
                    <a:pt x="218" y="8"/>
                  </a:lnTo>
                  <a:lnTo>
                    <a:pt x="212" y="11"/>
                  </a:lnTo>
                  <a:lnTo>
                    <a:pt x="199" y="21"/>
                  </a:lnTo>
                  <a:lnTo>
                    <a:pt x="192" y="32"/>
                  </a:lnTo>
                  <a:lnTo>
                    <a:pt x="184" y="41"/>
                  </a:lnTo>
                  <a:lnTo>
                    <a:pt x="177" y="48"/>
                  </a:lnTo>
                  <a:lnTo>
                    <a:pt x="171" y="56"/>
                  </a:lnTo>
                  <a:lnTo>
                    <a:pt x="166" y="58"/>
                  </a:lnTo>
                  <a:lnTo>
                    <a:pt x="160" y="58"/>
                  </a:lnTo>
                  <a:lnTo>
                    <a:pt x="153" y="56"/>
                  </a:lnTo>
                  <a:lnTo>
                    <a:pt x="146" y="54"/>
                  </a:lnTo>
                  <a:lnTo>
                    <a:pt x="138" y="48"/>
                  </a:lnTo>
                  <a:lnTo>
                    <a:pt x="123" y="41"/>
                  </a:lnTo>
                  <a:lnTo>
                    <a:pt x="111" y="34"/>
                  </a:lnTo>
                  <a:lnTo>
                    <a:pt x="98" y="39"/>
                  </a:lnTo>
                  <a:lnTo>
                    <a:pt x="85" y="46"/>
                  </a:lnTo>
                  <a:lnTo>
                    <a:pt x="70" y="41"/>
                  </a:lnTo>
                  <a:lnTo>
                    <a:pt x="61" y="39"/>
                  </a:lnTo>
                  <a:lnTo>
                    <a:pt x="53" y="52"/>
                  </a:lnTo>
                  <a:lnTo>
                    <a:pt x="42" y="63"/>
                  </a:lnTo>
                  <a:lnTo>
                    <a:pt x="37" y="65"/>
                  </a:lnTo>
                  <a:lnTo>
                    <a:pt x="31" y="63"/>
                  </a:lnTo>
                  <a:lnTo>
                    <a:pt x="26" y="63"/>
                  </a:lnTo>
                  <a:lnTo>
                    <a:pt x="22" y="59"/>
                  </a:lnTo>
                  <a:lnTo>
                    <a:pt x="16" y="78"/>
                  </a:lnTo>
                  <a:lnTo>
                    <a:pt x="13" y="98"/>
                  </a:lnTo>
                  <a:lnTo>
                    <a:pt x="11" y="107"/>
                  </a:lnTo>
                  <a:lnTo>
                    <a:pt x="9" y="115"/>
                  </a:lnTo>
                  <a:lnTo>
                    <a:pt x="5" y="122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0" name="Freeform 22"/>
            <p:cNvSpPr>
              <a:spLocks/>
            </p:cNvSpPr>
            <p:nvPr/>
          </p:nvSpPr>
          <p:spPr bwMode="auto">
            <a:xfrm>
              <a:off x="6155723" y="2793277"/>
              <a:ext cx="158103" cy="329260"/>
            </a:xfrm>
            <a:custGeom>
              <a:avLst/>
              <a:gdLst>
                <a:gd name="T0" fmla="*/ 93 w 303"/>
                <a:gd name="T1" fmla="*/ 277 h 647"/>
                <a:gd name="T2" fmla="*/ 96 w 303"/>
                <a:gd name="T3" fmla="*/ 292 h 647"/>
                <a:gd name="T4" fmla="*/ 85 w 303"/>
                <a:gd name="T5" fmla="*/ 323 h 647"/>
                <a:gd name="T6" fmla="*/ 93 w 303"/>
                <a:gd name="T7" fmla="*/ 353 h 647"/>
                <a:gd name="T8" fmla="*/ 94 w 303"/>
                <a:gd name="T9" fmla="*/ 370 h 647"/>
                <a:gd name="T10" fmla="*/ 91 w 303"/>
                <a:gd name="T11" fmla="*/ 392 h 647"/>
                <a:gd name="T12" fmla="*/ 57 w 303"/>
                <a:gd name="T13" fmla="*/ 408 h 647"/>
                <a:gd name="T14" fmla="*/ 24 w 303"/>
                <a:gd name="T15" fmla="*/ 425 h 647"/>
                <a:gd name="T16" fmla="*/ 0 w 303"/>
                <a:gd name="T17" fmla="*/ 462 h 647"/>
                <a:gd name="T18" fmla="*/ 32 w 303"/>
                <a:gd name="T19" fmla="*/ 501 h 647"/>
                <a:gd name="T20" fmla="*/ 56 w 303"/>
                <a:gd name="T21" fmla="*/ 560 h 647"/>
                <a:gd name="T22" fmla="*/ 69 w 303"/>
                <a:gd name="T23" fmla="*/ 610 h 647"/>
                <a:gd name="T24" fmla="*/ 33 w 303"/>
                <a:gd name="T25" fmla="*/ 621 h 647"/>
                <a:gd name="T26" fmla="*/ 37 w 303"/>
                <a:gd name="T27" fmla="*/ 630 h 647"/>
                <a:gd name="T28" fmla="*/ 59 w 303"/>
                <a:gd name="T29" fmla="*/ 647 h 647"/>
                <a:gd name="T30" fmla="*/ 89 w 303"/>
                <a:gd name="T31" fmla="*/ 619 h 647"/>
                <a:gd name="T32" fmla="*/ 96 w 303"/>
                <a:gd name="T33" fmla="*/ 588 h 647"/>
                <a:gd name="T34" fmla="*/ 98 w 303"/>
                <a:gd name="T35" fmla="*/ 571 h 647"/>
                <a:gd name="T36" fmla="*/ 113 w 303"/>
                <a:gd name="T37" fmla="*/ 562 h 647"/>
                <a:gd name="T38" fmla="*/ 122 w 303"/>
                <a:gd name="T39" fmla="*/ 556 h 647"/>
                <a:gd name="T40" fmla="*/ 131 w 303"/>
                <a:gd name="T41" fmla="*/ 556 h 647"/>
                <a:gd name="T42" fmla="*/ 135 w 303"/>
                <a:gd name="T43" fmla="*/ 577 h 647"/>
                <a:gd name="T44" fmla="*/ 165 w 303"/>
                <a:gd name="T45" fmla="*/ 571 h 647"/>
                <a:gd name="T46" fmla="*/ 192 w 303"/>
                <a:gd name="T47" fmla="*/ 560 h 647"/>
                <a:gd name="T48" fmla="*/ 220 w 303"/>
                <a:gd name="T49" fmla="*/ 536 h 647"/>
                <a:gd name="T50" fmla="*/ 248 w 303"/>
                <a:gd name="T51" fmla="*/ 493 h 647"/>
                <a:gd name="T52" fmla="*/ 274 w 303"/>
                <a:gd name="T53" fmla="*/ 431 h 647"/>
                <a:gd name="T54" fmla="*/ 270 w 303"/>
                <a:gd name="T55" fmla="*/ 388 h 647"/>
                <a:gd name="T56" fmla="*/ 287 w 303"/>
                <a:gd name="T57" fmla="*/ 353 h 647"/>
                <a:gd name="T58" fmla="*/ 285 w 303"/>
                <a:gd name="T59" fmla="*/ 305 h 647"/>
                <a:gd name="T60" fmla="*/ 301 w 303"/>
                <a:gd name="T61" fmla="*/ 220 h 647"/>
                <a:gd name="T62" fmla="*/ 299 w 303"/>
                <a:gd name="T63" fmla="*/ 128 h 647"/>
                <a:gd name="T64" fmla="*/ 301 w 303"/>
                <a:gd name="T65" fmla="*/ 70 h 647"/>
                <a:gd name="T66" fmla="*/ 283 w 303"/>
                <a:gd name="T67" fmla="*/ 54 h 647"/>
                <a:gd name="T68" fmla="*/ 263 w 303"/>
                <a:gd name="T69" fmla="*/ 63 h 647"/>
                <a:gd name="T70" fmla="*/ 259 w 303"/>
                <a:gd name="T71" fmla="*/ 41 h 647"/>
                <a:gd name="T72" fmla="*/ 244 w 303"/>
                <a:gd name="T73" fmla="*/ 24 h 647"/>
                <a:gd name="T74" fmla="*/ 237 w 303"/>
                <a:gd name="T75" fmla="*/ 9 h 647"/>
                <a:gd name="T76" fmla="*/ 226 w 303"/>
                <a:gd name="T77" fmla="*/ 2 h 647"/>
                <a:gd name="T78" fmla="*/ 202 w 303"/>
                <a:gd name="T79" fmla="*/ 17 h 647"/>
                <a:gd name="T80" fmla="*/ 179 w 303"/>
                <a:gd name="T81" fmla="*/ 41 h 647"/>
                <a:gd name="T82" fmla="*/ 187 w 303"/>
                <a:gd name="T83" fmla="*/ 55 h 647"/>
                <a:gd name="T84" fmla="*/ 194 w 303"/>
                <a:gd name="T85" fmla="*/ 70 h 647"/>
                <a:gd name="T86" fmla="*/ 211 w 303"/>
                <a:gd name="T87" fmla="*/ 68 h 647"/>
                <a:gd name="T88" fmla="*/ 226 w 303"/>
                <a:gd name="T89" fmla="*/ 76 h 647"/>
                <a:gd name="T90" fmla="*/ 220 w 303"/>
                <a:gd name="T91" fmla="*/ 103 h 647"/>
                <a:gd name="T92" fmla="*/ 202 w 303"/>
                <a:gd name="T93" fmla="*/ 113 h 647"/>
                <a:gd name="T94" fmla="*/ 192 w 303"/>
                <a:gd name="T95" fmla="*/ 120 h 647"/>
                <a:gd name="T96" fmla="*/ 207 w 303"/>
                <a:gd name="T97" fmla="*/ 152 h 647"/>
                <a:gd name="T98" fmla="*/ 189 w 303"/>
                <a:gd name="T99" fmla="*/ 172 h 647"/>
                <a:gd name="T100" fmla="*/ 168 w 303"/>
                <a:gd name="T101" fmla="*/ 174 h 647"/>
                <a:gd name="T102" fmla="*/ 152 w 303"/>
                <a:gd name="T103" fmla="*/ 185 h 647"/>
                <a:gd name="T104" fmla="*/ 129 w 303"/>
                <a:gd name="T105" fmla="*/ 194 h 647"/>
                <a:gd name="T106" fmla="*/ 107 w 303"/>
                <a:gd name="T107" fmla="*/ 177 h 647"/>
                <a:gd name="T108" fmla="*/ 104 w 303"/>
                <a:gd name="T109" fmla="*/ 183 h 647"/>
                <a:gd name="T110" fmla="*/ 91 w 303"/>
                <a:gd name="T111" fmla="*/ 205 h 647"/>
                <a:gd name="T112" fmla="*/ 91 w 303"/>
                <a:gd name="T113" fmla="*/ 224 h 647"/>
                <a:gd name="T114" fmla="*/ 89 w 303"/>
                <a:gd name="T115" fmla="*/ 251 h 6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3"/>
                <a:gd name="T175" fmla="*/ 0 h 647"/>
                <a:gd name="T176" fmla="*/ 303 w 303"/>
                <a:gd name="T177" fmla="*/ 647 h 64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3" h="647">
                  <a:moveTo>
                    <a:pt x="80" y="261"/>
                  </a:moveTo>
                  <a:lnTo>
                    <a:pt x="85" y="270"/>
                  </a:lnTo>
                  <a:lnTo>
                    <a:pt x="93" y="277"/>
                  </a:lnTo>
                  <a:lnTo>
                    <a:pt x="94" y="283"/>
                  </a:lnTo>
                  <a:lnTo>
                    <a:pt x="96" y="286"/>
                  </a:lnTo>
                  <a:lnTo>
                    <a:pt x="96" y="292"/>
                  </a:lnTo>
                  <a:lnTo>
                    <a:pt x="96" y="298"/>
                  </a:lnTo>
                  <a:lnTo>
                    <a:pt x="89" y="310"/>
                  </a:lnTo>
                  <a:lnTo>
                    <a:pt x="85" y="323"/>
                  </a:lnTo>
                  <a:lnTo>
                    <a:pt x="85" y="333"/>
                  </a:lnTo>
                  <a:lnTo>
                    <a:pt x="87" y="344"/>
                  </a:lnTo>
                  <a:lnTo>
                    <a:pt x="93" y="353"/>
                  </a:lnTo>
                  <a:lnTo>
                    <a:pt x="98" y="362"/>
                  </a:lnTo>
                  <a:lnTo>
                    <a:pt x="96" y="366"/>
                  </a:lnTo>
                  <a:lnTo>
                    <a:pt x="94" y="370"/>
                  </a:lnTo>
                  <a:lnTo>
                    <a:pt x="93" y="375"/>
                  </a:lnTo>
                  <a:lnTo>
                    <a:pt x="93" y="381"/>
                  </a:lnTo>
                  <a:lnTo>
                    <a:pt x="91" y="392"/>
                  </a:lnTo>
                  <a:lnTo>
                    <a:pt x="89" y="403"/>
                  </a:lnTo>
                  <a:lnTo>
                    <a:pt x="72" y="405"/>
                  </a:lnTo>
                  <a:lnTo>
                    <a:pt x="57" y="408"/>
                  </a:lnTo>
                  <a:lnTo>
                    <a:pt x="43" y="407"/>
                  </a:lnTo>
                  <a:lnTo>
                    <a:pt x="28" y="407"/>
                  </a:lnTo>
                  <a:lnTo>
                    <a:pt x="24" y="425"/>
                  </a:lnTo>
                  <a:lnTo>
                    <a:pt x="21" y="440"/>
                  </a:lnTo>
                  <a:lnTo>
                    <a:pt x="8" y="453"/>
                  </a:lnTo>
                  <a:lnTo>
                    <a:pt x="0" y="462"/>
                  </a:lnTo>
                  <a:lnTo>
                    <a:pt x="9" y="473"/>
                  </a:lnTo>
                  <a:lnTo>
                    <a:pt x="24" y="486"/>
                  </a:lnTo>
                  <a:lnTo>
                    <a:pt x="32" y="501"/>
                  </a:lnTo>
                  <a:lnTo>
                    <a:pt x="41" y="519"/>
                  </a:lnTo>
                  <a:lnTo>
                    <a:pt x="48" y="540"/>
                  </a:lnTo>
                  <a:lnTo>
                    <a:pt x="56" y="560"/>
                  </a:lnTo>
                  <a:lnTo>
                    <a:pt x="63" y="580"/>
                  </a:lnTo>
                  <a:lnTo>
                    <a:pt x="67" y="597"/>
                  </a:lnTo>
                  <a:lnTo>
                    <a:pt x="69" y="610"/>
                  </a:lnTo>
                  <a:lnTo>
                    <a:pt x="69" y="617"/>
                  </a:lnTo>
                  <a:lnTo>
                    <a:pt x="52" y="619"/>
                  </a:lnTo>
                  <a:lnTo>
                    <a:pt x="33" y="621"/>
                  </a:lnTo>
                  <a:lnTo>
                    <a:pt x="33" y="623"/>
                  </a:lnTo>
                  <a:lnTo>
                    <a:pt x="35" y="626"/>
                  </a:lnTo>
                  <a:lnTo>
                    <a:pt x="37" y="630"/>
                  </a:lnTo>
                  <a:lnTo>
                    <a:pt x="43" y="634"/>
                  </a:lnTo>
                  <a:lnTo>
                    <a:pt x="52" y="643"/>
                  </a:lnTo>
                  <a:lnTo>
                    <a:pt x="59" y="647"/>
                  </a:lnTo>
                  <a:lnTo>
                    <a:pt x="78" y="641"/>
                  </a:lnTo>
                  <a:lnTo>
                    <a:pt x="91" y="636"/>
                  </a:lnTo>
                  <a:lnTo>
                    <a:pt x="89" y="619"/>
                  </a:lnTo>
                  <a:lnTo>
                    <a:pt x="89" y="604"/>
                  </a:lnTo>
                  <a:lnTo>
                    <a:pt x="93" y="597"/>
                  </a:lnTo>
                  <a:lnTo>
                    <a:pt x="96" y="588"/>
                  </a:lnTo>
                  <a:lnTo>
                    <a:pt x="98" y="584"/>
                  </a:lnTo>
                  <a:lnTo>
                    <a:pt x="98" y="578"/>
                  </a:lnTo>
                  <a:lnTo>
                    <a:pt x="98" y="571"/>
                  </a:lnTo>
                  <a:lnTo>
                    <a:pt x="96" y="562"/>
                  </a:lnTo>
                  <a:lnTo>
                    <a:pt x="105" y="562"/>
                  </a:lnTo>
                  <a:lnTo>
                    <a:pt x="113" y="562"/>
                  </a:lnTo>
                  <a:lnTo>
                    <a:pt x="117" y="562"/>
                  </a:lnTo>
                  <a:lnTo>
                    <a:pt x="118" y="560"/>
                  </a:lnTo>
                  <a:lnTo>
                    <a:pt x="122" y="556"/>
                  </a:lnTo>
                  <a:lnTo>
                    <a:pt x="124" y="553"/>
                  </a:lnTo>
                  <a:lnTo>
                    <a:pt x="128" y="554"/>
                  </a:lnTo>
                  <a:lnTo>
                    <a:pt x="131" y="556"/>
                  </a:lnTo>
                  <a:lnTo>
                    <a:pt x="131" y="564"/>
                  </a:lnTo>
                  <a:lnTo>
                    <a:pt x="131" y="569"/>
                  </a:lnTo>
                  <a:lnTo>
                    <a:pt x="135" y="577"/>
                  </a:lnTo>
                  <a:lnTo>
                    <a:pt x="141" y="578"/>
                  </a:lnTo>
                  <a:lnTo>
                    <a:pt x="152" y="575"/>
                  </a:lnTo>
                  <a:lnTo>
                    <a:pt x="165" y="571"/>
                  </a:lnTo>
                  <a:lnTo>
                    <a:pt x="176" y="569"/>
                  </a:lnTo>
                  <a:lnTo>
                    <a:pt x="189" y="569"/>
                  </a:lnTo>
                  <a:lnTo>
                    <a:pt x="192" y="560"/>
                  </a:lnTo>
                  <a:lnTo>
                    <a:pt x="198" y="551"/>
                  </a:lnTo>
                  <a:lnTo>
                    <a:pt x="209" y="541"/>
                  </a:lnTo>
                  <a:lnTo>
                    <a:pt x="220" y="536"/>
                  </a:lnTo>
                  <a:lnTo>
                    <a:pt x="231" y="528"/>
                  </a:lnTo>
                  <a:lnTo>
                    <a:pt x="238" y="519"/>
                  </a:lnTo>
                  <a:lnTo>
                    <a:pt x="248" y="493"/>
                  </a:lnTo>
                  <a:lnTo>
                    <a:pt x="259" y="464"/>
                  </a:lnTo>
                  <a:lnTo>
                    <a:pt x="268" y="443"/>
                  </a:lnTo>
                  <a:lnTo>
                    <a:pt x="274" y="431"/>
                  </a:lnTo>
                  <a:lnTo>
                    <a:pt x="274" y="416"/>
                  </a:lnTo>
                  <a:lnTo>
                    <a:pt x="272" y="403"/>
                  </a:lnTo>
                  <a:lnTo>
                    <a:pt x="270" y="388"/>
                  </a:lnTo>
                  <a:lnTo>
                    <a:pt x="268" y="373"/>
                  </a:lnTo>
                  <a:lnTo>
                    <a:pt x="277" y="362"/>
                  </a:lnTo>
                  <a:lnTo>
                    <a:pt x="287" y="353"/>
                  </a:lnTo>
                  <a:lnTo>
                    <a:pt x="283" y="338"/>
                  </a:lnTo>
                  <a:lnTo>
                    <a:pt x="277" y="323"/>
                  </a:lnTo>
                  <a:lnTo>
                    <a:pt x="285" y="305"/>
                  </a:lnTo>
                  <a:lnTo>
                    <a:pt x="292" y="281"/>
                  </a:lnTo>
                  <a:lnTo>
                    <a:pt x="296" y="253"/>
                  </a:lnTo>
                  <a:lnTo>
                    <a:pt x="301" y="220"/>
                  </a:lnTo>
                  <a:lnTo>
                    <a:pt x="303" y="188"/>
                  </a:lnTo>
                  <a:lnTo>
                    <a:pt x="303" y="157"/>
                  </a:lnTo>
                  <a:lnTo>
                    <a:pt x="299" y="128"/>
                  </a:lnTo>
                  <a:lnTo>
                    <a:pt x="292" y="102"/>
                  </a:lnTo>
                  <a:lnTo>
                    <a:pt x="298" y="83"/>
                  </a:lnTo>
                  <a:lnTo>
                    <a:pt x="301" y="70"/>
                  </a:lnTo>
                  <a:lnTo>
                    <a:pt x="301" y="57"/>
                  </a:lnTo>
                  <a:lnTo>
                    <a:pt x="299" y="46"/>
                  </a:lnTo>
                  <a:lnTo>
                    <a:pt x="283" y="54"/>
                  </a:lnTo>
                  <a:lnTo>
                    <a:pt x="272" y="57"/>
                  </a:lnTo>
                  <a:lnTo>
                    <a:pt x="266" y="61"/>
                  </a:lnTo>
                  <a:lnTo>
                    <a:pt x="263" y="63"/>
                  </a:lnTo>
                  <a:lnTo>
                    <a:pt x="259" y="61"/>
                  </a:lnTo>
                  <a:lnTo>
                    <a:pt x="259" y="57"/>
                  </a:lnTo>
                  <a:lnTo>
                    <a:pt x="259" y="41"/>
                  </a:lnTo>
                  <a:lnTo>
                    <a:pt x="255" y="31"/>
                  </a:lnTo>
                  <a:lnTo>
                    <a:pt x="251" y="28"/>
                  </a:lnTo>
                  <a:lnTo>
                    <a:pt x="244" y="24"/>
                  </a:lnTo>
                  <a:lnTo>
                    <a:pt x="240" y="18"/>
                  </a:lnTo>
                  <a:lnTo>
                    <a:pt x="238" y="13"/>
                  </a:lnTo>
                  <a:lnTo>
                    <a:pt x="237" y="9"/>
                  </a:lnTo>
                  <a:lnTo>
                    <a:pt x="235" y="7"/>
                  </a:lnTo>
                  <a:lnTo>
                    <a:pt x="231" y="4"/>
                  </a:lnTo>
                  <a:lnTo>
                    <a:pt x="226" y="2"/>
                  </a:lnTo>
                  <a:lnTo>
                    <a:pt x="218" y="0"/>
                  </a:lnTo>
                  <a:lnTo>
                    <a:pt x="211" y="0"/>
                  </a:lnTo>
                  <a:lnTo>
                    <a:pt x="202" y="17"/>
                  </a:lnTo>
                  <a:lnTo>
                    <a:pt x="192" y="35"/>
                  </a:lnTo>
                  <a:lnTo>
                    <a:pt x="187" y="37"/>
                  </a:lnTo>
                  <a:lnTo>
                    <a:pt x="179" y="41"/>
                  </a:lnTo>
                  <a:lnTo>
                    <a:pt x="179" y="44"/>
                  </a:lnTo>
                  <a:lnTo>
                    <a:pt x="181" y="50"/>
                  </a:lnTo>
                  <a:lnTo>
                    <a:pt x="187" y="55"/>
                  </a:lnTo>
                  <a:lnTo>
                    <a:pt x="190" y="59"/>
                  </a:lnTo>
                  <a:lnTo>
                    <a:pt x="192" y="67"/>
                  </a:lnTo>
                  <a:lnTo>
                    <a:pt x="194" y="70"/>
                  </a:lnTo>
                  <a:lnTo>
                    <a:pt x="198" y="72"/>
                  </a:lnTo>
                  <a:lnTo>
                    <a:pt x="202" y="74"/>
                  </a:lnTo>
                  <a:lnTo>
                    <a:pt x="211" y="68"/>
                  </a:lnTo>
                  <a:lnTo>
                    <a:pt x="218" y="65"/>
                  </a:lnTo>
                  <a:lnTo>
                    <a:pt x="224" y="70"/>
                  </a:lnTo>
                  <a:lnTo>
                    <a:pt x="226" y="76"/>
                  </a:lnTo>
                  <a:lnTo>
                    <a:pt x="227" y="83"/>
                  </a:lnTo>
                  <a:lnTo>
                    <a:pt x="226" y="91"/>
                  </a:lnTo>
                  <a:lnTo>
                    <a:pt x="220" y="103"/>
                  </a:lnTo>
                  <a:lnTo>
                    <a:pt x="214" y="109"/>
                  </a:lnTo>
                  <a:lnTo>
                    <a:pt x="209" y="111"/>
                  </a:lnTo>
                  <a:lnTo>
                    <a:pt x="202" y="113"/>
                  </a:lnTo>
                  <a:lnTo>
                    <a:pt x="198" y="115"/>
                  </a:lnTo>
                  <a:lnTo>
                    <a:pt x="194" y="116"/>
                  </a:lnTo>
                  <a:lnTo>
                    <a:pt x="192" y="120"/>
                  </a:lnTo>
                  <a:lnTo>
                    <a:pt x="190" y="124"/>
                  </a:lnTo>
                  <a:lnTo>
                    <a:pt x="200" y="137"/>
                  </a:lnTo>
                  <a:lnTo>
                    <a:pt x="207" y="152"/>
                  </a:lnTo>
                  <a:lnTo>
                    <a:pt x="200" y="161"/>
                  </a:lnTo>
                  <a:lnTo>
                    <a:pt x="194" y="168"/>
                  </a:lnTo>
                  <a:lnTo>
                    <a:pt x="189" y="172"/>
                  </a:lnTo>
                  <a:lnTo>
                    <a:pt x="185" y="174"/>
                  </a:lnTo>
                  <a:lnTo>
                    <a:pt x="176" y="172"/>
                  </a:lnTo>
                  <a:lnTo>
                    <a:pt x="168" y="174"/>
                  </a:lnTo>
                  <a:lnTo>
                    <a:pt x="165" y="179"/>
                  </a:lnTo>
                  <a:lnTo>
                    <a:pt x="161" y="187"/>
                  </a:lnTo>
                  <a:lnTo>
                    <a:pt x="152" y="185"/>
                  </a:lnTo>
                  <a:lnTo>
                    <a:pt x="144" y="185"/>
                  </a:lnTo>
                  <a:lnTo>
                    <a:pt x="137" y="190"/>
                  </a:lnTo>
                  <a:lnTo>
                    <a:pt x="129" y="194"/>
                  </a:lnTo>
                  <a:lnTo>
                    <a:pt x="122" y="187"/>
                  </a:lnTo>
                  <a:lnTo>
                    <a:pt x="111" y="177"/>
                  </a:lnTo>
                  <a:lnTo>
                    <a:pt x="107" y="177"/>
                  </a:lnTo>
                  <a:lnTo>
                    <a:pt x="105" y="179"/>
                  </a:lnTo>
                  <a:lnTo>
                    <a:pt x="104" y="181"/>
                  </a:lnTo>
                  <a:lnTo>
                    <a:pt x="104" y="183"/>
                  </a:lnTo>
                  <a:lnTo>
                    <a:pt x="102" y="188"/>
                  </a:lnTo>
                  <a:lnTo>
                    <a:pt x="96" y="196"/>
                  </a:lnTo>
                  <a:lnTo>
                    <a:pt x="91" y="205"/>
                  </a:lnTo>
                  <a:lnTo>
                    <a:pt x="89" y="211"/>
                  </a:lnTo>
                  <a:lnTo>
                    <a:pt x="89" y="218"/>
                  </a:lnTo>
                  <a:lnTo>
                    <a:pt x="91" y="224"/>
                  </a:lnTo>
                  <a:lnTo>
                    <a:pt x="96" y="233"/>
                  </a:lnTo>
                  <a:lnTo>
                    <a:pt x="96" y="240"/>
                  </a:lnTo>
                  <a:lnTo>
                    <a:pt x="89" y="251"/>
                  </a:lnTo>
                  <a:lnTo>
                    <a:pt x="80" y="26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1" name="Freeform 23"/>
            <p:cNvSpPr>
              <a:spLocks noEditPoints="1"/>
            </p:cNvSpPr>
            <p:nvPr/>
          </p:nvSpPr>
          <p:spPr bwMode="auto">
            <a:xfrm>
              <a:off x="5911002" y="2220762"/>
              <a:ext cx="400736" cy="705339"/>
            </a:xfrm>
            <a:custGeom>
              <a:avLst/>
              <a:gdLst>
                <a:gd name="T0" fmla="*/ 532 w 768"/>
                <a:gd name="T1" fmla="*/ 1343 h 1386"/>
                <a:gd name="T2" fmla="*/ 558 w 768"/>
                <a:gd name="T3" fmla="*/ 1343 h 1386"/>
                <a:gd name="T4" fmla="*/ 606 w 768"/>
                <a:gd name="T5" fmla="*/ 1315 h 1386"/>
                <a:gd name="T6" fmla="*/ 669 w 768"/>
                <a:gd name="T7" fmla="*/ 1262 h 1386"/>
                <a:gd name="T8" fmla="*/ 693 w 768"/>
                <a:gd name="T9" fmla="*/ 1195 h 1386"/>
                <a:gd name="T10" fmla="*/ 656 w 768"/>
                <a:gd name="T11" fmla="*/ 1162 h 1386"/>
                <a:gd name="T12" fmla="*/ 720 w 768"/>
                <a:gd name="T13" fmla="*/ 1153 h 1386"/>
                <a:gd name="T14" fmla="*/ 763 w 768"/>
                <a:gd name="T15" fmla="*/ 1121 h 1386"/>
                <a:gd name="T16" fmla="*/ 739 w 768"/>
                <a:gd name="T17" fmla="*/ 999 h 1386"/>
                <a:gd name="T18" fmla="*/ 700 w 768"/>
                <a:gd name="T19" fmla="*/ 942 h 1386"/>
                <a:gd name="T20" fmla="*/ 659 w 768"/>
                <a:gd name="T21" fmla="*/ 835 h 1386"/>
                <a:gd name="T22" fmla="*/ 604 w 768"/>
                <a:gd name="T23" fmla="*/ 744 h 1386"/>
                <a:gd name="T24" fmla="*/ 556 w 768"/>
                <a:gd name="T25" fmla="*/ 711 h 1386"/>
                <a:gd name="T26" fmla="*/ 495 w 768"/>
                <a:gd name="T27" fmla="*/ 691 h 1386"/>
                <a:gd name="T28" fmla="*/ 454 w 768"/>
                <a:gd name="T29" fmla="*/ 728 h 1386"/>
                <a:gd name="T30" fmla="*/ 453 w 768"/>
                <a:gd name="T31" fmla="*/ 737 h 1386"/>
                <a:gd name="T32" fmla="*/ 419 w 768"/>
                <a:gd name="T33" fmla="*/ 800 h 1386"/>
                <a:gd name="T34" fmla="*/ 403 w 768"/>
                <a:gd name="T35" fmla="*/ 750 h 1386"/>
                <a:gd name="T36" fmla="*/ 395 w 768"/>
                <a:gd name="T37" fmla="*/ 789 h 1386"/>
                <a:gd name="T38" fmla="*/ 357 w 768"/>
                <a:gd name="T39" fmla="*/ 754 h 1386"/>
                <a:gd name="T40" fmla="*/ 305 w 768"/>
                <a:gd name="T41" fmla="*/ 765 h 1386"/>
                <a:gd name="T42" fmla="*/ 297 w 768"/>
                <a:gd name="T43" fmla="*/ 670 h 1386"/>
                <a:gd name="T44" fmla="*/ 323 w 768"/>
                <a:gd name="T45" fmla="*/ 574 h 1386"/>
                <a:gd name="T46" fmla="*/ 320 w 768"/>
                <a:gd name="T47" fmla="*/ 517 h 1386"/>
                <a:gd name="T48" fmla="*/ 338 w 768"/>
                <a:gd name="T49" fmla="*/ 456 h 1386"/>
                <a:gd name="T50" fmla="*/ 349 w 768"/>
                <a:gd name="T51" fmla="*/ 290 h 1386"/>
                <a:gd name="T52" fmla="*/ 453 w 768"/>
                <a:gd name="T53" fmla="*/ 173 h 1386"/>
                <a:gd name="T54" fmla="*/ 473 w 768"/>
                <a:gd name="T55" fmla="*/ 172 h 1386"/>
                <a:gd name="T56" fmla="*/ 453 w 768"/>
                <a:gd name="T57" fmla="*/ 112 h 1386"/>
                <a:gd name="T58" fmla="*/ 388 w 768"/>
                <a:gd name="T59" fmla="*/ 94 h 1386"/>
                <a:gd name="T60" fmla="*/ 305 w 768"/>
                <a:gd name="T61" fmla="*/ 0 h 1386"/>
                <a:gd name="T62" fmla="*/ 281 w 768"/>
                <a:gd name="T63" fmla="*/ 53 h 1386"/>
                <a:gd name="T64" fmla="*/ 222 w 768"/>
                <a:gd name="T65" fmla="*/ 61 h 1386"/>
                <a:gd name="T66" fmla="*/ 133 w 768"/>
                <a:gd name="T67" fmla="*/ 88 h 1386"/>
                <a:gd name="T68" fmla="*/ 120 w 768"/>
                <a:gd name="T69" fmla="*/ 251 h 1386"/>
                <a:gd name="T70" fmla="*/ 185 w 768"/>
                <a:gd name="T71" fmla="*/ 351 h 1386"/>
                <a:gd name="T72" fmla="*/ 142 w 768"/>
                <a:gd name="T73" fmla="*/ 401 h 1386"/>
                <a:gd name="T74" fmla="*/ 68 w 768"/>
                <a:gd name="T75" fmla="*/ 452 h 1386"/>
                <a:gd name="T76" fmla="*/ 9 w 768"/>
                <a:gd name="T77" fmla="*/ 482 h 1386"/>
                <a:gd name="T78" fmla="*/ 4 w 768"/>
                <a:gd name="T79" fmla="*/ 565 h 1386"/>
                <a:gd name="T80" fmla="*/ 22 w 768"/>
                <a:gd name="T81" fmla="*/ 680 h 1386"/>
                <a:gd name="T82" fmla="*/ 63 w 768"/>
                <a:gd name="T83" fmla="*/ 778 h 1386"/>
                <a:gd name="T84" fmla="*/ 148 w 768"/>
                <a:gd name="T85" fmla="*/ 774 h 1386"/>
                <a:gd name="T86" fmla="*/ 109 w 768"/>
                <a:gd name="T87" fmla="*/ 850 h 1386"/>
                <a:gd name="T88" fmla="*/ 109 w 768"/>
                <a:gd name="T89" fmla="*/ 929 h 1386"/>
                <a:gd name="T90" fmla="*/ 168 w 768"/>
                <a:gd name="T91" fmla="*/ 964 h 1386"/>
                <a:gd name="T92" fmla="*/ 225 w 768"/>
                <a:gd name="T93" fmla="*/ 929 h 1386"/>
                <a:gd name="T94" fmla="*/ 312 w 768"/>
                <a:gd name="T95" fmla="*/ 868 h 1386"/>
                <a:gd name="T96" fmla="*/ 334 w 768"/>
                <a:gd name="T97" fmla="*/ 942 h 1386"/>
                <a:gd name="T98" fmla="*/ 283 w 768"/>
                <a:gd name="T99" fmla="*/ 979 h 1386"/>
                <a:gd name="T100" fmla="*/ 227 w 768"/>
                <a:gd name="T101" fmla="*/ 1077 h 1386"/>
                <a:gd name="T102" fmla="*/ 253 w 768"/>
                <a:gd name="T103" fmla="*/ 1179 h 1386"/>
                <a:gd name="T104" fmla="*/ 321 w 768"/>
                <a:gd name="T105" fmla="*/ 1245 h 1386"/>
                <a:gd name="T106" fmla="*/ 332 w 768"/>
                <a:gd name="T107" fmla="*/ 1247 h 1386"/>
                <a:gd name="T108" fmla="*/ 379 w 768"/>
                <a:gd name="T109" fmla="*/ 1228 h 1386"/>
                <a:gd name="T110" fmla="*/ 486 w 768"/>
                <a:gd name="T111" fmla="*/ 1214 h 1386"/>
                <a:gd name="T112" fmla="*/ 523 w 768"/>
                <a:gd name="T113" fmla="*/ 1221 h 1386"/>
                <a:gd name="T114" fmla="*/ 332 w 768"/>
                <a:gd name="T115" fmla="*/ 709 h 1386"/>
                <a:gd name="T116" fmla="*/ 390 w 768"/>
                <a:gd name="T117" fmla="*/ 685 h 1386"/>
                <a:gd name="T118" fmla="*/ 360 w 768"/>
                <a:gd name="T119" fmla="*/ 711 h 1386"/>
                <a:gd name="T120" fmla="*/ 386 w 768"/>
                <a:gd name="T121" fmla="*/ 735 h 1386"/>
                <a:gd name="T122" fmla="*/ 401 w 768"/>
                <a:gd name="T123" fmla="*/ 728 h 13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8"/>
                <a:gd name="T187" fmla="*/ 0 h 1386"/>
                <a:gd name="T188" fmla="*/ 768 w 768"/>
                <a:gd name="T189" fmla="*/ 1386 h 13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8" h="1386">
                  <a:moveTo>
                    <a:pt x="523" y="1221"/>
                  </a:moveTo>
                  <a:lnTo>
                    <a:pt x="519" y="1232"/>
                  </a:lnTo>
                  <a:lnTo>
                    <a:pt x="519" y="1243"/>
                  </a:lnTo>
                  <a:lnTo>
                    <a:pt x="519" y="1254"/>
                  </a:lnTo>
                  <a:lnTo>
                    <a:pt x="521" y="1265"/>
                  </a:lnTo>
                  <a:lnTo>
                    <a:pt x="536" y="1284"/>
                  </a:lnTo>
                  <a:lnTo>
                    <a:pt x="545" y="1295"/>
                  </a:lnTo>
                  <a:lnTo>
                    <a:pt x="536" y="1310"/>
                  </a:lnTo>
                  <a:lnTo>
                    <a:pt x="526" y="1330"/>
                  </a:lnTo>
                  <a:lnTo>
                    <a:pt x="526" y="1336"/>
                  </a:lnTo>
                  <a:lnTo>
                    <a:pt x="528" y="1339"/>
                  </a:lnTo>
                  <a:lnTo>
                    <a:pt x="532" y="1343"/>
                  </a:lnTo>
                  <a:lnTo>
                    <a:pt x="534" y="1345"/>
                  </a:lnTo>
                  <a:lnTo>
                    <a:pt x="541" y="1349"/>
                  </a:lnTo>
                  <a:lnTo>
                    <a:pt x="545" y="1354"/>
                  </a:lnTo>
                  <a:lnTo>
                    <a:pt x="545" y="1367"/>
                  </a:lnTo>
                  <a:lnTo>
                    <a:pt x="547" y="1382"/>
                  </a:lnTo>
                  <a:lnTo>
                    <a:pt x="549" y="1384"/>
                  </a:lnTo>
                  <a:lnTo>
                    <a:pt x="549" y="1386"/>
                  </a:lnTo>
                  <a:lnTo>
                    <a:pt x="558" y="1376"/>
                  </a:lnTo>
                  <a:lnTo>
                    <a:pt x="565" y="1365"/>
                  </a:lnTo>
                  <a:lnTo>
                    <a:pt x="565" y="1358"/>
                  </a:lnTo>
                  <a:lnTo>
                    <a:pt x="560" y="1349"/>
                  </a:lnTo>
                  <a:lnTo>
                    <a:pt x="558" y="1343"/>
                  </a:lnTo>
                  <a:lnTo>
                    <a:pt x="558" y="1336"/>
                  </a:lnTo>
                  <a:lnTo>
                    <a:pt x="560" y="1330"/>
                  </a:lnTo>
                  <a:lnTo>
                    <a:pt x="565" y="1321"/>
                  </a:lnTo>
                  <a:lnTo>
                    <a:pt x="571" y="1313"/>
                  </a:lnTo>
                  <a:lnTo>
                    <a:pt x="573" y="1308"/>
                  </a:lnTo>
                  <a:lnTo>
                    <a:pt x="573" y="1306"/>
                  </a:lnTo>
                  <a:lnTo>
                    <a:pt x="574" y="1304"/>
                  </a:lnTo>
                  <a:lnTo>
                    <a:pt x="576" y="1302"/>
                  </a:lnTo>
                  <a:lnTo>
                    <a:pt x="580" y="1302"/>
                  </a:lnTo>
                  <a:lnTo>
                    <a:pt x="591" y="1312"/>
                  </a:lnTo>
                  <a:lnTo>
                    <a:pt x="598" y="1319"/>
                  </a:lnTo>
                  <a:lnTo>
                    <a:pt x="606" y="1315"/>
                  </a:lnTo>
                  <a:lnTo>
                    <a:pt x="613" y="1310"/>
                  </a:lnTo>
                  <a:lnTo>
                    <a:pt x="621" y="1310"/>
                  </a:lnTo>
                  <a:lnTo>
                    <a:pt x="630" y="1312"/>
                  </a:lnTo>
                  <a:lnTo>
                    <a:pt x="634" y="1304"/>
                  </a:lnTo>
                  <a:lnTo>
                    <a:pt x="637" y="1299"/>
                  </a:lnTo>
                  <a:lnTo>
                    <a:pt x="645" y="1297"/>
                  </a:lnTo>
                  <a:lnTo>
                    <a:pt x="654" y="1299"/>
                  </a:lnTo>
                  <a:lnTo>
                    <a:pt x="658" y="1297"/>
                  </a:lnTo>
                  <a:lnTo>
                    <a:pt x="663" y="1293"/>
                  </a:lnTo>
                  <a:lnTo>
                    <a:pt x="669" y="1286"/>
                  </a:lnTo>
                  <a:lnTo>
                    <a:pt x="676" y="1277"/>
                  </a:lnTo>
                  <a:lnTo>
                    <a:pt x="669" y="1262"/>
                  </a:lnTo>
                  <a:lnTo>
                    <a:pt x="659" y="1249"/>
                  </a:lnTo>
                  <a:lnTo>
                    <a:pt x="661" y="1245"/>
                  </a:lnTo>
                  <a:lnTo>
                    <a:pt x="663" y="1241"/>
                  </a:lnTo>
                  <a:lnTo>
                    <a:pt x="667" y="1240"/>
                  </a:lnTo>
                  <a:lnTo>
                    <a:pt x="671" y="1238"/>
                  </a:lnTo>
                  <a:lnTo>
                    <a:pt x="678" y="1236"/>
                  </a:lnTo>
                  <a:lnTo>
                    <a:pt x="683" y="1234"/>
                  </a:lnTo>
                  <a:lnTo>
                    <a:pt x="689" y="1228"/>
                  </a:lnTo>
                  <a:lnTo>
                    <a:pt x="695" y="1216"/>
                  </a:lnTo>
                  <a:lnTo>
                    <a:pt x="696" y="1208"/>
                  </a:lnTo>
                  <a:lnTo>
                    <a:pt x="695" y="1201"/>
                  </a:lnTo>
                  <a:lnTo>
                    <a:pt x="693" y="1195"/>
                  </a:lnTo>
                  <a:lnTo>
                    <a:pt x="687" y="1190"/>
                  </a:lnTo>
                  <a:lnTo>
                    <a:pt x="680" y="1193"/>
                  </a:lnTo>
                  <a:lnTo>
                    <a:pt x="671" y="1199"/>
                  </a:lnTo>
                  <a:lnTo>
                    <a:pt x="667" y="1197"/>
                  </a:lnTo>
                  <a:lnTo>
                    <a:pt x="663" y="1195"/>
                  </a:lnTo>
                  <a:lnTo>
                    <a:pt x="661" y="1192"/>
                  </a:lnTo>
                  <a:lnTo>
                    <a:pt x="659" y="1184"/>
                  </a:lnTo>
                  <a:lnTo>
                    <a:pt x="656" y="1180"/>
                  </a:lnTo>
                  <a:lnTo>
                    <a:pt x="650" y="1175"/>
                  </a:lnTo>
                  <a:lnTo>
                    <a:pt x="648" y="1169"/>
                  </a:lnTo>
                  <a:lnTo>
                    <a:pt x="648" y="1166"/>
                  </a:lnTo>
                  <a:lnTo>
                    <a:pt x="656" y="1162"/>
                  </a:lnTo>
                  <a:lnTo>
                    <a:pt x="661" y="1160"/>
                  </a:lnTo>
                  <a:lnTo>
                    <a:pt x="671" y="1142"/>
                  </a:lnTo>
                  <a:lnTo>
                    <a:pt x="680" y="1125"/>
                  </a:lnTo>
                  <a:lnTo>
                    <a:pt x="687" y="1125"/>
                  </a:lnTo>
                  <a:lnTo>
                    <a:pt x="695" y="1127"/>
                  </a:lnTo>
                  <a:lnTo>
                    <a:pt x="700" y="1129"/>
                  </a:lnTo>
                  <a:lnTo>
                    <a:pt x="704" y="1132"/>
                  </a:lnTo>
                  <a:lnTo>
                    <a:pt x="706" y="1134"/>
                  </a:lnTo>
                  <a:lnTo>
                    <a:pt x="707" y="1138"/>
                  </a:lnTo>
                  <a:lnTo>
                    <a:pt x="709" y="1143"/>
                  </a:lnTo>
                  <a:lnTo>
                    <a:pt x="713" y="1149"/>
                  </a:lnTo>
                  <a:lnTo>
                    <a:pt x="720" y="1153"/>
                  </a:lnTo>
                  <a:lnTo>
                    <a:pt x="724" y="1156"/>
                  </a:lnTo>
                  <a:lnTo>
                    <a:pt x="728" y="1166"/>
                  </a:lnTo>
                  <a:lnTo>
                    <a:pt x="728" y="1182"/>
                  </a:lnTo>
                  <a:lnTo>
                    <a:pt x="728" y="1186"/>
                  </a:lnTo>
                  <a:lnTo>
                    <a:pt x="732" y="1188"/>
                  </a:lnTo>
                  <a:lnTo>
                    <a:pt x="735" y="1186"/>
                  </a:lnTo>
                  <a:lnTo>
                    <a:pt x="741" y="1182"/>
                  </a:lnTo>
                  <a:lnTo>
                    <a:pt x="752" y="1179"/>
                  </a:lnTo>
                  <a:lnTo>
                    <a:pt x="768" y="1171"/>
                  </a:lnTo>
                  <a:lnTo>
                    <a:pt x="765" y="1158"/>
                  </a:lnTo>
                  <a:lnTo>
                    <a:pt x="759" y="1143"/>
                  </a:lnTo>
                  <a:lnTo>
                    <a:pt x="763" y="1121"/>
                  </a:lnTo>
                  <a:lnTo>
                    <a:pt x="767" y="1097"/>
                  </a:lnTo>
                  <a:lnTo>
                    <a:pt x="767" y="1086"/>
                  </a:lnTo>
                  <a:lnTo>
                    <a:pt x="767" y="1077"/>
                  </a:lnTo>
                  <a:lnTo>
                    <a:pt x="765" y="1068"/>
                  </a:lnTo>
                  <a:lnTo>
                    <a:pt x="763" y="1060"/>
                  </a:lnTo>
                  <a:lnTo>
                    <a:pt x="761" y="1055"/>
                  </a:lnTo>
                  <a:lnTo>
                    <a:pt x="759" y="1042"/>
                  </a:lnTo>
                  <a:lnTo>
                    <a:pt x="757" y="1034"/>
                  </a:lnTo>
                  <a:lnTo>
                    <a:pt x="752" y="1027"/>
                  </a:lnTo>
                  <a:lnTo>
                    <a:pt x="746" y="1018"/>
                  </a:lnTo>
                  <a:lnTo>
                    <a:pt x="739" y="1007"/>
                  </a:lnTo>
                  <a:lnTo>
                    <a:pt x="739" y="999"/>
                  </a:lnTo>
                  <a:lnTo>
                    <a:pt x="737" y="990"/>
                  </a:lnTo>
                  <a:lnTo>
                    <a:pt x="732" y="985"/>
                  </a:lnTo>
                  <a:lnTo>
                    <a:pt x="726" y="979"/>
                  </a:lnTo>
                  <a:lnTo>
                    <a:pt x="722" y="975"/>
                  </a:lnTo>
                  <a:lnTo>
                    <a:pt x="719" y="973"/>
                  </a:lnTo>
                  <a:lnTo>
                    <a:pt x="717" y="970"/>
                  </a:lnTo>
                  <a:lnTo>
                    <a:pt x="717" y="966"/>
                  </a:lnTo>
                  <a:lnTo>
                    <a:pt x="717" y="961"/>
                  </a:lnTo>
                  <a:lnTo>
                    <a:pt x="717" y="953"/>
                  </a:lnTo>
                  <a:lnTo>
                    <a:pt x="713" y="949"/>
                  </a:lnTo>
                  <a:lnTo>
                    <a:pt x="704" y="946"/>
                  </a:lnTo>
                  <a:lnTo>
                    <a:pt x="700" y="942"/>
                  </a:lnTo>
                  <a:lnTo>
                    <a:pt x="695" y="937"/>
                  </a:lnTo>
                  <a:lnTo>
                    <a:pt x="689" y="929"/>
                  </a:lnTo>
                  <a:lnTo>
                    <a:pt x="683" y="918"/>
                  </a:lnTo>
                  <a:lnTo>
                    <a:pt x="674" y="900"/>
                  </a:lnTo>
                  <a:lnTo>
                    <a:pt x="667" y="887"/>
                  </a:lnTo>
                  <a:lnTo>
                    <a:pt x="663" y="876"/>
                  </a:lnTo>
                  <a:lnTo>
                    <a:pt x="663" y="866"/>
                  </a:lnTo>
                  <a:lnTo>
                    <a:pt x="665" y="861"/>
                  </a:lnTo>
                  <a:lnTo>
                    <a:pt x="669" y="855"/>
                  </a:lnTo>
                  <a:lnTo>
                    <a:pt x="661" y="850"/>
                  </a:lnTo>
                  <a:lnTo>
                    <a:pt x="658" y="844"/>
                  </a:lnTo>
                  <a:lnTo>
                    <a:pt x="659" y="835"/>
                  </a:lnTo>
                  <a:lnTo>
                    <a:pt x="663" y="828"/>
                  </a:lnTo>
                  <a:lnTo>
                    <a:pt x="661" y="820"/>
                  </a:lnTo>
                  <a:lnTo>
                    <a:pt x="661" y="815"/>
                  </a:lnTo>
                  <a:lnTo>
                    <a:pt x="661" y="809"/>
                  </a:lnTo>
                  <a:lnTo>
                    <a:pt x="663" y="800"/>
                  </a:lnTo>
                  <a:lnTo>
                    <a:pt x="656" y="791"/>
                  </a:lnTo>
                  <a:lnTo>
                    <a:pt x="647" y="778"/>
                  </a:lnTo>
                  <a:lnTo>
                    <a:pt x="634" y="776"/>
                  </a:lnTo>
                  <a:lnTo>
                    <a:pt x="628" y="772"/>
                  </a:lnTo>
                  <a:lnTo>
                    <a:pt x="623" y="765"/>
                  </a:lnTo>
                  <a:lnTo>
                    <a:pt x="617" y="746"/>
                  </a:lnTo>
                  <a:lnTo>
                    <a:pt x="604" y="744"/>
                  </a:lnTo>
                  <a:lnTo>
                    <a:pt x="597" y="743"/>
                  </a:lnTo>
                  <a:lnTo>
                    <a:pt x="600" y="737"/>
                  </a:lnTo>
                  <a:lnTo>
                    <a:pt x="602" y="731"/>
                  </a:lnTo>
                  <a:lnTo>
                    <a:pt x="602" y="726"/>
                  </a:lnTo>
                  <a:lnTo>
                    <a:pt x="600" y="720"/>
                  </a:lnTo>
                  <a:lnTo>
                    <a:pt x="597" y="717"/>
                  </a:lnTo>
                  <a:lnTo>
                    <a:pt x="591" y="713"/>
                  </a:lnTo>
                  <a:lnTo>
                    <a:pt x="584" y="713"/>
                  </a:lnTo>
                  <a:lnTo>
                    <a:pt x="576" y="713"/>
                  </a:lnTo>
                  <a:lnTo>
                    <a:pt x="569" y="711"/>
                  </a:lnTo>
                  <a:lnTo>
                    <a:pt x="562" y="711"/>
                  </a:lnTo>
                  <a:lnTo>
                    <a:pt x="556" y="711"/>
                  </a:lnTo>
                  <a:lnTo>
                    <a:pt x="549" y="711"/>
                  </a:lnTo>
                  <a:lnTo>
                    <a:pt x="545" y="707"/>
                  </a:lnTo>
                  <a:lnTo>
                    <a:pt x="541" y="704"/>
                  </a:lnTo>
                  <a:lnTo>
                    <a:pt x="538" y="702"/>
                  </a:lnTo>
                  <a:lnTo>
                    <a:pt x="536" y="700"/>
                  </a:lnTo>
                  <a:lnTo>
                    <a:pt x="530" y="698"/>
                  </a:lnTo>
                  <a:lnTo>
                    <a:pt x="525" y="698"/>
                  </a:lnTo>
                  <a:lnTo>
                    <a:pt x="517" y="693"/>
                  </a:lnTo>
                  <a:lnTo>
                    <a:pt x="512" y="691"/>
                  </a:lnTo>
                  <a:lnTo>
                    <a:pt x="508" y="693"/>
                  </a:lnTo>
                  <a:lnTo>
                    <a:pt x="502" y="694"/>
                  </a:lnTo>
                  <a:lnTo>
                    <a:pt x="495" y="691"/>
                  </a:lnTo>
                  <a:lnTo>
                    <a:pt x="488" y="691"/>
                  </a:lnTo>
                  <a:lnTo>
                    <a:pt x="484" y="693"/>
                  </a:lnTo>
                  <a:lnTo>
                    <a:pt x="480" y="694"/>
                  </a:lnTo>
                  <a:lnTo>
                    <a:pt x="473" y="700"/>
                  </a:lnTo>
                  <a:lnTo>
                    <a:pt x="464" y="709"/>
                  </a:lnTo>
                  <a:lnTo>
                    <a:pt x="458" y="709"/>
                  </a:lnTo>
                  <a:lnTo>
                    <a:pt x="451" y="709"/>
                  </a:lnTo>
                  <a:lnTo>
                    <a:pt x="449" y="709"/>
                  </a:lnTo>
                  <a:lnTo>
                    <a:pt x="447" y="711"/>
                  </a:lnTo>
                  <a:lnTo>
                    <a:pt x="445" y="711"/>
                  </a:lnTo>
                  <a:lnTo>
                    <a:pt x="443" y="713"/>
                  </a:lnTo>
                  <a:lnTo>
                    <a:pt x="454" y="728"/>
                  </a:lnTo>
                  <a:lnTo>
                    <a:pt x="469" y="750"/>
                  </a:lnTo>
                  <a:lnTo>
                    <a:pt x="469" y="755"/>
                  </a:lnTo>
                  <a:lnTo>
                    <a:pt x="469" y="761"/>
                  </a:lnTo>
                  <a:lnTo>
                    <a:pt x="467" y="763"/>
                  </a:lnTo>
                  <a:lnTo>
                    <a:pt x="465" y="767"/>
                  </a:lnTo>
                  <a:lnTo>
                    <a:pt x="462" y="767"/>
                  </a:lnTo>
                  <a:lnTo>
                    <a:pt x="460" y="767"/>
                  </a:lnTo>
                  <a:lnTo>
                    <a:pt x="458" y="763"/>
                  </a:lnTo>
                  <a:lnTo>
                    <a:pt x="458" y="759"/>
                  </a:lnTo>
                  <a:lnTo>
                    <a:pt x="458" y="748"/>
                  </a:lnTo>
                  <a:lnTo>
                    <a:pt x="456" y="737"/>
                  </a:lnTo>
                  <a:lnTo>
                    <a:pt x="453" y="737"/>
                  </a:lnTo>
                  <a:lnTo>
                    <a:pt x="451" y="737"/>
                  </a:lnTo>
                  <a:lnTo>
                    <a:pt x="451" y="739"/>
                  </a:lnTo>
                  <a:lnTo>
                    <a:pt x="449" y="743"/>
                  </a:lnTo>
                  <a:lnTo>
                    <a:pt x="449" y="750"/>
                  </a:lnTo>
                  <a:lnTo>
                    <a:pt x="449" y="763"/>
                  </a:lnTo>
                  <a:lnTo>
                    <a:pt x="445" y="768"/>
                  </a:lnTo>
                  <a:lnTo>
                    <a:pt x="443" y="774"/>
                  </a:lnTo>
                  <a:lnTo>
                    <a:pt x="443" y="779"/>
                  </a:lnTo>
                  <a:lnTo>
                    <a:pt x="445" y="785"/>
                  </a:lnTo>
                  <a:lnTo>
                    <a:pt x="436" y="792"/>
                  </a:lnTo>
                  <a:lnTo>
                    <a:pt x="429" y="798"/>
                  </a:lnTo>
                  <a:lnTo>
                    <a:pt x="419" y="800"/>
                  </a:lnTo>
                  <a:lnTo>
                    <a:pt x="416" y="800"/>
                  </a:lnTo>
                  <a:lnTo>
                    <a:pt x="417" y="791"/>
                  </a:lnTo>
                  <a:lnTo>
                    <a:pt x="421" y="783"/>
                  </a:lnTo>
                  <a:lnTo>
                    <a:pt x="419" y="778"/>
                  </a:lnTo>
                  <a:lnTo>
                    <a:pt x="417" y="774"/>
                  </a:lnTo>
                  <a:lnTo>
                    <a:pt x="419" y="768"/>
                  </a:lnTo>
                  <a:lnTo>
                    <a:pt x="421" y="763"/>
                  </a:lnTo>
                  <a:lnTo>
                    <a:pt x="412" y="763"/>
                  </a:lnTo>
                  <a:lnTo>
                    <a:pt x="397" y="767"/>
                  </a:lnTo>
                  <a:lnTo>
                    <a:pt x="395" y="761"/>
                  </a:lnTo>
                  <a:lnTo>
                    <a:pt x="397" y="757"/>
                  </a:lnTo>
                  <a:lnTo>
                    <a:pt x="403" y="750"/>
                  </a:lnTo>
                  <a:lnTo>
                    <a:pt x="406" y="741"/>
                  </a:lnTo>
                  <a:lnTo>
                    <a:pt x="403" y="741"/>
                  </a:lnTo>
                  <a:lnTo>
                    <a:pt x="399" y="741"/>
                  </a:lnTo>
                  <a:lnTo>
                    <a:pt x="395" y="743"/>
                  </a:lnTo>
                  <a:lnTo>
                    <a:pt x="390" y="744"/>
                  </a:lnTo>
                  <a:lnTo>
                    <a:pt x="386" y="748"/>
                  </a:lnTo>
                  <a:lnTo>
                    <a:pt x="384" y="752"/>
                  </a:lnTo>
                  <a:lnTo>
                    <a:pt x="382" y="755"/>
                  </a:lnTo>
                  <a:lnTo>
                    <a:pt x="382" y="759"/>
                  </a:lnTo>
                  <a:lnTo>
                    <a:pt x="390" y="772"/>
                  </a:lnTo>
                  <a:lnTo>
                    <a:pt x="395" y="785"/>
                  </a:lnTo>
                  <a:lnTo>
                    <a:pt x="395" y="789"/>
                  </a:lnTo>
                  <a:lnTo>
                    <a:pt x="393" y="791"/>
                  </a:lnTo>
                  <a:lnTo>
                    <a:pt x="390" y="792"/>
                  </a:lnTo>
                  <a:lnTo>
                    <a:pt x="388" y="792"/>
                  </a:lnTo>
                  <a:lnTo>
                    <a:pt x="381" y="794"/>
                  </a:lnTo>
                  <a:lnTo>
                    <a:pt x="377" y="792"/>
                  </a:lnTo>
                  <a:lnTo>
                    <a:pt x="375" y="783"/>
                  </a:lnTo>
                  <a:lnTo>
                    <a:pt x="375" y="774"/>
                  </a:lnTo>
                  <a:lnTo>
                    <a:pt x="369" y="770"/>
                  </a:lnTo>
                  <a:lnTo>
                    <a:pt x="364" y="767"/>
                  </a:lnTo>
                  <a:lnTo>
                    <a:pt x="360" y="763"/>
                  </a:lnTo>
                  <a:lnTo>
                    <a:pt x="358" y="759"/>
                  </a:lnTo>
                  <a:lnTo>
                    <a:pt x="357" y="754"/>
                  </a:lnTo>
                  <a:lnTo>
                    <a:pt x="357" y="744"/>
                  </a:lnTo>
                  <a:lnTo>
                    <a:pt x="353" y="743"/>
                  </a:lnTo>
                  <a:lnTo>
                    <a:pt x="351" y="743"/>
                  </a:lnTo>
                  <a:lnTo>
                    <a:pt x="347" y="743"/>
                  </a:lnTo>
                  <a:lnTo>
                    <a:pt x="345" y="744"/>
                  </a:lnTo>
                  <a:lnTo>
                    <a:pt x="342" y="748"/>
                  </a:lnTo>
                  <a:lnTo>
                    <a:pt x="340" y="752"/>
                  </a:lnTo>
                  <a:lnTo>
                    <a:pt x="327" y="755"/>
                  </a:lnTo>
                  <a:lnTo>
                    <a:pt x="318" y="763"/>
                  </a:lnTo>
                  <a:lnTo>
                    <a:pt x="314" y="765"/>
                  </a:lnTo>
                  <a:lnTo>
                    <a:pt x="310" y="767"/>
                  </a:lnTo>
                  <a:lnTo>
                    <a:pt x="305" y="765"/>
                  </a:lnTo>
                  <a:lnTo>
                    <a:pt x="297" y="763"/>
                  </a:lnTo>
                  <a:lnTo>
                    <a:pt x="286" y="767"/>
                  </a:lnTo>
                  <a:lnTo>
                    <a:pt x="275" y="768"/>
                  </a:lnTo>
                  <a:lnTo>
                    <a:pt x="273" y="755"/>
                  </a:lnTo>
                  <a:lnTo>
                    <a:pt x="273" y="744"/>
                  </a:lnTo>
                  <a:lnTo>
                    <a:pt x="273" y="737"/>
                  </a:lnTo>
                  <a:lnTo>
                    <a:pt x="277" y="731"/>
                  </a:lnTo>
                  <a:lnTo>
                    <a:pt x="286" y="720"/>
                  </a:lnTo>
                  <a:lnTo>
                    <a:pt x="297" y="707"/>
                  </a:lnTo>
                  <a:lnTo>
                    <a:pt x="297" y="691"/>
                  </a:lnTo>
                  <a:lnTo>
                    <a:pt x="294" y="676"/>
                  </a:lnTo>
                  <a:lnTo>
                    <a:pt x="297" y="670"/>
                  </a:lnTo>
                  <a:lnTo>
                    <a:pt x="303" y="661"/>
                  </a:lnTo>
                  <a:lnTo>
                    <a:pt x="305" y="652"/>
                  </a:lnTo>
                  <a:lnTo>
                    <a:pt x="307" y="643"/>
                  </a:lnTo>
                  <a:lnTo>
                    <a:pt x="310" y="633"/>
                  </a:lnTo>
                  <a:lnTo>
                    <a:pt x="316" y="626"/>
                  </a:lnTo>
                  <a:lnTo>
                    <a:pt x="320" y="611"/>
                  </a:lnTo>
                  <a:lnTo>
                    <a:pt x="321" y="591"/>
                  </a:lnTo>
                  <a:lnTo>
                    <a:pt x="327" y="585"/>
                  </a:lnTo>
                  <a:lnTo>
                    <a:pt x="329" y="580"/>
                  </a:lnTo>
                  <a:lnTo>
                    <a:pt x="327" y="578"/>
                  </a:lnTo>
                  <a:lnTo>
                    <a:pt x="327" y="576"/>
                  </a:lnTo>
                  <a:lnTo>
                    <a:pt x="323" y="574"/>
                  </a:lnTo>
                  <a:lnTo>
                    <a:pt x="320" y="573"/>
                  </a:lnTo>
                  <a:lnTo>
                    <a:pt x="318" y="567"/>
                  </a:lnTo>
                  <a:lnTo>
                    <a:pt x="316" y="558"/>
                  </a:lnTo>
                  <a:lnTo>
                    <a:pt x="316" y="554"/>
                  </a:lnTo>
                  <a:lnTo>
                    <a:pt x="318" y="548"/>
                  </a:lnTo>
                  <a:lnTo>
                    <a:pt x="320" y="543"/>
                  </a:lnTo>
                  <a:lnTo>
                    <a:pt x="323" y="539"/>
                  </a:lnTo>
                  <a:lnTo>
                    <a:pt x="323" y="534"/>
                  </a:lnTo>
                  <a:lnTo>
                    <a:pt x="320" y="530"/>
                  </a:lnTo>
                  <a:lnTo>
                    <a:pt x="320" y="526"/>
                  </a:lnTo>
                  <a:lnTo>
                    <a:pt x="320" y="523"/>
                  </a:lnTo>
                  <a:lnTo>
                    <a:pt x="320" y="517"/>
                  </a:lnTo>
                  <a:lnTo>
                    <a:pt x="323" y="512"/>
                  </a:lnTo>
                  <a:lnTo>
                    <a:pt x="323" y="508"/>
                  </a:lnTo>
                  <a:lnTo>
                    <a:pt x="323" y="500"/>
                  </a:lnTo>
                  <a:lnTo>
                    <a:pt x="323" y="497"/>
                  </a:lnTo>
                  <a:lnTo>
                    <a:pt x="323" y="493"/>
                  </a:lnTo>
                  <a:lnTo>
                    <a:pt x="325" y="489"/>
                  </a:lnTo>
                  <a:lnTo>
                    <a:pt x="327" y="488"/>
                  </a:lnTo>
                  <a:lnTo>
                    <a:pt x="329" y="480"/>
                  </a:lnTo>
                  <a:lnTo>
                    <a:pt x="329" y="476"/>
                  </a:lnTo>
                  <a:lnTo>
                    <a:pt x="331" y="471"/>
                  </a:lnTo>
                  <a:lnTo>
                    <a:pt x="338" y="462"/>
                  </a:lnTo>
                  <a:lnTo>
                    <a:pt x="338" y="456"/>
                  </a:lnTo>
                  <a:lnTo>
                    <a:pt x="338" y="447"/>
                  </a:lnTo>
                  <a:lnTo>
                    <a:pt x="338" y="438"/>
                  </a:lnTo>
                  <a:lnTo>
                    <a:pt x="344" y="428"/>
                  </a:lnTo>
                  <a:lnTo>
                    <a:pt x="345" y="419"/>
                  </a:lnTo>
                  <a:lnTo>
                    <a:pt x="344" y="406"/>
                  </a:lnTo>
                  <a:lnTo>
                    <a:pt x="340" y="393"/>
                  </a:lnTo>
                  <a:lnTo>
                    <a:pt x="338" y="380"/>
                  </a:lnTo>
                  <a:lnTo>
                    <a:pt x="344" y="366"/>
                  </a:lnTo>
                  <a:lnTo>
                    <a:pt x="355" y="351"/>
                  </a:lnTo>
                  <a:lnTo>
                    <a:pt x="351" y="327"/>
                  </a:lnTo>
                  <a:lnTo>
                    <a:pt x="347" y="301"/>
                  </a:lnTo>
                  <a:lnTo>
                    <a:pt x="349" y="290"/>
                  </a:lnTo>
                  <a:lnTo>
                    <a:pt x="353" y="279"/>
                  </a:lnTo>
                  <a:lnTo>
                    <a:pt x="358" y="268"/>
                  </a:lnTo>
                  <a:lnTo>
                    <a:pt x="364" y="257"/>
                  </a:lnTo>
                  <a:lnTo>
                    <a:pt x="369" y="253"/>
                  </a:lnTo>
                  <a:lnTo>
                    <a:pt x="377" y="247"/>
                  </a:lnTo>
                  <a:lnTo>
                    <a:pt x="381" y="240"/>
                  </a:lnTo>
                  <a:lnTo>
                    <a:pt x="382" y="233"/>
                  </a:lnTo>
                  <a:lnTo>
                    <a:pt x="390" y="225"/>
                  </a:lnTo>
                  <a:lnTo>
                    <a:pt x="397" y="218"/>
                  </a:lnTo>
                  <a:lnTo>
                    <a:pt x="434" y="186"/>
                  </a:lnTo>
                  <a:lnTo>
                    <a:pt x="449" y="172"/>
                  </a:lnTo>
                  <a:lnTo>
                    <a:pt x="453" y="173"/>
                  </a:lnTo>
                  <a:lnTo>
                    <a:pt x="456" y="177"/>
                  </a:lnTo>
                  <a:lnTo>
                    <a:pt x="458" y="181"/>
                  </a:lnTo>
                  <a:lnTo>
                    <a:pt x="460" y="184"/>
                  </a:lnTo>
                  <a:lnTo>
                    <a:pt x="464" y="190"/>
                  </a:lnTo>
                  <a:lnTo>
                    <a:pt x="465" y="192"/>
                  </a:lnTo>
                  <a:lnTo>
                    <a:pt x="469" y="194"/>
                  </a:lnTo>
                  <a:lnTo>
                    <a:pt x="475" y="192"/>
                  </a:lnTo>
                  <a:lnTo>
                    <a:pt x="478" y="190"/>
                  </a:lnTo>
                  <a:lnTo>
                    <a:pt x="478" y="186"/>
                  </a:lnTo>
                  <a:lnTo>
                    <a:pt x="478" y="183"/>
                  </a:lnTo>
                  <a:lnTo>
                    <a:pt x="477" y="179"/>
                  </a:lnTo>
                  <a:lnTo>
                    <a:pt x="473" y="172"/>
                  </a:lnTo>
                  <a:lnTo>
                    <a:pt x="471" y="164"/>
                  </a:lnTo>
                  <a:lnTo>
                    <a:pt x="473" y="159"/>
                  </a:lnTo>
                  <a:lnTo>
                    <a:pt x="477" y="155"/>
                  </a:lnTo>
                  <a:lnTo>
                    <a:pt x="482" y="151"/>
                  </a:lnTo>
                  <a:lnTo>
                    <a:pt x="490" y="146"/>
                  </a:lnTo>
                  <a:lnTo>
                    <a:pt x="486" y="135"/>
                  </a:lnTo>
                  <a:lnTo>
                    <a:pt x="480" y="127"/>
                  </a:lnTo>
                  <a:lnTo>
                    <a:pt x="477" y="122"/>
                  </a:lnTo>
                  <a:lnTo>
                    <a:pt x="471" y="118"/>
                  </a:lnTo>
                  <a:lnTo>
                    <a:pt x="462" y="114"/>
                  </a:lnTo>
                  <a:lnTo>
                    <a:pt x="453" y="112"/>
                  </a:lnTo>
                  <a:lnTo>
                    <a:pt x="438" y="111"/>
                  </a:lnTo>
                  <a:lnTo>
                    <a:pt x="427" y="112"/>
                  </a:lnTo>
                  <a:lnTo>
                    <a:pt x="417" y="114"/>
                  </a:lnTo>
                  <a:lnTo>
                    <a:pt x="412" y="118"/>
                  </a:lnTo>
                  <a:lnTo>
                    <a:pt x="406" y="120"/>
                  </a:lnTo>
                  <a:lnTo>
                    <a:pt x="403" y="122"/>
                  </a:lnTo>
                  <a:lnTo>
                    <a:pt x="399" y="123"/>
                  </a:lnTo>
                  <a:lnTo>
                    <a:pt x="395" y="122"/>
                  </a:lnTo>
                  <a:lnTo>
                    <a:pt x="388" y="116"/>
                  </a:lnTo>
                  <a:lnTo>
                    <a:pt x="386" y="109"/>
                  </a:lnTo>
                  <a:lnTo>
                    <a:pt x="386" y="101"/>
                  </a:lnTo>
                  <a:lnTo>
                    <a:pt x="388" y="94"/>
                  </a:lnTo>
                  <a:lnTo>
                    <a:pt x="392" y="77"/>
                  </a:lnTo>
                  <a:lnTo>
                    <a:pt x="393" y="55"/>
                  </a:lnTo>
                  <a:lnTo>
                    <a:pt x="393" y="50"/>
                  </a:lnTo>
                  <a:lnTo>
                    <a:pt x="392" y="44"/>
                  </a:lnTo>
                  <a:lnTo>
                    <a:pt x="388" y="37"/>
                  </a:lnTo>
                  <a:lnTo>
                    <a:pt x="384" y="31"/>
                  </a:lnTo>
                  <a:lnTo>
                    <a:pt x="371" y="20"/>
                  </a:lnTo>
                  <a:lnTo>
                    <a:pt x="357" y="13"/>
                  </a:lnTo>
                  <a:lnTo>
                    <a:pt x="342" y="5"/>
                  </a:lnTo>
                  <a:lnTo>
                    <a:pt x="327" y="0"/>
                  </a:lnTo>
                  <a:lnTo>
                    <a:pt x="314" y="0"/>
                  </a:lnTo>
                  <a:lnTo>
                    <a:pt x="305" y="0"/>
                  </a:lnTo>
                  <a:lnTo>
                    <a:pt x="297" y="11"/>
                  </a:lnTo>
                  <a:lnTo>
                    <a:pt x="288" y="22"/>
                  </a:lnTo>
                  <a:lnTo>
                    <a:pt x="284" y="27"/>
                  </a:lnTo>
                  <a:lnTo>
                    <a:pt x="279" y="31"/>
                  </a:lnTo>
                  <a:lnTo>
                    <a:pt x="275" y="33"/>
                  </a:lnTo>
                  <a:lnTo>
                    <a:pt x="272" y="33"/>
                  </a:lnTo>
                  <a:lnTo>
                    <a:pt x="277" y="38"/>
                  </a:lnTo>
                  <a:lnTo>
                    <a:pt x="281" y="44"/>
                  </a:lnTo>
                  <a:lnTo>
                    <a:pt x="283" y="46"/>
                  </a:lnTo>
                  <a:lnTo>
                    <a:pt x="283" y="48"/>
                  </a:lnTo>
                  <a:lnTo>
                    <a:pt x="283" y="51"/>
                  </a:lnTo>
                  <a:lnTo>
                    <a:pt x="281" y="53"/>
                  </a:lnTo>
                  <a:lnTo>
                    <a:pt x="275" y="57"/>
                  </a:lnTo>
                  <a:lnTo>
                    <a:pt x="270" y="59"/>
                  </a:lnTo>
                  <a:lnTo>
                    <a:pt x="266" y="57"/>
                  </a:lnTo>
                  <a:lnTo>
                    <a:pt x="262" y="53"/>
                  </a:lnTo>
                  <a:lnTo>
                    <a:pt x="257" y="46"/>
                  </a:lnTo>
                  <a:lnTo>
                    <a:pt x="253" y="42"/>
                  </a:lnTo>
                  <a:lnTo>
                    <a:pt x="249" y="48"/>
                  </a:lnTo>
                  <a:lnTo>
                    <a:pt x="249" y="53"/>
                  </a:lnTo>
                  <a:lnTo>
                    <a:pt x="240" y="51"/>
                  </a:lnTo>
                  <a:lnTo>
                    <a:pt x="229" y="51"/>
                  </a:lnTo>
                  <a:lnTo>
                    <a:pt x="223" y="55"/>
                  </a:lnTo>
                  <a:lnTo>
                    <a:pt x="222" y="61"/>
                  </a:lnTo>
                  <a:lnTo>
                    <a:pt x="222" y="64"/>
                  </a:lnTo>
                  <a:lnTo>
                    <a:pt x="222" y="70"/>
                  </a:lnTo>
                  <a:lnTo>
                    <a:pt x="223" y="74"/>
                  </a:lnTo>
                  <a:lnTo>
                    <a:pt x="223" y="79"/>
                  </a:lnTo>
                  <a:lnTo>
                    <a:pt x="222" y="85"/>
                  </a:lnTo>
                  <a:lnTo>
                    <a:pt x="218" y="90"/>
                  </a:lnTo>
                  <a:lnTo>
                    <a:pt x="194" y="90"/>
                  </a:lnTo>
                  <a:lnTo>
                    <a:pt x="166" y="88"/>
                  </a:lnTo>
                  <a:lnTo>
                    <a:pt x="151" y="87"/>
                  </a:lnTo>
                  <a:lnTo>
                    <a:pt x="140" y="87"/>
                  </a:lnTo>
                  <a:lnTo>
                    <a:pt x="137" y="87"/>
                  </a:lnTo>
                  <a:lnTo>
                    <a:pt x="133" y="88"/>
                  </a:lnTo>
                  <a:lnTo>
                    <a:pt x="131" y="90"/>
                  </a:lnTo>
                  <a:lnTo>
                    <a:pt x="131" y="94"/>
                  </a:lnTo>
                  <a:lnTo>
                    <a:pt x="133" y="109"/>
                  </a:lnTo>
                  <a:lnTo>
                    <a:pt x="137" y="129"/>
                  </a:lnTo>
                  <a:lnTo>
                    <a:pt x="140" y="146"/>
                  </a:lnTo>
                  <a:lnTo>
                    <a:pt x="140" y="155"/>
                  </a:lnTo>
                  <a:lnTo>
                    <a:pt x="137" y="183"/>
                  </a:lnTo>
                  <a:lnTo>
                    <a:pt x="127" y="208"/>
                  </a:lnTo>
                  <a:lnTo>
                    <a:pt x="124" y="221"/>
                  </a:lnTo>
                  <a:lnTo>
                    <a:pt x="120" y="233"/>
                  </a:lnTo>
                  <a:lnTo>
                    <a:pt x="120" y="244"/>
                  </a:lnTo>
                  <a:lnTo>
                    <a:pt x="120" y="251"/>
                  </a:lnTo>
                  <a:lnTo>
                    <a:pt x="126" y="260"/>
                  </a:lnTo>
                  <a:lnTo>
                    <a:pt x="131" y="266"/>
                  </a:lnTo>
                  <a:lnTo>
                    <a:pt x="137" y="269"/>
                  </a:lnTo>
                  <a:lnTo>
                    <a:pt x="144" y="273"/>
                  </a:lnTo>
                  <a:lnTo>
                    <a:pt x="148" y="286"/>
                  </a:lnTo>
                  <a:lnTo>
                    <a:pt x="150" y="299"/>
                  </a:lnTo>
                  <a:lnTo>
                    <a:pt x="161" y="318"/>
                  </a:lnTo>
                  <a:lnTo>
                    <a:pt x="172" y="329"/>
                  </a:lnTo>
                  <a:lnTo>
                    <a:pt x="177" y="334"/>
                  </a:lnTo>
                  <a:lnTo>
                    <a:pt x="181" y="338"/>
                  </a:lnTo>
                  <a:lnTo>
                    <a:pt x="183" y="345"/>
                  </a:lnTo>
                  <a:lnTo>
                    <a:pt x="185" y="351"/>
                  </a:lnTo>
                  <a:lnTo>
                    <a:pt x="183" y="354"/>
                  </a:lnTo>
                  <a:lnTo>
                    <a:pt x="179" y="356"/>
                  </a:lnTo>
                  <a:lnTo>
                    <a:pt x="174" y="354"/>
                  </a:lnTo>
                  <a:lnTo>
                    <a:pt x="168" y="353"/>
                  </a:lnTo>
                  <a:lnTo>
                    <a:pt x="161" y="356"/>
                  </a:lnTo>
                  <a:lnTo>
                    <a:pt x="157" y="360"/>
                  </a:lnTo>
                  <a:lnTo>
                    <a:pt x="155" y="366"/>
                  </a:lnTo>
                  <a:lnTo>
                    <a:pt x="153" y="371"/>
                  </a:lnTo>
                  <a:lnTo>
                    <a:pt x="153" y="377"/>
                  </a:lnTo>
                  <a:lnTo>
                    <a:pt x="151" y="384"/>
                  </a:lnTo>
                  <a:lnTo>
                    <a:pt x="148" y="393"/>
                  </a:lnTo>
                  <a:lnTo>
                    <a:pt x="142" y="401"/>
                  </a:lnTo>
                  <a:lnTo>
                    <a:pt x="135" y="408"/>
                  </a:lnTo>
                  <a:lnTo>
                    <a:pt x="129" y="412"/>
                  </a:lnTo>
                  <a:lnTo>
                    <a:pt x="124" y="414"/>
                  </a:lnTo>
                  <a:lnTo>
                    <a:pt x="116" y="415"/>
                  </a:lnTo>
                  <a:lnTo>
                    <a:pt x="107" y="417"/>
                  </a:lnTo>
                  <a:lnTo>
                    <a:pt x="100" y="421"/>
                  </a:lnTo>
                  <a:lnTo>
                    <a:pt x="98" y="434"/>
                  </a:lnTo>
                  <a:lnTo>
                    <a:pt x="102" y="454"/>
                  </a:lnTo>
                  <a:lnTo>
                    <a:pt x="92" y="456"/>
                  </a:lnTo>
                  <a:lnTo>
                    <a:pt x="85" y="454"/>
                  </a:lnTo>
                  <a:lnTo>
                    <a:pt x="78" y="452"/>
                  </a:lnTo>
                  <a:lnTo>
                    <a:pt x="68" y="452"/>
                  </a:lnTo>
                  <a:lnTo>
                    <a:pt x="63" y="460"/>
                  </a:lnTo>
                  <a:lnTo>
                    <a:pt x="57" y="469"/>
                  </a:lnTo>
                  <a:lnTo>
                    <a:pt x="50" y="467"/>
                  </a:lnTo>
                  <a:lnTo>
                    <a:pt x="41" y="463"/>
                  </a:lnTo>
                  <a:lnTo>
                    <a:pt x="37" y="471"/>
                  </a:lnTo>
                  <a:lnTo>
                    <a:pt x="31" y="478"/>
                  </a:lnTo>
                  <a:lnTo>
                    <a:pt x="26" y="478"/>
                  </a:lnTo>
                  <a:lnTo>
                    <a:pt x="20" y="476"/>
                  </a:lnTo>
                  <a:lnTo>
                    <a:pt x="17" y="476"/>
                  </a:lnTo>
                  <a:lnTo>
                    <a:pt x="15" y="476"/>
                  </a:lnTo>
                  <a:lnTo>
                    <a:pt x="11" y="478"/>
                  </a:lnTo>
                  <a:lnTo>
                    <a:pt x="9" y="482"/>
                  </a:lnTo>
                  <a:lnTo>
                    <a:pt x="6" y="488"/>
                  </a:lnTo>
                  <a:lnTo>
                    <a:pt x="6" y="493"/>
                  </a:lnTo>
                  <a:lnTo>
                    <a:pt x="6" y="497"/>
                  </a:lnTo>
                  <a:lnTo>
                    <a:pt x="7" y="499"/>
                  </a:lnTo>
                  <a:lnTo>
                    <a:pt x="13" y="502"/>
                  </a:lnTo>
                  <a:lnTo>
                    <a:pt x="15" y="508"/>
                  </a:lnTo>
                  <a:lnTo>
                    <a:pt x="7" y="515"/>
                  </a:lnTo>
                  <a:lnTo>
                    <a:pt x="2" y="521"/>
                  </a:lnTo>
                  <a:lnTo>
                    <a:pt x="4" y="534"/>
                  </a:lnTo>
                  <a:lnTo>
                    <a:pt x="7" y="545"/>
                  </a:lnTo>
                  <a:lnTo>
                    <a:pt x="6" y="556"/>
                  </a:lnTo>
                  <a:lnTo>
                    <a:pt x="4" y="565"/>
                  </a:lnTo>
                  <a:lnTo>
                    <a:pt x="11" y="573"/>
                  </a:lnTo>
                  <a:lnTo>
                    <a:pt x="17" y="584"/>
                  </a:lnTo>
                  <a:lnTo>
                    <a:pt x="9" y="585"/>
                  </a:lnTo>
                  <a:lnTo>
                    <a:pt x="0" y="591"/>
                  </a:lnTo>
                  <a:lnTo>
                    <a:pt x="15" y="604"/>
                  </a:lnTo>
                  <a:lnTo>
                    <a:pt x="30" y="615"/>
                  </a:lnTo>
                  <a:lnTo>
                    <a:pt x="24" y="624"/>
                  </a:lnTo>
                  <a:lnTo>
                    <a:pt x="20" y="635"/>
                  </a:lnTo>
                  <a:lnTo>
                    <a:pt x="30" y="645"/>
                  </a:lnTo>
                  <a:lnTo>
                    <a:pt x="37" y="654"/>
                  </a:lnTo>
                  <a:lnTo>
                    <a:pt x="30" y="667"/>
                  </a:lnTo>
                  <a:lnTo>
                    <a:pt x="22" y="680"/>
                  </a:lnTo>
                  <a:lnTo>
                    <a:pt x="39" y="685"/>
                  </a:lnTo>
                  <a:lnTo>
                    <a:pt x="55" y="696"/>
                  </a:lnTo>
                  <a:lnTo>
                    <a:pt x="54" y="707"/>
                  </a:lnTo>
                  <a:lnTo>
                    <a:pt x="54" y="722"/>
                  </a:lnTo>
                  <a:lnTo>
                    <a:pt x="46" y="730"/>
                  </a:lnTo>
                  <a:lnTo>
                    <a:pt x="44" y="737"/>
                  </a:lnTo>
                  <a:lnTo>
                    <a:pt x="44" y="744"/>
                  </a:lnTo>
                  <a:lnTo>
                    <a:pt x="48" y="750"/>
                  </a:lnTo>
                  <a:lnTo>
                    <a:pt x="57" y="759"/>
                  </a:lnTo>
                  <a:lnTo>
                    <a:pt x="65" y="765"/>
                  </a:lnTo>
                  <a:lnTo>
                    <a:pt x="65" y="772"/>
                  </a:lnTo>
                  <a:lnTo>
                    <a:pt x="63" y="778"/>
                  </a:lnTo>
                  <a:lnTo>
                    <a:pt x="63" y="783"/>
                  </a:lnTo>
                  <a:lnTo>
                    <a:pt x="59" y="787"/>
                  </a:lnTo>
                  <a:lnTo>
                    <a:pt x="68" y="783"/>
                  </a:lnTo>
                  <a:lnTo>
                    <a:pt x="96" y="772"/>
                  </a:lnTo>
                  <a:lnTo>
                    <a:pt x="111" y="768"/>
                  </a:lnTo>
                  <a:lnTo>
                    <a:pt x="124" y="765"/>
                  </a:lnTo>
                  <a:lnTo>
                    <a:pt x="137" y="765"/>
                  </a:lnTo>
                  <a:lnTo>
                    <a:pt x="144" y="767"/>
                  </a:lnTo>
                  <a:lnTo>
                    <a:pt x="146" y="768"/>
                  </a:lnTo>
                  <a:lnTo>
                    <a:pt x="148" y="770"/>
                  </a:lnTo>
                  <a:lnTo>
                    <a:pt x="148" y="772"/>
                  </a:lnTo>
                  <a:lnTo>
                    <a:pt x="148" y="774"/>
                  </a:lnTo>
                  <a:lnTo>
                    <a:pt x="146" y="778"/>
                  </a:lnTo>
                  <a:lnTo>
                    <a:pt x="144" y="783"/>
                  </a:lnTo>
                  <a:lnTo>
                    <a:pt x="146" y="789"/>
                  </a:lnTo>
                  <a:lnTo>
                    <a:pt x="148" y="794"/>
                  </a:lnTo>
                  <a:lnTo>
                    <a:pt x="144" y="798"/>
                  </a:lnTo>
                  <a:lnTo>
                    <a:pt x="139" y="800"/>
                  </a:lnTo>
                  <a:lnTo>
                    <a:pt x="137" y="803"/>
                  </a:lnTo>
                  <a:lnTo>
                    <a:pt x="133" y="807"/>
                  </a:lnTo>
                  <a:lnTo>
                    <a:pt x="131" y="815"/>
                  </a:lnTo>
                  <a:lnTo>
                    <a:pt x="129" y="826"/>
                  </a:lnTo>
                  <a:lnTo>
                    <a:pt x="116" y="839"/>
                  </a:lnTo>
                  <a:lnTo>
                    <a:pt x="109" y="850"/>
                  </a:lnTo>
                  <a:lnTo>
                    <a:pt x="109" y="866"/>
                  </a:lnTo>
                  <a:lnTo>
                    <a:pt x="109" y="885"/>
                  </a:lnTo>
                  <a:lnTo>
                    <a:pt x="103" y="894"/>
                  </a:lnTo>
                  <a:lnTo>
                    <a:pt x="98" y="903"/>
                  </a:lnTo>
                  <a:lnTo>
                    <a:pt x="96" y="907"/>
                  </a:lnTo>
                  <a:lnTo>
                    <a:pt x="94" y="911"/>
                  </a:lnTo>
                  <a:lnTo>
                    <a:pt x="94" y="916"/>
                  </a:lnTo>
                  <a:lnTo>
                    <a:pt x="96" y="922"/>
                  </a:lnTo>
                  <a:lnTo>
                    <a:pt x="100" y="925"/>
                  </a:lnTo>
                  <a:lnTo>
                    <a:pt x="102" y="927"/>
                  </a:lnTo>
                  <a:lnTo>
                    <a:pt x="105" y="929"/>
                  </a:lnTo>
                  <a:lnTo>
                    <a:pt x="109" y="929"/>
                  </a:lnTo>
                  <a:lnTo>
                    <a:pt x="116" y="929"/>
                  </a:lnTo>
                  <a:lnTo>
                    <a:pt x="126" y="925"/>
                  </a:lnTo>
                  <a:lnTo>
                    <a:pt x="133" y="924"/>
                  </a:lnTo>
                  <a:lnTo>
                    <a:pt x="142" y="924"/>
                  </a:lnTo>
                  <a:lnTo>
                    <a:pt x="151" y="924"/>
                  </a:lnTo>
                  <a:lnTo>
                    <a:pt x="161" y="929"/>
                  </a:lnTo>
                  <a:lnTo>
                    <a:pt x="163" y="935"/>
                  </a:lnTo>
                  <a:lnTo>
                    <a:pt x="164" y="942"/>
                  </a:lnTo>
                  <a:lnTo>
                    <a:pt x="164" y="949"/>
                  </a:lnTo>
                  <a:lnTo>
                    <a:pt x="164" y="955"/>
                  </a:lnTo>
                  <a:lnTo>
                    <a:pt x="166" y="961"/>
                  </a:lnTo>
                  <a:lnTo>
                    <a:pt x="168" y="964"/>
                  </a:lnTo>
                  <a:lnTo>
                    <a:pt x="174" y="966"/>
                  </a:lnTo>
                  <a:lnTo>
                    <a:pt x="181" y="966"/>
                  </a:lnTo>
                  <a:lnTo>
                    <a:pt x="188" y="966"/>
                  </a:lnTo>
                  <a:lnTo>
                    <a:pt x="192" y="962"/>
                  </a:lnTo>
                  <a:lnTo>
                    <a:pt x="194" y="959"/>
                  </a:lnTo>
                  <a:lnTo>
                    <a:pt x="196" y="953"/>
                  </a:lnTo>
                  <a:lnTo>
                    <a:pt x="196" y="949"/>
                  </a:lnTo>
                  <a:lnTo>
                    <a:pt x="196" y="944"/>
                  </a:lnTo>
                  <a:lnTo>
                    <a:pt x="198" y="940"/>
                  </a:lnTo>
                  <a:lnTo>
                    <a:pt x="201" y="937"/>
                  </a:lnTo>
                  <a:lnTo>
                    <a:pt x="212" y="935"/>
                  </a:lnTo>
                  <a:lnTo>
                    <a:pt x="225" y="929"/>
                  </a:lnTo>
                  <a:lnTo>
                    <a:pt x="233" y="909"/>
                  </a:lnTo>
                  <a:lnTo>
                    <a:pt x="244" y="888"/>
                  </a:lnTo>
                  <a:lnTo>
                    <a:pt x="259" y="887"/>
                  </a:lnTo>
                  <a:lnTo>
                    <a:pt x="270" y="887"/>
                  </a:lnTo>
                  <a:lnTo>
                    <a:pt x="275" y="879"/>
                  </a:lnTo>
                  <a:lnTo>
                    <a:pt x="283" y="870"/>
                  </a:lnTo>
                  <a:lnTo>
                    <a:pt x="286" y="866"/>
                  </a:lnTo>
                  <a:lnTo>
                    <a:pt x="290" y="864"/>
                  </a:lnTo>
                  <a:lnTo>
                    <a:pt x="296" y="863"/>
                  </a:lnTo>
                  <a:lnTo>
                    <a:pt x="303" y="863"/>
                  </a:lnTo>
                  <a:lnTo>
                    <a:pt x="308" y="864"/>
                  </a:lnTo>
                  <a:lnTo>
                    <a:pt x="312" y="868"/>
                  </a:lnTo>
                  <a:lnTo>
                    <a:pt x="314" y="874"/>
                  </a:lnTo>
                  <a:lnTo>
                    <a:pt x="316" y="879"/>
                  </a:lnTo>
                  <a:lnTo>
                    <a:pt x="318" y="892"/>
                  </a:lnTo>
                  <a:lnTo>
                    <a:pt x="318" y="905"/>
                  </a:lnTo>
                  <a:lnTo>
                    <a:pt x="323" y="911"/>
                  </a:lnTo>
                  <a:lnTo>
                    <a:pt x="331" y="914"/>
                  </a:lnTo>
                  <a:lnTo>
                    <a:pt x="334" y="918"/>
                  </a:lnTo>
                  <a:lnTo>
                    <a:pt x="336" y="922"/>
                  </a:lnTo>
                  <a:lnTo>
                    <a:pt x="338" y="927"/>
                  </a:lnTo>
                  <a:lnTo>
                    <a:pt x="338" y="935"/>
                  </a:lnTo>
                  <a:lnTo>
                    <a:pt x="338" y="938"/>
                  </a:lnTo>
                  <a:lnTo>
                    <a:pt x="334" y="942"/>
                  </a:lnTo>
                  <a:lnTo>
                    <a:pt x="331" y="944"/>
                  </a:lnTo>
                  <a:lnTo>
                    <a:pt x="327" y="946"/>
                  </a:lnTo>
                  <a:lnTo>
                    <a:pt x="316" y="949"/>
                  </a:lnTo>
                  <a:lnTo>
                    <a:pt x="303" y="953"/>
                  </a:lnTo>
                  <a:lnTo>
                    <a:pt x="292" y="955"/>
                  </a:lnTo>
                  <a:lnTo>
                    <a:pt x="281" y="957"/>
                  </a:lnTo>
                  <a:lnTo>
                    <a:pt x="273" y="959"/>
                  </a:lnTo>
                  <a:lnTo>
                    <a:pt x="270" y="961"/>
                  </a:lnTo>
                  <a:lnTo>
                    <a:pt x="270" y="966"/>
                  </a:lnTo>
                  <a:lnTo>
                    <a:pt x="273" y="972"/>
                  </a:lnTo>
                  <a:lnTo>
                    <a:pt x="277" y="975"/>
                  </a:lnTo>
                  <a:lnTo>
                    <a:pt x="283" y="979"/>
                  </a:lnTo>
                  <a:lnTo>
                    <a:pt x="288" y="983"/>
                  </a:lnTo>
                  <a:lnTo>
                    <a:pt x="292" y="986"/>
                  </a:lnTo>
                  <a:lnTo>
                    <a:pt x="296" y="990"/>
                  </a:lnTo>
                  <a:lnTo>
                    <a:pt x="297" y="994"/>
                  </a:lnTo>
                  <a:lnTo>
                    <a:pt x="288" y="1003"/>
                  </a:lnTo>
                  <a:lnTo>
                    <a:pt x="270" y="1023"/>
                  </a:lnTo>
                  <a:lnTo>
                    <a:pt x="264" y="1034"/>
                  </a:lnTo>
                  <a:lnTo>
                    <a:pt x="262" y="1044"/>
                  </a:lnTo>
                  <a:lnTo>
                    <a:pt x="260" y="1051"/>
                  </a:lnTo>
                  <a:lnTo>
                    <a:pt x="259" y="1060"/>
                  </a:lnTo>
                  <a:lnTo>
                    <a:pt x="242" y="1068"/>
                  </a:lnTo>
                  <a:lnTo>
                    <a:pt x="227" y="1077"/>
                  </a:lnTo>
                  <a:lnTo>
                    <a:pt x="233" y="1090"/>
                  </a:lnTo>
                  <a:lnTo>
                    <a:pt x="240" y="1103"/>
                  </a:lnTo>
                  <a:lnTo>
                    <a:pt x="233" y="1116"/>
                  </a:lnTo>
                  <a:lnTo>
                    <a:pt x="225" y="1127"/>
                  </a:lnTo>
                  <a:lnTo>
                    <a:pt x="222" y="1132"/>
                  </a:lnTo>
                  <a:lnTo>
                    <a:pt x="220" y="1140"/>
                  </a:lnTo>
                  <a:lnTo>
                    <a:pt x="218" y="1149"/>
                  </a:lnTo>
                  <a:lnTo>
                    <a:pt x="220" y="1158"/>
                  </a:lnTo>
                  <a:lnTo>
                    <a:pt x="229" y="1166"/>
                  </a:lnTo>
                  <a:lnTo>
                    <a:pt x="236" y="1171"/>
                  </a:lnTo>
                  <a:lnTo>
                    <a:pt x="244" y="1175"/>
                  </a:lnTo>
                  <a:lnTo>
                    <a:pt x="253" y="1179"/>
                  </a:lnTo>
                  <a:lnTo>
                    <a:pt x="272" y="1182"/>
                  </a:lnTo>
                  <a:lnTo>
                    <a:pt x="296" y="1186"/>
                  </a:lnTo>
                  <a:lnTo>
                    <a:pt x="297" y="1195"/>
                  </a:lnTo>
                  <a:lnTo>
                    <a:pt x="299" y="1212"/>
                  </a:lnTo>
                  <a:lnTo>
                    <a:pt x="303" y="1223"/>
                  </a:lnTo>
                  <a:lnTo>
                    <a:pt x="305" y="1230"/>
                  </a:lnTo>
                  <a:lnTo>
                    <a:pt x="310" y="1240"/>
                  </a:lnTo>
                  <a:lnTo>
                    <a:pt x="320" y="1243"/>
                  </a:lnTo>
                  <a:lnTo>
                    <a:pt x="320" y="1245"/>
                  </a:lnTo>
                  <a:lnTo>
                    <a:pt x="321" y="1245"/>
                  </a:lnTo>
                  <a:lnTo>
                    <a:pt x="325" y="1245"/>
                  </a:lnTo>
                  <a:lnTo>
                    <a:pt x="329" y="1247"/>
                  </a:lnTo>
                  <a:lnTo>
                    <a:pt x="331" y="1247"/>
                  </a:lnTo>
                  <a:lnTo>
                    <a:pt x="332" y="1247"/>
                  </a:lnTo>
                  <a:lnTo>
                    <a:pt x="334" y="1247"/>
                  </a:lnTo>
                  <a:lnTo>
                    <a:pt x="334" y="1245"/>
                  </a:lnTo>
                  <a:lnTo>
                    <a:pt x="336" y="1245"/>
                  </a:lnTo>
                  <a:lnTo>
                    <a:pt x="347" y="1234"/>
                  </a:lnTo>
                  <a:lnTo>
                    <a:pt x="355" y="1221"/>
                  </a:lnTo>
                  <a:lnTo>
                    <a:pt x="364" y="1223"/>
                  </a:lnTo>
                  <a:lnTo>
                    <a:pt x="379" y="1228"/>
                  </a:lnTo>
                  <a:lnTo>
                    <a:pt x="392" y="1221"/>
                  </a:lnTo>
                  <a:lnTo>
                    <a:pt x="405" y="1216"/>
                  </a:lnTo>
                  <a:lnTo>
                    <a:pt x="417" y="1223"/>
                  </a:lnTo>
                  <a:lnTo>
                    <a:pt x="432" y="1230"/>
                  </a:lnTo>
                  <a:lnTo>
                    <a:pt x="440" y="1236"/>
                  </a:lnTo>
                  <a:lnTo>
                    <a:pt x="447" y="1238"/>
                  </a:lnTo>
                  <a:lnTo>
                    <a:pt x="454" y="1240"/>
                  </a:lnTo>
                  <a:lnTo>
                    <a:pt x="460" y="1240"/>
                  </a:lnTo>
                  <a:lnTo>
                    <a:pt x="465" y="1238"/>
                  </a:lnTo>
                  <a:lnTo>
                    <a:pt x="471" y="1230"/>
                  </a:lnTo>
                  <a:lnTo>
                    <a:pt x="478" y="1223"/>
                  </a:lnTo>
                  <a:lnTo>
                    <a:pt x="486" y="1214"/>
                  </a:lnTo>
                  <a:lnTo>
                    <a:pt x="493" y="1203"/>
                  </a:lnTo>
                  <a:lnTo>
                    <a:pt x="506" y="1193"/>
                  </a:lnTo>
                  <a:lnTo>
                    <a:pt x="512" y="1190"/>
                  </a:lnTo>
                  <a:lnTo>
                    <a:pt x="519" y="1188"/>
                  </a:lnTo>
                  <a:lnTo>
                    <a:pt x="528" y="1184"/>
                  </a:lnTo>
                  <a:lnTo>
                    <a:pt x="538" y="1182"/>
                  </a:lnTo>
                  <a:lnTo>
                    <a:pt x="541" y="1184"/>
                  </a:lnTo>
                  <a:lnTo>
                    <a:pt x="541" y="1190"/>
                  </a:lnTo>
                  <a:lnTo>
                    <a:pt x="539" y="1193"/>
                  </a:lnTo>
                  <a:lnTo>
                    <a:pt x="536" y="1201"/>
                  </a:lnTo>
                  <a:lnTo>
                    <a:pt x="528" y="1214"/>
                  </a:lnTo>
                  <a:lnTo>
                    <a:pt x="523" y="1221"/>
                  </a:lnTo>
                  <a:close/>
                  <a:moveTo>
                    <a:pt x="331" y="726"/>
                  </a:moveTo>
                  <a:lnTo>
                    <a:pt x="336" y="720"/>
                  </a:lnTo>
                  <a:lnTo>
                    <a:pt x="340" y="713"/>
                  </a:lnTo>
                  <a:lnTo>
                    <a:pt x="344" y="713"/>
                  </a:lnTo>
                  <a:lnTo>
                    <a:pt x="349" y="713"/>
                  </a:lnTo>
                  <a:lnTo>
                    <a:pt x="349" y="707"/>
                  </a:lnTo>
                  <a:lnTo>
                    <a:pt x="349" y="702"/>
                  </a:lnTo>
                  <a:lnTo>
                    <a:pt x="344" y="700"/>
                  </a:lnTo>
                  <a:lnTo>
                    <a:pt x="342" y="700"/>
                  </a:lnTo>
                  <a:lnTo>
                    <a:pt x="338" y="700"/>
                  </a:lnTo>
                  <a:lnTo>
                    <a:pt x="336" y="702"/>
                  </a:lnTo>
                  <a:lnTo>
                    <a:pt x="332" y="709"/>
                  </a:lnTo>
                  <a:lnTo>
                    <a:pt x="332" y="718"/>
                  </a:lnTo>
                  <a:lnTo>
                    <a:pt x="331" y="718"/>
                  </a:lnTo>
                  <a:lnTo>
                    <a:pt x="329" y="720"/>
                  </a:lnTo>
                  <a:lnTo>
                    <a:pt x="329" y="722"/>
                  </a:lnTo>
                  <a:lnTo>
                    <a:pt x="331" y="726"/>
                  </a:lnTo>
                  <a:close/>
                  <a:moveTo>
                    <a:pt x="362" y="682"/>
                  </a:moveTo>
                  <a:lnTo>
                    <a:pt x="369" y="683"/>
                  </a:lnTo>
                  <a:lnTo>
                    <a:pt x="375" y="685"/>
                  </a:lnTo>
                  <a:lnTo>
                    <a:pt x="382" y="682"/>
                  </a:lnTo>
                  <a:lnTo>
                    <a:pt x="390" y="678"/>
                  </a:lnTo>
                  <a:lnTo>
                    <a:pt x="390" y="682"/>
                  </a:lnTo>
                  <a:lnTo>
                    <a:pt x="390" y="685"/>
                  </a:lnTo>
                  <a:lnTo>
                    <a:pt x="388" y="689"/>
                  </a:lnTo>
                  <a:lnTo>
                    <a:pt x="384" y="694"/>
                  </a:lnTo>
                  <a:lnTo>
                    <a:pt x="386" y="700"/>
                  </a:lnTo>
                  <a:lnTo>
                    <a:pt x="388" y="707"/>
                  </a:lnTo>
                  <a:lnTo>
                    <a:pt x="388" y="711"/>
                  </a:lnTo>
                  <a:lnTo>
                    <a:pt x="388" y="715"/>
                  </a:lnTo>
                  <a:lnTo>
                    <a:pt x="388" y="717"/>
                  </a:lnTo>
                  <a:lnTo>
                    <a:pt x="386" y="717"/>
                  </a:lnTo>
                  <a:lnTo>
                    <a:pt x="377" y="713"/>
                  </a:lnTo>
                  <a:lnTo>
                    <a:pt x="369" y="709"/>
                  </a:lnTo>
                  <a:lnTo>
                    <a:pt x="366" y="709"/>
                  </a:lnTo>
                  <a:lnTo>
                    <a:pt x="360" y="711"/>
                  </a:lnTo>
                  <a:lnTo>
                    <a:pt x="358" y="709"/>
                  </a:lnTo>
                  <a:lnTo>
                    <a:pt x="358" y="706"/>
                  </a:lnTo>
                  <a:lnTo>
                    <a:pt x="360" y="704"/>
                  </a:lnTo>
                  <a:lnTo>
                    <a:pt x="360" y="691"/>
                  </a:lnTo>
                  <a:lnTo>
                    <a:pt x="362" y="682"/>
                  </a:lnTo>
                  <a:close/>
                  <a:moveTo>
                    <a:pt x="388" y="728"/>
                  </a:moveTo>
                  <a:lnTo>
                    <a:pt x="388" y="730"/>
                  </a:lnTo>
                  <a:lnTo>
                    <a:pt x="390" y="731"/>
                  </a:lnTo>
                  <a:lnTo>
                    <a:pt x="388" y="735"/>
                  </a:lnTo>
                  <a:lnTo>
                    <a:pt x="386" y="735"/>
                  </a:lnTo>
                  <a:lnTo>
                    <a:pt x="386" y="731"/>
                  </a:lnTo>
                  <a:lnTo>
                    <a:pt x="386" y="730"/>
                  </a:lnTo>
                  <a:lnTo>
                    <a:pt x="388" y="728"/>
                  </a:lnTo>
                  <a:close/>
                  <a:moveTo>
                    <a:pt x="401" y="728"/>
                  </a:moveTo>
                  <a:lnTo>
                    <a:pt x="403" y="728"/>
                  </a:lnTo>
                  <a:lnTo>
                    <a:pt x="405" y="730"/>
                  </a:lnTo>
                  <a:lnTo>
                    <a:pt x="403" y="730"/>
                  </a:lnTo>
                  <a:lnTo>
                    <a:pt x="401" y="731"/>
                  </a:lnTo>
                  <a:lnTo>
                    <a:pt x="397" y="730"/>
                  </a:lnTo>
                  <a:lnTo>
                    <a:pt x="397" y="728"/>
                  </a:lnTo>
                  <a:lnTo>
                    <a:pt x="401" y="728"/>
                  </a:lnTo>
                  <a:close/>
                  <a:moveTo>
                    <a:pt x="395" y="667"/>
                  </a:moveTo>
                  <a:lnTo>
                    <a:pt x="395" y="667"/>
                  </a:lnTo>
                  <a:lnTo>
                    <a:pt x="395" y="669"/>
                  </a:lnTo>
                  <a:lnTo>
                    <a:pt x="395" y="670"/>
                  </a:lnTo>
                  <a:lnTo>
                    <a:pt x="393" y="669"/>
                  </a:lnTo>
                  <a:lnTo>
                    <a:pt x="393" y="667"/>
                  </a:lnTo>
                  <a:lnTo>
                    <a:pt x="395" y="66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2" name="Freeform 24"/>
            <p:cNvSpPr>
              <a:spLocks/>
            </p:cNvSpPr>
            <p:nvPr/>
          </p:nvSpPr>
          <p:spPr bwMode="auto">
            <a:xfrm>
              <a:off x="5675674" y="2610072"/>
              <a:ext cx="411694" cy="278370"/>
            </a:xfrm>
            <a:custGeom>
              <a:avLst/>
              <a:gdLst>
                <a:gd name="T0" fmla="*/ 229 w 789"/>
                <a:gd name="T1" fmla="*/ 354 h 547"/>
                <a:gd name="T2" fmla="*/ 312 w 789"/>
                <a:gd name="T3" fmla="*/ 342 h 547"/>
                <a:gd name="T4" fmla="*/ 331 w 789"/>
                <a:gd name="T5" fmla="*/ 332 h 547"/>
                <a:gd name="T6" fmla="*/ 420 w 789"/>
                <a:gd name="T7" fmla="*/ 375 h 547"/>
                <a:gd name="T8" fmla="*/ 453 w 789"/>
                <a:gd name="T9" fmla="*/ 412 h 547"/>
                <a:gd name="T10" fmla="*/ 484 w 789"/>
                <a:gd name="T11" fmla="*/ 443 h 547"/>
                <a:gd name="T12" fmla="*/ 519 w 789"/>
                <a:gd name="T13" fmla="*/ 480 h 547"/>
                <a:gd name="T14" fmla="*/ 567 w 789"/>
                <a:gd name="T15" fmla="*/ 537 h 547"/>
                <a:gd name="T16" fmla="*/ 628 w 789"/>
                <a:gd name="T17" fmla="*/ 534 h 547"/>
                <a:gd name="T18" fmla="*/ 689 w 789"/>
                <a:gd name="T19" fmla="*/ 537 h 547"/>
                <a:gd name="T20" fmla="*/ 745 w 789"/>
                <a:gd name="T21" fmla="*/ 547 h 547"/>
                <a:gd name="T22" fmla="*/ 761 w 789"/>
                <a:gd name="T23" fmla="*/ 495 h 547"/>
                <a:gd name="T24" fmla="*/ 767 w 789"/>
                <a:gd name="T25" fmla="*/ 476 h 547"/>
                <a:gd name="T26" fmla="*/ 748 w 789"/>
                <a:gd name="T27" fmla="*/ 430 h 547"/>
                <a:gd name="T28" fmla="*/ 687 w 789"/>
                <a:gd name="T29" fmla="*/ 406 h 547"/>
                <a:gd name="T30" fmla="*/ 673 w 789"/>
                <a:gd name="T31" fmla="*/ 367 h 547"/>
                <a:gd name="T32" fmla="*/ 678 w 789"/>
                <a:gd name="T33" fmla="*/ 312 h 547"/>
                <a:gd name="T34" fmla="*/ 715 w 789"/>
                <a:gd name="T35" fmla="*/ 269 h 547"/>
                <a:gd name="T36" fmla="*/ 743 w 789"/>
                <a:gd name="T37" fmla="*/ 221 h 547"/>
                <a:gd name="T38" fmla="*/ 721 w 789"/>
                <a:gd name="T39" fmla="*/ 201 h 547"/>
                <a:gd name="T40" fmla="*/ 754 w 789"/>
                <a:gd name="T41" fmla="*/ 188 h 547"/>
                <a:gd name="T42" fmla="*/ 789 w 789"/>
                <a:gd name="T43" fmla="*/ 173 h 547"/>
                <a:gd name="T44" fmla="*/ 782 w 789"/>
                <a:gd name="T45" fmla="*/ 149 h 547"/>
                <a:gd name="T46" fmla="*/ 765 w 789"/>
                <a:gd name="T47" fmla="*/ 109 h 547"/>
                <a:gd name="T48" fmla="*/ 741 w 789"/>
                <a:gd name="T49" fmla="*/ 99 h 547"/>
                <a:gd name="T50" fmla="*/ 710 w 789"/>
                <a:gd name="T51" fmla="*/ 122 h 547"/>
                <a:gd name="T52" fmla="*/ 652 w 789"/>
                <a:gd name="T53" fmla="*/ 172 h 547"/>
                <a:gd name="T54" fmla="*/ 645 w 789"/>
                <a:gd name="T55" fmla="*/ 194 h 547"/>
                <a:gd name="T56" fmla="*/ 619 w 789"/>
                <a:gd name="T57" fmla="*/ 199 h 547"/>
                <a:gd name="T58" fmla="*/ 614 w 789"/>
                <a:gd name="T59" fmla="*/ 170 h 547"/>
                <a:gd name="T60" fmla="*/ 577 w 789"/>
                <a:gd name="T61" fmla="*/ 160 h 547"/>
                <a:gd name="T62" fmla="*/ 551 w 789"/>
                <a:gd name="T63" fmla="*/ 160 h 547"/>
                <a:gd name="T64" fmla="*/ 549 w 789"/>
                <a:gd name="T65" fmla="*/ 138 h 547"/>
                <a:gd name="T66" fmla="*/ 567 w 789"/>
                <a:gd name="T67" fmla="*/ 74 h 547"/>
                <a:gd name="T68" fmla="*/ 590 w 789"/>
                <a:gd name="T69" fmla="*/ 35 h 547"/>
                <a:gd name="T70" fmla="*/ 597 w 789"/>
                <a:gd name="T71" fmla="*/ 13 h 547"/>
                <a:gd name="T72" fmla="*/ 595 w 789"/>
                <a:gd name="T73" fmla="*/ 2 h 547"/>
                <a:gd name="T74" fmla="*/ 523 w 789"/>
                <a:gd name="T75" fmla="*/ 16 h 547"/>
                <a:gd name="T76" fmla="*/ 466 w 789"/>
                <a:gd name="T77" fmla="*/ 42 h 547"/>
                <a:gd name="T78" fmla="*/ 436 w 789"/>
                <a:gd name="T79" fmla="*/ 85 h 547"/>
                <a:gd name="T80" fmla="*/ 368 w 789"/>
                <a:gd name="T81" fmla="*/ 98 h 547"/>
                <a:gd name="T82" fmla="*/ 329 w 789"/>
                <a:gd name="T83" fmla="*/ 114 h 547"/>
                <a:gd name="T84" fmla="*/ 233 w 789"/>
                <a:gd name="T85" fmla="*/ 127 h 547"/>
                <a:gd name="T86" fmla="*/ 205 w 789"/>
                <a:gd name="T87" fmla="*/ 109 h 547"/>
                <a:gd name="T88" fmla="*/ 126 w 789"/>
                <a:gd name="T89" fmla="*/ 107 h 547"/>
                <a:gd name="T90" fmla="*/ 50 w 789"/>
                <a:gd name="T91" fmla="*/ 92 h 547"/>
                <a:gd name="T92" fmla="*/ 2 w 789"/>
                <a:gd name="T93" fmla="*/ 118 h 547"/>
                <a:gd name="T94" fmla="*/ 39 w 789"/>
                <a:gd name="T95" fmla="*/ 153 h 547"/>
                <a:gd name="T96" fmla="*/ 35 w 789"/>
                <a:gd name="T97" fmla="*/ 175 h 547"/>
                <a:gd name="T98" fmla="*/ 63 w 789"/>
                <a:gd name="T99" fmla="*/ 162 h 547"/>
                <a:gd name="T100" fmla="*/ 89 w 789"/>
                <a:gd name="T101" fmla="*/ 168 h 547"/>
                <a:gd name="T102" fmla="*/ 96 w 789"/>
                <a:gd name="T103" fmla="*/ 199 h 547"/>
                <a:gd name="T104" fmla="*/ 128 w 789"/>
                <a:gd name="T105" fmla="*/ 190 h 547"/>
                <a:gd name="T106" fmla="*/ 128 w 789"/>
                <a:gd name="T107" fmla="*/ 242 h 547"/>
                <a:gd name="T108" fmla="*/ 152 w 789"/>
                <a:gd name="T109" fmla="*/ 258 h 547"/>
                <a:gd name="T110" fmla="*/ 148 w 789"/>
                <a:gd name="T111" fmla="*/ 297 h 547"/>
                <a:gd name="T112" fmla="*/ 178 w 789"/>
                <a:gd name="T113" fmla="*/ 327 h 54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9"/>
                <a:gd name="T172" fmla="*/ 0 h 547"/>
                <a:gd name="T173" fmla="*/ 789 w 789"/>
                <a:gd name="T174" fmla="*/ 547 h 54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9" h="547">
                  <a:moveTo>
                    <a:pt x="192" y="360"/>
                  </a:moveTo>
                  <a:lnTo>
                    <a:pt x="194" y="358"/>
                  </a:lnTo>
                  <a:lnTo>
                    <a:pt x="196" y="358"/>
                  </a:lnTo>
                  <a:lnTo>
                    <a:pt x="211" y="356"/>
                  </a:lnTo>
                  <a:lnTo>
                    <a:pt x="229" y="354"/>
                  </a:lnTo>
                  <a:lnTo>
                    <a:pt x="244" y="342"/>
                  </a:lnTo>
                  <a:lnTo>
                    <a:pt x="259" y="332"/>
                  </a:lnTo>
                  <a:lnTo>
                    <a:pt x="279" y="334"/>
                  </a:lnTo>
                  <a:lnTo>
                    <a:pt x="299" y="340"/>
                  </a:lnTo>
                  <a:lnTo>
                    <a:pt x="312" y="342"/>
                  </a:lnTo>
                  <a:lnTo>
                    <a:pt x="322" y="343"/>
                  </a:lnTo>
                  <a:lnTo>
                    <a:pt x="324" y="342"/>
                  </a:lnTo>
                  <a:lnTo>
                    <a:pt x="327" y="340"/>
                  </a:lnTo>
                  <a:lnTo>
                    <a:pt x="329" y="338"/>
                  </a:lnTo>
                  <a:lnTo>
                    <a:pt x="331" y="332"/>
                  </a:lnTo>
                  <a:lnTo>
                    <a:pt x="355" y="336"/>
                  </a:lnTo>
                  <a:lnTo>
                    <a:pt x="375" y="336"/>
                  </a:lnTo>
                  <a:lnTo>
                    <a:pt x="392" y="351"/>
                  </a:lnTo>
                  <a:lnTo>
                    <a:pt x="414" y="366"/>
                  </a:lnTo>
                  <a:lnTo>
                    <a:pt x="420" y="375"/>
                  </a:lnTo>
                  <a:lnTo>
                    <a:pt x="425" y="384"/>
                  </a:lnTo>
                  <a:lnTo>
                    <a:pt x="434" y="386"/>
                  </a:lnTo>
                  <a:lnTo>
                    <a:pt x="442" y="390"/>
                  </a:lnTo>
                  <a:lnTo>
                    <a:pt x="447" y="401"/>
                  </a:lnTo>
                  <a:lnTo>
                    <a:pt x="453" y="412"/>
                  </a:lnTo>
                  <a:lnTo>
                    <a:pt x="458" y="415"/>
                  </a:lnTo>
                  <a:lnTo>
                    <a:pt x="464" y="423"/>
                  </a:lnTo>
                  <a:lnTo>
                    <a:pt x="469" y="430"/>
                  </a:lnTo>
                  <a:lnTo>
                    <a:pt x="471" y="439"/>
                  </a:lnTo>
                  <a:lnTo>
                    <a:pt x="484" y="443"/>
                  </a:lnTo>
                  <a:lnTo>
                    <a:pt x="492" y="445"/>
                  </a:lnTo>
                  <a:lnTo>
                    <a:pt x="495" y="452"/>
                  </a:lnTo>
                  <a:lnTo>
                    <a:pt x="501" y="467"/>
                  </a:lnTo>
                  <a:lnTo>
                    <a:pt x="514" y="476"/>
                  </a:lnTo>
                  <a:lnTo>
                    <a:pt x="519" y="480"/>
                  </a:lnTo>
                  <a:lnTo>
                    <a:pt x="521" y="488"/>
                  </a:lnTo>
                  <a:lnTo>
                    <a:pt x="521" y="500"/>
                  </a:lnTo>
                  <a:lnTo>
                    <a:pt x="536" y="515"/>
                  </a:lnTo>
                  <a:lnTo>
                    <a:pt x="553" y="526"/>
                  </a:lnTo>
                  <a:lnTo>
                    <a:pt x="567" y="537"/>
                  </a:lnTo>
                  <a:lnTo>
                    <a:pt x="580" y="543"/>
                  </a:lnTo>
                  <a:lnTo>
                    <a:pt x="595" y="545"/>
                  </a:lnTo>
                  <a:lnTo>
                    <a:pt x="608" y="545"/>
                  </a:lnTo>
                  <a:lnTo>
                    <a:pt x="617" y="541"/>
                  </a:lnTo>
                  <a:lnTo>
                    <a:pt x="628" y="534"/>
                  </a:lnTo>
                  <a:lnTo>
                    <a:pt x="641" y="536"/>
                  </a:lnTo>
                  <a:lnTo>
                    <a:pt x="654" y="537"/>
                  </a:lnTo>
                  <a:lnTo>
                    <a:pt x="665" y="532"/>
                  </a:lnTo>
                  <a:lnTo>
                    <a:pt x="678" y="530"/>
                  </a:lnTo>
                  <a:lnTo>
                    <a:pt x="689" y="537"/>
                  </a:lnTo>
                  <a:lnTo>
                    <a:pt x="700" y="543"/>
                  </a:lnTo>
                  <a:lnTo>
                    <a:pt x="726" y="543"/>
                  </a:lnTo>
                  <a:lnTo>
                    <a:pt x="745" y="545"/>
                  </a:lnTo>
                  <a:lnTo>
                    <a:pt x="745" y="547"/>
                  </a:lnTo>
                  <a:lnTo>
                    <a:pt x="750" y="539"/>
                  </a:lnTo>
                  <a:lnTo>
                    <a:pt x="754" y="532"/>
                  </a:lnTo>
                  <a:lnTo>
                    <a:pt x="756" y="524"/>
                  </a:lnTo>
                  <a:lnTo>
                    <a:pt x="758" y="515"/>
                  </a:lnTo>
                  <a:lnTo>
                    <a:pt x="761" y="495"/>
                  </a:lnTo>
                  <a:lnTo>
                    <a:pt x="767" y="476"/>
                  </a:lnTo>
                  <a:lnTo>
                    <a:pt x="759" y="471"/>
                  </a:lnTo>
                  <a:lnTo>
                    <a:pt x="756" y="463"/>
                  </a:lnTo>
                  <a:lnTo>
                    <a:pt x="752" y="454"/>
                  </a:lnTo>
                  <a:lnTo>
                    <a:pt x="750" y="445"/>
                  </a:lnTo>
                  <a:lnTo>
                    <a:pt x="748" y="430"/>
                  </a:lnTo>
                  <a:lnTo>
                    <a:pt x="747" y="421"/>
                  </a:lnTo>
                  <a:lnTo>
                    <a:pt x="723" y="417"/>
                  </a:lnTo>
                  <a:lnTo>
                    <a:pt x="704" y="414"/>
                  </a:lnTo>
                  <a:lnTo>
                    <a:pt x="695" y="410"/>
                  </a:lnTo>
                  <a:lnTo>
                    <a:pt x="687" y="406"/>
                  </a:lnTo>
                  <a:lnTo>
                    <a:pt x="680" y="401"/>
                  </a:lnTo>
                  <a:lnTo>
                    <a:pt x="671" y="393"/>
                  </a:lnTo>
                  <a:lnTo>
                    <a:pt x="669" y="384"/>
                  </a:lnTo>
                  <a:lnTo>
                    <a:pt x="671" y="375"/>
                  </a:lnTo>
                  <a:lnTo>
                    <a:pt x="673" y="367"/>
                  </a:lnTo>
                  <a:lnTo>
                    <a:pt x="676" y="362"/>
                  </a:lnTo>
                  <a:lnTo>
                    <a:pt x="684" y="351"/>
                  </a:lnTo>
                  <a:lnTo>
                    <a:pt x="691" y="338"/>
                  </a:lnTo>
                  <a:lnTo>
                    <a:pt x="684" y="325"/>
                  </a:lnTo>
                  <a:lnTo>
                    <a:pt x="678" y="312"/>
                  </a:lnTo>
                  <a:lnTo>
                    <a:pt x="693" y="303"/>
                  </a:lnTo>
                  <a:lnTo>
                    <a:pt x="710" y="295"/>
                  </a:lnTo>
                  <a:lnTo>
                    <a:pt x="711" y="286"/>
                  </a:lnTo>
                  <a:lnTo>
                    <a:pt x="713" y="279"/>
                  </a:lnTo>
                  <a:lnTo>
                    <a:pt x="715" y="269"/>
                  </a:lnTo>
                  <a:lnTo>
                    <a:pt x="721" y="258"/>
                  </a:lnTo>
                  <a:lnTo>
                    <a:pt x="739" y="238"/>
                  </a:lnTo>
                  <a:lnTo>
                    <a:pt x="748" y="229"/>
                  </a:lnTo>
                  <a:lnTo>
                    <a:pt x="747" y="225"/>
                  </a:lnTo>
                  <a:lnTo>
                    <a:pt x="743" y="221"/>
                  </a:lnTo>
                  <a:lnTo>
                    <a:pt x="739" y="218"/>
                  </a:lnTo>
                  <a:lnTo>
                    <a:pt x="734" y="214"/>
                  </a:lnTo>
                  <a:lnTo>
                    <a:pt x="728" y="210"/>
                  </a:lnTo>
                  <a:lnTo>
                    <a:pt x="724" y="207"/>
                  </a:lnTo>
                  <a:lnTo>
                    <a:pt x="721" y="201"/>
                  </a:lnTo>
                  <a:lnTo>
                    <a:pt x="721" y="196"/>
                  </a:lnTo>
                  <a:lnTo>
                    <a:pt x="724" y="194"/>
                  </a:lnTo>
                  <a:lnTo>
                    <a:pt x="732" y="192"/>
                  </a:lnTo>
                  <a:lnTo>
                    <a:pt x="743" y="190"/>
                  </a:lnTo>
                  <a:lnTo>
                    <a:pt x="754" y="188"/>
                  </a:lnTo>
                  <a:lnTo>
                    <a:pt x="767" y="184"/>
                  </a:lnTo>
                  <a:lnTo>
                    <a:pt x="778" y="181"/>
                  </a:lnTo>
                  <a:lnTo>
                    <a:pt x="782" y="179"/>
                  </a:lnTo>
                  <a:lnTo>
                    <a:pt x="785" y="177"/>
                  </a:lnTo>
                  <a:lnTo>
                    <a:pt x="789" y="173"/>
                  </a:lnTo>
                  <a:lnTo>
                    <a:pt x="789" y="170"/>
                  </a:lnTo>
                  <a:lnTo>
                    <a:pt x="789" y="162"/>
                  </a:lnTo>
                  <a:lnTo>
                    <a:pt x="787" y="157"/>
                  </a:lnTo>
                  <a:lnTo>
                    <a:pt x="785" y="153"/>
                  </a:lnTo>
                  <a:lnTo>
                    <a:pt x="782" y="149"/>
                  </a:lnTo>
                  <a:lnTo>
                    <a:pt x="774" y="146"/>
                  </a:lnTo>
                  <a:lnTo>
                    <a:pt x="769" y="140"/>
                  </a:lnTo>
                  <a:lnTo>
                    <a:pt x="769" y="127"/>
                  </a:lnTo>
                  <a:lnTo>
                    <a:pt x="767" y="114"/>
                  </a:lnTo>
                  <a:lnTo>
                    <a:pt x="765" y="109"/>
                  </a:lnTo>
                  <a:lnTo>
                    <a:pt x="763" y="103"/>
                  </a:lnTo>
                  <a:lnTo>
                    <a:pt x="759" y="99"/>
                  </a:lnTo>
                  <a:lnTo>
                    <a:pt x="754" y="98"/>
                  </a:lnTo>
                  <a:lnTo>
                    <a:pt x="747" y="98"/>
                  </a:lnTo>
                  <a:lnTo>
                    <a:pt x="741" y="99"/>
                  </a:lnTo>
                  <a:lnTo>
                    <a:pt x="737" y="101"/>
                  </a:lnTo>
                  <a:lnTo>
                    <a:pt x="734" y="105"/>
                  </a:lnTo>
                  <a:lnTo>
                    <a:pt x="726" y="114"/>
                  </a:lnTo>
                  <a:lnTo>
                    <a:pt x="721" y="122"/>
                  </a:lnTo>
                  <a:lnTo>
                    <a:pt x="710" y="122"/>
                  </a:lnTo>
                  <a:lnTo>
                    <a:pt x="695" y="123"/>
                  </a:lnTo>
                  <a:lnTo>
                    <a:pt x="684" y="144"/>
                  </a:lnTo>
                  <a:lnTo>
                    <a:pt x="676" y="164"/>
                  </a:lnTo>
                  <a:lnTo>
                    <a:pt x="663" y="170"/>
                  </a:lnTo>
                  <a:lnTo>
                    <a:pt x="652" y="172"/>
                  </a:lnTo>
                  <a:lnTo>
                    <a:pt x="649" y="175"/>
                  </a:lnTo>
                  <a:lnTo>
                    <a:pt x="647" y="179"/>
                  </a:lnTo>
                  <a:lnTo>
                    <a:pt x="647" y="184"/>
                  </a:lnTo>
                  <a:lnTo>
                    <a:pt x="647" y="188"/>
                  </a:lnTo>
                  <a:lnTo>
                    <a:pt x="645" y="194"/>
                  </a:lnTo>
                  <a:lnTo>
                    <a:pt x="643" y="197"/>
                  </a:lnTo>
                  <a:lnTo>
                    <a:pt x="639" y="201"/>
                  </a:lnTo>
                  <a:lnTo>
                    <a:pt x="632" y="201"/>
                  </a:lnTo>
                  <a:lnTo>
                    <a:pt x="625" y="201"/>
                  </a:lnTo>
                  <a:lnTo>
                    <a:pt x="619" y="199"/>
                  </a:lnTo>
                  <a:lnTo>
                    <a:pt x="617" y="196"/>
                  </a:lnTo>
                  <a:lnTo>
                    <a:pt x="615" y="190"/>
                  </a:lnTo>
                  <a:lnTo>
                    <a:pt x="615" y="184"/>
                  </a:lnTo>
                  <a:lnTo>
                    <a:pt x="615" y="177"/>
                  </a:lnTo>
                  <a:lnTo>
                    <a:pt x="614" y="170"/>
                  </a:lnTo>
                  <a:lnTo>
                    <a:pt x="612" y="164"/>
                  </a:lnTo>
                  <a:lnTo>
                    <a:pt x="602" y="159"/>
                  </a:lnTo>
                  <a:lnTo>
                    <a:pt x="593" y="159"/>
                  </a:lnTo>
                  <a:lnTo>
                    <a:pt x="584" y="159"/>
                  </a:lnTo>
                  <a:lnTo>
                    <a:pt x="577" y="160"/>
                  </a:lnTo>
                  <a:lnTo>
                    <a:pt x="567" y="164"/>
                  </a:lnTo>
                  <a:lnTo>
                    <a:pt x="560" y="164"/>
                  </a:lnTo>
                  <a:lnTo>
                    <a:pt x="556" y="164"/>
                  </a:lnTo>
                  <a:lnTo>
                    <a:pt x="553" y="162"/>
                  </a:lnTo>
                  <a:lnTo>
                    <a:pt x="551" y="160"/>
                  </a:lnTo>
                  <a:lnTo>
                    <a:pt x="547" y="157"/>
                  </a:lnTo>
                  <a:lnTo>
                    <a:pt x="545" y="151"/>
                  </a:lnTo>
                  <a:lnTo>
                    <a:pt x="545" y="146"/>
                  </a:lnTo>
                  <a:lnTo>
                    <a:pt x="547" y="142"/>
                  </a:lnTo>
                  <a:lnTo>
                    <a:pt x="549" y="138"/>
                  </a:lnTo>
                  <a:lnTo>
                    <a:pt x="554" y="129"/>
                  </a:lnTo>
                  <a:lnTo>
                    <a:pt x="560" y="120"/>
                  </a:lnTo>
                  <a:lnTo>
                    <a:pt x="560" y="101"/>
                  </a:lnTo>
                  <a:lnTo>
                    <a:pt x="560" y="85"/>
                  </a:lnTo>
                  <a:lnTo>
                    <a:pt x="567" y="74"/>
                  </a:lnTo>
                  <a:lnTo>
                    <a:pt x="580" y="61"/>
                  </a:lnTo>
                  <a:lnTo>
                    <a:pt x="582" y="50"/>
                  </a:lnTo>
                  <a:lnTo>
                    <a:pt x="584" y="42"/>
                  </a:lnTo>
                  <a:lnTo>
                    <a:pt x="588" y="38"/>
                  </a:lnTo>
                  <a:lnTo>
                    <a:pt x="590" y="35"/>
                  </a:lnTo>
                  <a:lnTo>
                    <a:pt x="595" y="33"/>
                  </a:lnTo>
                  <a:lnTo>
                    <a:pt x="599" y="29"/>
                  </a:lnTo>
                  <a:lnTo>
                    <a:pt x="597" y="24"/>
                  </a:lnTo>
                  <a:lnTo>
                    <a:pt x="595" y="18"/>
                  </a:lnTo>
                  <a:lnTo>
                    <a:pt x="597" y="13"/>
                  </a:lnTo>
                  <a:lnTo>
                    <a:pt x="599" y="9"/>
                  </a:lnTo>
                  <a:lnTo>
                    <a:pt x="599" y="7"/>
                  </a:lnTo>
                  <a:lnTo>
                    <a:pt x="599" y="5"/>
                  </a:lnTo>
                  <a:lnTo>
                    <a:pt x="597" y="3"/>
                  </a:lnTo>
                  <a:lnTo>
                    <a:pt x="595" y="2"/>
                  </a:lnTo>
                  <a:lnTo>
                    <a:pt x="588" y="0"/>
                  </a:lnTo>
                  <a:lnTo>
                    <a:pt x="577" y="0"/>
                  </a:lnTo>
                  <a:lnTo>
                    <a:pt x="562" y="3"/>
                  </a:lnTo>
                  <a:lnTo>
                    <a:pt x="549" y="7"/>
                  </a:lnTo>
                  <a:lnTo>
                    <a:pt x="523" y="16"/>
                  </a:lnTo>
                  <a:lnTo>
                    <a:pt x="510" y="22"/>
                  </a:lnTo>
                  <a:lnTo>
                    <a:pt x="488" y="31"/>
                  </a:lnTo>
                  <a:lnTo>
                    <a:pt x="466" y="42"/>
                  </a:lnTo>
                  <a:lnTo>
                    <a:pt x="447" y="51"/>
                  </a:lnTo>
                  <a:lnTo>
                    <a:pt x="442" y="59"/>
                  </a:lnTo>
                  <a:lnTo>
                    <a:pt x="445" y="70"/>
                  </a:lnTo>
                  <a:lnTo>
                    <a:pt x="445" y="81"/>
                  </a:lnTo>
                  <a:lnTo>
                    <a:pt x="436" y="85"/>
                  </a:lnTo>
                  <a:lnTo>
                    <a:pt x="427" y="85"/>
                  </a:lnTo>
                  <a:lnTo>
                    <a:pt x="416" y="83"/>
                  </a:lnTo>
                  <a:lnTo>
                    <a:pt x="401" y="83"/>
                  </a:lnTo>
                  <a:lnTo>
                    <a:pt x="386" y="90"/>
                  </a:lnTo>
                  <a:lnTo>
                    <a:pt x="368" y="98"/>
                  </a:lnTo>
                  <a:lnTo>
                    <a:pt x="357" y="96"/>
                  </a:lnTo>
                  <a:lnTo>
                    <a:pt x="348" y="98"/>
                  </a:lnTo>
                  <a:lnTo>
                    <a:pt x="342" y="99"/>
                  </a:lnTo>
                  <a:lnTo>
                    <a:pt x="336" y="103"/>
                  </a:lnTo>
                  <a:lnTo>
                    <a:pt x="329" y="114"/>
                  </a:lnTo>
                  <a:lnTo>
                    <a:pt x="316" y="123"/>
                  </a:lnTo>
                  <a:lnTo>
                    <a:pt x="298" y="118"/>
                  </a:lnTo>
                  <a:lnTo>
                    <a:pt x="279" y="112"/>
                  </a:lnTo>
                  <a:lnTo>
                    <a:pt x="255" y="120"/>
                  </a:lnTo>
                  <a:lnTo>
                    <a:pt x="233" y="127"/>
                  </a:lnTo>
                  <a:lnTo>
                    <a:pt x="227" y="125"/>
                  </a:lnTo>
                  <a:lnTo>
                    <a:pt x="222" y="123"/>
                  </a:lnTo>
                  <a:lnTo>
                    <a:pt x="218" y="118"/>
                  </a:lnTo>
                  <a:lnTo>
                    <a:pt x="211" y="114"/>
                  </a:lnTo>
                  <a:lnTo>
                    <a:pt x="205" y="109"/>
                  </a:lnTo>
                  <a:lnTo>
                    <a:pt x="196" y="105"/>
                  </a:lnTo>
                  <a:lnTo>
                    <a:pt x="187" y="101"/>
                  </a:lnTo>
                  <a:lnTo>
                    <a:pt x="172" y="101"/>
                  </a:lnTo>
                  <a:lnTo>
                    <a:pt x="146" y="105"/>
                  </a:lnTo>
                  <a:lnTo>
                    <a:pt x="126" y="107"/>
                  </a:lnTo>
                  <a:lnTo>
                    <a:pt x="113" y="99"/>
                  </a:lnTo>
                  <a:lnTo>
                    <a:pt x="100" y="92"/>
                  </a:lnTo>
                  <a:lnTo>
                    <a:pt x="76" y="88"/>
                  </a:lnTo>
                  <a:lnTo>
                    <a:pt x="65" y="85"/>
                  </a:lnTo>
                  <a:lnTo>
                    <a:pt x="50" y="92"/>
                  </a:lnTo>
                  <a:lnTo>
                    <a:pt x="39" y="96"/>
                  </a:lnTo>
                  <a:lnTo>
                    <a:pt x="26" y="98"/>
                  </a:lnTo>
                  <a:lnTo>
                    <a:pt x="9" y="99"/>
                  </a:lnTo>
                  <a:lnTo>
                    <a:pt x="6" y="109"/>
                  </a:lnTo>
                  <a:lnTo>
                    <a:pt x="2" y="118"/>
                  </a:lnTo>
                  <a:lnTo>
                    <a:pt x="0" y="123"/>
                  </a:lnTo>
                  <a:lnTo>
                    <a:pt x="2" y="129"/>
                  </a:lnTo>
                  <a:lnTo>
                    <a:pt x="19" y="136"/>
                  </a:lnTo>
                  <a:lnTo>
                    <a:pt x="39" y="146"/>
                  </a:lnTo>
                  <a:lnTo>
                    <a:pt x="39" y="153"/>
                  </a:lnTo>
                  <a:lnTo>
                    <a:pt x="35" y="160"/>
                  </a:lnTo>
                  <a:lnTo>
                    <a:pt x="33" y="164"/>
                  </a:lnTo>
                  <a:lnTo>
                    <a:pt x="32" y="168"/>
                  </a:lnTo>
                  <a:lnTo>
                    <a:pt x="33" y="172"/>
                  </a:lnTo>
                  <a:lnTo>
                    <a:pt x="35" y="175"/>
                  </a:lnTo>
                  <a:lnTo>
                    <a:pt x="43" y="177"/>
                  </a:lnTo>
                  <a:lnTo>
                    <a:pt x="48" y="177"/>
                  </a:lnTo>
                  <a:lnTo>
                    <a:pt x="54" y="173"/>
                  </a:lnTo>
                  <a:lnTo>
                    <a:pt x="59" y="168"/>
                  </a:lnTo>
                  <a:lnTo>
                    <a:pt x="63" y="162"/>
                  </a:lnTo>
                  <a:lnTo>
                    <a:pt x="70" y="159"/>
                  </a:lnTo>
                  <a:lnTo>
                    <a:pt x="76" y="157"/>
                  </a:lnTo>
                  <a:lnTo>
                    <a:pt x="82" y="159"/>
                  </a:lnTo>
                  <a:lnTo>
                    <a:pt x="87" y="162"/>
                  </a:lnTo>
                  <a:lnTo>
                    <a:pt x="89" y="168"/>
                  </a:lnTo>
                  <a:lnTo>
                    <a:pt x="89" y="175"/>
                  </a:lnTo>
                  <a:lnTo>
                    <a:pt x="91" y="183"/>
                  </a:lnTo>
                  <a:lnTo>
                    <a:pt x="91" y="190"/>
                  </a:lnTo>
                  <a:lnTo>
                    <a:pt x="93" y="196"/>
                  </a:lnTo>
                  <a:lnTo>
                    <a:pt x="96" y="199"/>
                  </a:lnTo>
                  <a:lnTo>
                    <a:pt x="102" y="201"/>
                  </a:lnTo>
                  <a:lnTo>
                    <a:pt x="111" y="194"/>
                  </a:lnTo>
                  <a:lnTo>
                    <a:pt x="118" y="184"/>
                  </a:lnTo>
                  <a:lnTo>
                    <a:pt x="124" y="186"/>
                  </a:lnTo>
                  <a:lnTo>
                    <a:pt x="128" y="190"/>
                  </a:lnTo>
                  <a:lnTo>
                    <a:pt x="130" y="194"/>
                  </a:lnTo>
                  <a:lnTo>
                    <a:pt x="133" y="197"/>
                  </a:lnTo>
                  <a:lnTo>
                    <a:pt x="135" y="208"/>
                  </a:lnTo>
                  <a:lnTo>
                    <a:pt x="135" y="221"/>
                  </a:lnTo>
                  <a:lnTo>
                    <a:pt x="128" y="242"/>
                  </a:lnTo>
                  <a:lnTo>
                    <a:pt x="124" y="258"/>
                  </a:lnTo>
                  <a:lnTo>
                    <a:pt x="131" y="258"/>
                  </a:lnTo>
                  <a:lnTo>
                    <a:pt x="141" y="257"/>
                  </a:lnTo>
                  <a:lnTo>
                    <a:pt x="146" y="257"/>
                  </a:lnTo>
                  <a:lnTo>
                    <a:pt x="152" y="258"/>
                  </a:lnTo>
                  <a:lnTo>
                    <a:pt x="157" y="262"/>
                  </a:lnTo>
                  <a:lnTo>
                    <a:pt x="161" y="271"/>
                  </a:lnTo>
                  <a:lnTo>
                    <a:pt x="157" y="281"/>
                  </a:lnTo>
                  <a:lnTo>
                    <a:pt x="152" y="292"/>
                  </a:lnTo>
                  <a:lnTo>
                    <a:pt x="148" y="297"/>
                  </a:lnTo>
                  <a:lnTo>
                    <a:pt x="146" y="303"/>
                  </a:lnTo>
                  <a:lnTo>
                    <a:pt x="146" y="308"/>
                  </a:lnTo>
                  <a:lnTo>
                    <a:pt x="148" y="316"/>
                  </a:lnTo>
                  <a:lnTo>
                    <a:pt x="161" y="323"/>
                  </a:lnTo>
                  <a:lnTo>
                    <a:pt x="178" y="327"/>
                  </a:lnTo>
                  <a:lnTo>
                    <a:pt x="192" y="36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3" name="Freeform 25"/>
            <p:cNvSpPr>
              <a:spLocks/>
            </p:cNvSpPr>
            <p:nvPr/>
          </p:nvSpPr>
          <p:spPr bwMode="auto">
            <a:xfrm>
              <a:off x="5429910" y="2616688"/>
              <a:ext cx="345948" cy="423916"/>
            </a:xfrm>
            <a:custGeom>
              <a:avLst/>
              <a:gdLst>
                <a:gd name="T0" fmla="*/ 52 w 663"/>
                <a:gd name="T1" fmla="*/ 827 h 833"/>
                <a:gd name="T2" fmla="*/ 113 w 663"/>
                <a:gd name="T3" fmla="*/ 831 h 833"/>
                <a:gd name="T4" fmla="*/ 176 w 663"/>
                <a:gd name="T5" fmla="*/ 831 h 833"/>
                <a:gd name="T6" fmla="*/ 292 w 663"/>
                <a:gd name="T7" fmla="*/ 761 h 833"/>
                <a:gd name="T8" fmla="*/ 346 w 663"/>
                <a:gd name="T9" fmla="*/ 707 h 833"/>
                <a:gd name="T10" fmla="*/ 381 w 663"/>
                <a:gd name="T11" fmla="*/ 705 h 833"/>
                <a:gd name="T12" fmla="*/ 455 w 663"/>
                <a:gd name="T13" fmla="*/ 702 h 833"/>
                <a:gd name="T14" fmla="*/ 512 w 663"/>
                <a:gd name="T15" fmla="*/ 722 h 833"/>
                <a:gd name="T16" fmla="*/ 569 w 663"/>
                <a:gd name="T17" fmla="*/ 693 h 833"/>
                <a:gd name="T18" fmla="*/ 612 w 663"/>
                <a:gd name="T19" fmla="*/ 669 h 833"/>
                <a:gd name="T20" fmla="*/ 610 w 663"/>
                <a:gd name="T21" fmla="*/ 643 h 833"/>
                <a:gd name="T22" fmla="*/ 604 w 663"/>
                <a:gd name="T23" fmla="*/ 572 h 833"/>
                <a:gd name="T24" fmla="*/ 625 w 663"/>
                <a:gd name="T25" fmla="*/ 502 h 833"/>
                <a:gd name="T26" fmla="*/ 619 w 663"/>
                <a:gd name="T27" fmla="*/ 449 h 833"/>
                <a:gd name="T28" fmla="*/ 584 w 663"/>
                <a:gd name="T29" fmla="*/ 421 h 833"/>
                <a:gd name="T30" fmla="*/ 628 w 663"/>
                <a:gd name="T31" fmla="*/ 377 h 833"/>
                <a:gd name="T32" fmla="*/ 649 w 663"/>
                <a:gd name="T33" fmla="*/ 314 h 833"/>
                <a:gd name="T34" fmla="*/ 619 w 663"/>
                <a:gd name="T35" fmla="*/ 284 h 833"/>
                <a:gd name="T36" fmla="*/ 623 w 663"/>
                <a:gd name="T37" fmla="*/ 245 h 833"/>
                <a:gd name="T38" fmla="*/ 599 w 663"/>
                <a:gd name="T39" fmla="*/ 229 h 833"/>
                <a:gd name="T40" fmla="*/ 599 w 663"/>
                <a:gd name="T41" fmla="*/ 177 h 833"/>
                <a:gd name="T42" fmla="*/ 567 w 663"/>
                <a:gd name="T43" fmla="*/ 186 h 833"/>
                <a:gd name="T44" fmla="*/ 560 w 663"/>
                <a:gd name="T45" fmla="*/ 155 h 833"/>
                <a:gd name="T46" fmla="*/ 534 w 663"/>
                <a:gd name="T47" fmla="*/ 149 h 833"/>
                <a:gd name="T48" fmla="*/ 506 w 663"/>
                <a:gd name="T49" fmla="*/ 162 h 833"/>
                <a:gd name="T50" fmla="*/ 510 w 663"/>
                <a:gd name="T51" fmla="*/ 140 h 833"/>
                <a:gd name="T52" fmla="*/ 473 w 663"/>
                <a:gd name="T53" fmla="*/ 105 h 833"/>
                <a:gd name="T54" fmla="*/ 473 w 663"/>
                <a:gd name="T55" fmla="*/ 88 h 833"/>
                <a:gd name="T56" fmla="*/ 449 w 663"/>
                <a:gd name="T57" fmla="*/ 64 h 833"/>
                <a:gd name="T58" fmla="*/ 432 w 663"/>
                <a:gd name="T59" fmla="*/ 50 h 833"/>
                <a:gd name="T60" fmla="*/ 416 w 663"/>
                <a:gd name="T61" fmla="*/ 29 h 833"/>
                <a:gd name="T62" fmla="*/ 397 w 663"/>
                <a:gd name="T63" fmla="*/ 3 h 833"/>
                <a:gd name="T64" fmla="*/ 379 w 663"/>
                <a:gd name="T65" fmla="*/ 11 h 833"/>
                <a:gd name="T66" fmla="*/ 346 w 663"/>
                <a:gd name="T67" fmla="*/ 5 h 833"/>
                <a:gd name="T68" fmla="*/ 342 w 663"/>
                <a:gd name="T69" fmla="*/ 27 h 833"/>
                <a:gd name="T70" fmla="*/ 344 w 663"/>
                <a:gd name="T71" fmla="*/ 77 h 833"/>
                <a:gd name="T72" fmla="*/ 360 w 663"/>
                <a:gd name="T73" fmla="*/ 101 h 833"/>
                <a:gd name="T74" fmla="*/ 335 w 663"/>
                <a:gd name="T75" fmla="*/ 138 h 833"/>
                <a:gd name="T76" fmla="*/ 288 w 663"/>
                <a:gd name="T77" fmla="*/ 177 h 833"/>
                <a:gd name="T78" fmla="*/ 323 w 663"/>
                <a:gd name="T79" fmla="*/ 255 h 833"/>
                <a:gd name="T80" fmla="*/ 366 w 663"/>
                <a:gd name="T81" fmla="*/ 280 h 833"/>
                <a:gd name="T82" fmla="*/ 384 w 663"/>
                <a:gd name="T83" fmla="*/ 314 h 833"/>
                <a:gd name="T84" fmla="*/ 320 w 663"/>
                <a:gd name="T85" fmla="*/ 380 h 833"/>
                <a:gd name="T86" fmla="*/ 270 w 663"/>
                <a:gd name="T87" fmla="*/ 428 h 833"/>
                <a:gd name="T88" fmla="*/ 292 w 663"/>
                <a:gd name="T89" fmla="*/ 462 h 833"/>
                <a:gd name="T90" fmla="*/ 294 w 663"/>
                <a:gd name="T91" fmla="*/ 502 h 833"/>
                <a:gd name="T92" fmla="*/ 250 w 663"/>
                <a:gd name="T93" fmla="*/ 539 h 833"/>
                <a:gd name="T94" fmla="*/ 222 w 663"/>
                <a:gd name="T95" fmla="*/ 545 h 833"/>
                <a:gd name="T96" fmla="*/ 176 w 663"/>
                <a:gd name="T97" fmla="*/ 580 h 833"/>
                <a:gd name="T98" fmla="*/ 133 w 663"/>
                <a:gd name="T99" fmla="*/ 622 h 833"/>
                <a:gd name="T100" fmla="*/ 59 w 663"/>
                <a:gd name="T101" fmla="*/ 646 h 833"/>
                <a:gd name="T102" fmla="*/ 26 w 663"/>
                <a:gd name="T103" fmla="*/ 656 h 833"/>
                <a:gd name="T104" fmla="*/ 28 w 663"/>
                <a:gd name="T105" fmla="*/ 672 h 833"/>
                <a:gd name="T106" fmla="*/ 20 w 663"/>
                <a:gd name="T107" fmla="*/ 700 h 833"/>
                <a:gd name="T108" fmla="*/ 43 w 663"/>
                <a:gd name="T109" fmla="*/ 735 h 833"/>
                <a:gd name="T110" fmla="*/ 9 w 663"/>
                <a:gd name="T111" fmla="*/ 752 h 83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63"/>
                <a:gd name="T169" fmla="*/ 0 h 833"/>
                <a:gd name="T170" fmla="*/ 663 w 663"/>
                <a:gd name="T171" fmla="*/ 833 h 83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63" h="833">
                  <a:moveTo>
                    <a:pt x="4" y="792"/>
                  </a:moveTo>
                  <a:lnTo>
                    <a:pt x="19" y="805"/>
                  </a:lnTo>
                  <a:lnTo>
                    <a:pt x="33" y="818"/>
                  </a:lnTo>
                  <a:lnTo>
                    <a:pt x="41" y="824"/>
                  </a:lnTo>
                  <a:lnTo>
                    <a:pt x="52" y="827"/>
                  </a:lnTo>
                  <a:lnTo>
                    <a:pt x="65" y="829"/>
                  </a:lnTo>
                  <a:lnTo>
                    <a:pt x="81" y="827"/>
                  </a:lnTo>
                  <a:lnTo>
                    <a:pt x="94" y="826"/>
                  </a:lnTo>
                  <a:lnTo>
                    <a:pt x="104" y="827"/>
                  </a:lnTo>
                  <a:lnTo>
                    <a:pt x="113" y="831"/>
                  </a:lnTo>
                  <a:lnTo>
                    <a:pt x="124" y="833"/>
                  </a:lnTo>
                  <a:lnTo>
                    <a:pt x="135" y="829"/>
                  </a:lnTo>
                  <a:lnTo>
                    <a:pt x="148" y="822"/>
                  </a:lnTo>
                  <a:lnTo>
                    <a:pt x="161" y="827"/>
                  </a:lnTo>
                  <a:lnTo>
                    <a:pt x="176" y="831"/>
                  </a:lnTo>
                  <a:lnTo>
                    <a:pt x="200" y="815"/>
                  </a:lnTo>
                  <a:lnTo>
                    <a:pt x="224" y="798"/>
                  </a:lnTo>
                  <a:lnTo>
                    <a:pt x="251" y="792"/>
                  </a:lnTo>
                  <a:lnTo>
                    <a:pt x="279" y="785"/>
                  </a:lnTo>
                  <a:lnTo>
                    <a:pt x="292" y="761"/>
                  </a:lnTo>
                  <a:lnTo>
                    <a:pt x="301" y="739"/>
                  </a:lnTo>
                  <a:lnTo>
                    <a:pt x="318" y="728"/>
                  </a:lnTo>
                  <a:lnTo>
                    <a:pt x="333" y="720"/>
                  </a:lnTo>
                  <a:lnTo>
                    <a:pt x="340" y="715"/>
                  </a:lnTo>
                  <a:lnTo>
                    <a:pt x="346" y="707"/>
                  </a:lnTo>
                  <a:lnTo>
                    <a:pt x="351" y="704"/>
                  </a:lnTo>
                  <a:lnTo>
                    <a:pt x="359" y="700"/>
                  </a:lnTo>
                  <a:lnTo>
                    <a:pt x="366" y="700"/>
                  </a:lnTo>
                  <a:lnTo>
                    <a:pt x="373" y="704"/>
                  </a:lnTo>
                  <a:lnTo>
                    <a:pt x="381" y="705"/>
                  </a:lnTo>
                  <a:lnTo>
                    <a:pt x="388" y="711"/>
                  </a:lnTo>
                  <a:lnTo>
                    <a:pt x="401" y="718"/>
                  </a:lnTo>
                  <a:lnTo>
                    <a:pt x="414" y="722"/>
                  </a:lnTo>
                  <a:lnTo>
                    <a:pt x="436" y="713"/>
                  </a:lnTo>
                  <a:lnTo>
                    <a:pt x="455" y="702"/>
                  </a:lnTo>
                  <a:lnTo>
                    <a:pt x="468" y="704"/>
                  </a:lnTo>
                  <a:lnTo>
                    <a:pt x="480" y="707"/>
                  </a:lnTo>
                  <a:lnTo>
                    <a:pt x="492" y="713"/>
                  </a:lnTo>
                  <a:lnTo>
                    <a:pt x="501" y="718"/>
                  </a:lnTo>
                  <a:lnTo>
                    <a:pt x="512" y="722"/>
                  </a:lnTo>
                  <a:lnTo>
                    <a:pt x="525" y="726"/>
                  </a:lnTo>
                  <a:lnTo>
                    <a:pt x="538" y="726"/>
                  </a:lnTo>
                  <a:lnTo>
                    <a:pt x="553" y="724"/>
                  </a:lnTo>
                  <a:lnTo>
                    <a:pt x="560" y="709"/>
                  </a:lnTo>
                  <a:lnTo>
                    <a:pt x="569" y="693"/>
                  </a:lnTo>
                  <a:lnTo>
                    <a:pt x="580" y="687"/>
                  </a:lnTo>
                  <a:lnTo>
                    <a:pt x="595" y="681"/>
                  </a:lnTo>
                  <a:lnTo>
                    <a:pt x="602" y="678"/>
                  </a:lnTo>
                  <a:lnTo>
                    <a:pt x="608" y="674"/>
                  </a:lnTo>
                  <a:lnTo>
                    <a:pt x="612" y="669"/>
                  </a:lnTo>
                  <a:lnTo>
                    <a:pt x="615" y="661"/>
                  </a:lnTo>
                  <a:lnTo>
                    <a:pt x="615" y="656"/>
                  </a:lnTo>
                  <a:lnTo>
                    <a:pt x="613" y="650"/>
                  </a:lnTo>
                  <a:lnTo>
                    <a:pt x="612" y="646"/>
                  </a:lnTo>
                  <a:lnTo>
                    <a:pt x="610" y="643"/>
                  </a:lnTo>
                  <a:lnTo>
                    <a:pt x="604" y="637"/>
                  </a:lnTo>
                  <a:lnTo>
                    <a:pt x="599" y="630"/>
                  </a:lnTo>
                  <a:lnTo>
                    <a:pt x="599" y="613"/>
                  </a:lnTo>
                  <a:lnTo>
                    <a:pt x="601" y="593"/>
                  </a:lnTo>
                  <a:lnTo>
                    <a:pt x="604" y="572"/>
                  </a:lnTo>
                  <a:lnTo>
                    <a:pt x="608" y="556"/>
                  </a:lnTo>
                  <a:lnTo>
                    <a:pt x="610" y="543"/>
                  </a:lnTo>
                  <a:lnTo>
                    <a:pt x="613" y="530"/>
                  </a:lnTo>
                  <a:lnTo>
                    <a:pt x="619" y="517"/>
                  </a:lnTo>
                  <a:lnTo>
                    <a:pt x="625" y="502"/>
                  </a:lnTo>
                  <a:lnTo>
                    <a:pt x="626" y="491"/>
                  </a:lnTo>
                  <a:lnTo>
                    <a:pt x="626" y="480"/>
                  </a:lnTo>
                  <a:lnTo>
                    <a:pt x="626" y="471"/>
                  </a:lnTo>
                  <a:lnTo>
                    <a:pt x="625" y="462"/>
                  </a:lnTo>
                  <a:lnTo>
                    <a:pt x="619" y="449"/>
                  </a:lnTo>
                  <a:lnTo>
                    <a:pt x="613" y="438"/>
                  </a:lnTo>
                  <a:lnTo>
                    <a:pt x="604" y="434"/>
                  </a:lnTo>
                  <a:lnTo>
                    <a:pt x="595" y="430"/>
                  </a:lnTo>
                  <a:lnTo>
                    <a:pt x="588" y="426"/>
                  </a:lnTo>
                  <a:lnTo>
                    <a:pt x="584" y="421"/>
                  </a:lnTo>
                  <a:lnTo>
                    <a:pt x="586" y="414"/>
                  </a:lnTo>
                  <a:lnTo>
                    <a:pt x="589" y="406"/>
                  </a:lnTo>
                  <a:lnTo>
                    <a:pt x="599" y="399"/>
                  </a:lnTo>
                  <a:lnTo>
                    <a:pt x="608" y="391"/>
                  </a:lnTo>
                  <a:lnTo>
                    <a:pt x="628" y="377"/>
                  </a:lnTo>
                  <a:lnTo>
                    <a:pt x="643" y="365"/>
                  </a:lnTo>
                  <a:lnTo>
                    <a:pt x="654" y="354"/>
                  </a:lnTo>
                  <a:lnTo>
                    <a:pt x="663" y="347"/>
                  </a:lnTo>
                  <a:lnTo>
                    <a:pt x="649" y="314"/>
                  </a:lnTo>
                  <a:lnTo>
                    <a:pt x="632" y="310"/>
                  </a:lnTo>
                  <a:lnTo>
                    <a:pt x="619" y="303"/>
                  </a:lnTo>
                  <a:lnTo>
                    <a:pt x="617" y="295"/>
                  </a:lnTo>
                  <a:lnTo>
                    <a:pt x="617" y="290"/>
                  </a:lnTo>
                  <a:lnTo>
                    <a:pt x="619" y="284"/>
                  </a:lnTo>
                  <a:lnTo>
                    <a:pt x="623" y="279"/>
                  </a:lnTo>
                  <a:lnTo>
                    <a:pt x="628" y="268"/>
                  </a:lnTo>
                  <a:lnTo>
                    <a:pt x="632" y="258"/>
                  </a:lnTo>
                  <a:lnTo>
                    <a:pt x="628" y="249"/>
                  </a:lnTo>
                  <a:lnTo>
                    <a:pt x="623" y="245"/>
                  </a:lnTo>
                  <a:lnTo>
                    <a:pt x="617" y="244"/>
                  </a:lnTo>
                  <a:lnTo>
                    <a:pt x="612" y="244"/>
                  </a:lnTo>
                  <a:lnTo>
                    <a:pt x="602" y="245"/>
                  </a:lnTo>
                  <a:lnTo>
                    <a:pt x="595" y="245"/>
                  </a:lnTo>
                  <a:lnTo>
                    <a:pt x="599" y="229"/>
                  </a:lnTo>
                  <a:lnTo>
                    <a:pt x="606" y="208"/>
                  </a:lnTo>
                  <a:lnTo>
                    <a:pt x="606" y="195"/>
                  </a:lnTo>
                  <a:lnTo>
                    <a:pt x="604" y="184"/>
                  </a:lnTo>
                  <a:lnTo>
                    <a:pt x="601" y="181"/>
                  </a:lnTo>
                  <a:lnTo>
                    <a:pt x="599" y="177"/>
                  </a:lnTo>
                  <a:lnTo>
                    <a:pt x="595" y="173"/>
                  </a:lnTo>
                  <a:lnTo>
                    <a:pt x="589" y="171"/>
                  </a:lnTo>
                  <a:lnTo>
                    <a:pt x="582" y="181"/>
                  </a:lnTo>
                  <a:lnTo>
                    <a:pt x="573" y="188"/>
                  </a:lnTo>
                  <a:lnTo>
                    <a:pt x="567" y="186"/>
                  </a:lnTo>
                  <a:lnTo>
                    <a:pt x="564" y="183"/>
                  </a:lnTo>
                  <a:lnTo>
                    <a:pt x="562" y="177"/>
                  </a:lnTo>
                  <a:lnTo>
                    <a:pt x="562" y="170"/>
                  </a:lnTo>
                  <a:lnTo>
                    <a:pt x="560" y="162"/>
                  </a:lnTo>
                  <a:lnTo>
                    <a:pt x="560" y="155"/>
                  </a:lnTo>
                  <a:lnTo>
                    <a:pt x="558" y="149"/>
                  </a:lnTo>
                  <a:lnTo>
                    <a:pt x="553" y="146"/>
                  </a:lnTo>
                  <a:lnTo>
                    <a:pt x="547" y="144"/>
                  </a:lnTo>
                  <a:lnTo>
                    <a:pt x="541" y="146"/>
                  </a:lnTo>
                  <a:lnTo>
                    <a:pt x="534" y="149"/>
                  </a:lnTo>
                  <a:lnTo>
                    <a:pt x="530" y="155"/>
                  </a:lnTo>
                  <a:lnTo>
                    <a:pt x="525" y="160"/>
                  </a:lnTo>
                  <a:lnTo>
                    <a:pt x="519" y="164"/>
                  </a:lnTo>
                  <a:lnTo>
                    <a:pt x="514" y="164"/>
                  </a:lnTo>
                  <a:lnTo>
                    <a:pt x="506" y="162"/>
                  </a:lnTo>
                  <a:lnTo>
                    <a:pt x="504" y="159"/>
                  </a:lnTo>
                  <a:lnTo>
                    <a:pt x="503" y="155"/>
                  </a:lnTo>
                  <a:lnTo>
                    <a:pt x="504" y="151"/>
                  </a:lnTo>
                  <a:lnTo>
                    <a:pt x="506" y="147"/>
                  </a:lnTo>
                  <a:lnTo>
                    <a:pt x="510" y="140"/>
                  </a:lnTo>
                  <a:lnTo>
                    <a:pt x="510" y="133"/>
                  </a:lnTo>
                  <a:lnTo>
                    <a:pt x="490" y="123"/>
                  </a:lnTo>
                  <a:lnTo>
                    <a:pt x="473" y="116"/>
                  </a:lnTo>
                  <a:lnTo>
                    <a:pt x="471" y="110"/>
                  </a:lnTo>
                  <a:lnTo>
                    <a:pt x="473" y="105"/>
                  </a:lnTo>
                  <a:lnTo>
                    <a:pt x="477" y="96"/>
                  </a:lnTo>
                  <a:lnTo>
                    <a:pt x="480" y="86"/>
                  </a:lnTo>
                  <a:lnTo>
                    <a:pt x="477" y="88"/>
                  </a:lnTo>
                  <a:lnTo>
                    <a:pt x="473" y="88"/>
                  </a:lnTo>
                  <a:lnTo>
                    <a:pt x="462" y="86"/>
                  </a:lnTo>
                  <a:lnTo>
                    <a:pt x="455" y="83"/>
                  </a:lnTo>
                  <a:lnTo>
                    <a:pt x="451" y="77"/>
                  </a:lnTo>
                  <a:lnTo>
                    <a:pt x="449" y="70"/>
                  </a:lnTo>
                  <a:lnTo>
                    <a:pt x="449" y="64"/>
                  </a:lnTo>
                  <a:lnTo>
                    <a:pt x="449" y="57"/>
                  </a:lnTo>
                  <a:lnTo>
                    <a:pt x="447" y="51"/>
                  </a:lnTo>
                  <a:lnTo>
                    <a:pt x="445" y="48"/>
                  </a:lnTo>
                  <a:lnTo>
                    <a:pt x="440" y="48"/>
                  </a:lnTo>
                  <a:lnTo>
                    <a:pt x="432" y="50"/>
                  </a:lnTo>
                  <a:lnTo>
                    <a:pt x="429" y="51"/>
                  </a:lnTo>
                  <a:lnTo>
                    <a:pt x="425" y="50"/>
                  </a:lnTo>
                  <a:lnTo>
                    <a:pt x="421" y="48"/>
                  </a:lnTo>
                  <a:lnTo>
                    <a:pt x="418" y="44"/>
                  </a:lnTo>
                  <a:lnTo>
                    <a:pt x="416" y="29"/>
                  </a:lnTo>
                  <a:lnTo>
                    <a:pt x="416" y="14"/>
                  </a:lnTo>
                  <a:lnTo>
                    <a:pt x="412" y="11"/>
                  </a:lnTo>
                  <a:lnTo>
                    <a:pt x="408" y="7"/>
                  </a:lnTo>
                  <a:lnTo>
                    <a:pt x="403" y="5"/>
                  </a:lnTo>
                  <a:lnTo>
                    <a:pt x="397" y="3"/>
                  </a:lnTo>
                  <a:lnTo>
                    <a:pt x="392" y="9"/>
                  </a:lnTo>
                  <a:lnTo>
                    <a:pt x="388" y="14"/>
                  </a:lnTo>
                  <a:lnTo>
                    <a:pt x="379" y="11"/>
                  </a:lnTo>
                  <a:lnTo>
                    <a:pt x="371" y="3"/>
                  </a:lnTo>
                  <a:lnTo>
                    <a:pt x="366" y="1"/>
                  </a:lnTo>
                  <a:lnTo>
                    <a:pt x="360" y="0"/>
                  </a:lnTo>
                  <a:lnTo>
                    <a:pt x="355" y="0"/>
                  </a:lnTo>
                  <a:lnTo>
                    <a:pt x="346" y="5"/>
                  </a:lnTo>
                  <a:lnTo>
                    <a:pt x="344" y="7"/>
                  </a:lnTo>
                  <a:lnTo>
                    <a:pt x="342" y="11"/>
                  </a:lnTo>
                  <a:lnTo>
                    <a:pt x="340" y="14"/>
                  </a:lnTo>
                  <a:lnTo>
                    <a:pt x="340" y="18"/>
                  </a:lnTo>
                  <a:lnTo>
                    <a:pt x="342" y="27"/>
                  </a:lnTo>
                  <a:lnTo>
                    <a:pt x="346" y="40"/>
                  </a:lnTo>
                  <a:lnTo>
                    <a:pt x="340" y="50"/>
                  </a:lnTo>
                  <a:lnTo>
                    <a:pt x="335" y="62"/>
                  </a:lnTo>
                  <a:lnTo>
                    <a:pt x="338" y="70"/>
                  </a:lnTo>
                  <a:lnTo>
                    <a:pt x="344" y="77"/>
                  </a:lnTo>
                  <a:lnTo>
                    <a:pt x="344" y="86"/>
                  </a:lnTo>
                  <a:lnTo>
                    <a:pt x="346" y="96"/>
                  </a:lnTo>
                  <a:lnTo>
                    <a:pt x="351" y="99"/>
                  </a:lnTo>
                  <a:lnTo>
                    <a:pt x="359" y="99"/>
                  </a:lnTo>
                  <a:lnTo>
                    <a:pt x="360" y="101"/>
                  </a:lnTo>
                  <a:lnTo>
                    <a:pt x="364" y="105"/>
                  </a:lnTo>
                  <a:lnTo>
                    <a:pt x="366" y="110"/>
                  </a:lnTo>
                  <a:lnTo>
                    <a:pt x="368" y="123"/>
                  </a:lnTo>
                  <a:lnTo>
                    <a:pt x="357" y="129"/>
                  </a:lnTo>
                  <a:lnTo>
                    <a:pt x="335" y="138"/>
                  </a:lnTo>
                  <a:lnTo>
                    <a:pt x="309" y="146"/>
                  </a:lnTo>
                  <a:lnTo>
                    <a:pt x="292" y="149"/>
                  </a:lnTo>
                  <a:lnTo>
                    <a:pt x="288" y="159"/>
                  </a:lnTo>
                  <a:lnTo>
                    <a:pt x="287" y="168"/>
                  </a:lnTo>
                  <a:lnTo>
                    <a:pt x="288" y="177"/>
                  </a:lnTo>
                  <a:lnTo>
                    <a:pt x="292" y="186"/>
                  </a:lnTo>
                  <a:lnTo>
                    <a:pt x="301" y="205"/>
                  </a:lnTo>
                  <a:lnTo>
                    <a:pt x="309" y="221"/>
                  </a:lnTo>
                  <a:lnTo>
                    <a:pt x="316" y="238"/>
                  </a:lnTo>
                  <a:lnTo>
                    <a:pt x="323" y="255"/>
                  </a:lnTo>
                  <a:lnTo>
                    <a:pt x="329" y="268"/>
                  </a:lnTo>
                  <a:lnTo>
                    <a:pt x="336" y="275"/>
                  </a:lnTo>
                  <a:lnTo>
                    <a:pt x="347" y="277"/>
                  </a:lnTo>
                  <a:lnTo>
                    <a:pt x="360" y="279"/>
                  </a:lnTo>
                  <a:lnTo>
                    <a:pt x="366" y="280"/>
                  </a:lnTo>
                  <a:lnTo>
                    <a:pt x="371" y="284"/>
                  </a:lnTo>
                  <a:lnTo>
                    <a:pt x="377" y="288"/>
                  </a:lnTo>
                  <a:lnTo>
                    <a:pt x="381" y="292"/>
                  </a:lnTo>
                  <a:lnTo>
                    <a:pt x="384" y="301"/>
                  </a:lnTo>
                  <a:lnTo>
                    <a:pt x="384" y="314"/>
                  </a:lnTo>
                  <a:lnTo>
                    <a:pt x="384" y="327"/>
                  </a:lnTo>
                  <a:lnTo>
                    <a:pt x="383" y="336"/>
                  </a:lnTo>
                  <a:lnTo>
                    <a:pt x="357" y="347"/>
                  </a:lnTo>
                  <a:lnTo>
                    <a:pt x="333" y="360"/>
                  </a:lnTo>
                  <a:lnTo>
                    <a:pt x="320" y="380"/>
                  </a:lnTo>
                  <a:lnTo>
                    <a:pt x="303" y="404"/>
                  </a:lnTo>
                  <a:lnTo>
                    <a:pt x="292" y="414"/>
                  </a:lnTo>
                  <a:lnTo>
                    <a:pt x="281" y="421"/>
                  </a:lnTo>
                  <a:lnTo>
                    <a:pt x="275" y="425"/>
                  </a:lnTo>
                  <a:lnTo>
                    <a:pt x="270" y="428"/>
                  </a:lnTo>
                  <a:lnTo>
                    <a:pt x="264" y="434"/>
                  </a:lnTo>
                  <a:lnTo>
                    <a:pt x="262" y="439"/>
                  </a:lnTo>
                  <a:lnTo>
                    <a:pt x="272" y="449"/>
                  </a:lnTo>
                  <a:lnTo>
                    <a:pt x="285" y="456"/>
                  </a:lnTo>
                  <a:lnTo>
                    <a:pt x="292" y="462"/>
                  </a:lnTo>
                  <a:lnTo>
                    <a:pt x="298" y="465"/>
                  </a:lnTo>
                  <a:lnTo>
                    <a:pt x="301" y="471"/>
                  </a:lnTo>
                  <a:lnTo>
                    <a:pt x="303" y="476"/>
                  </a:lnTo>
                  <a:lnTo>
                    <a:pt x="301" y="487"/>
                  </a:lnTo>
                  <a:lnTo>
                    <a:pt x="294" y="502"/>
                  </a:lnTo>
                  <a:lnTo>
                    <a:pt x="287" y="517"/>
                  </a:lnTo>
                  <a:lnTo>
                    <a:pt x="281" y="526"/>
                  </a:lnTo>
                  <a:lnTo>
                    <a:pt x="268" y="532"/>
                  </a:lnTo>
                  <a:lnTo>
                    <a:pt x="257" y="534"/>
                  </a:lnTo>
                  <a:lnTo>
                    <a:pt x="250" y="539"/>
                  </a:lnTo>
                  <a:lnTo>
                    <a:pt x="244" y="545"/>
                  </a:lnTo>
                  <a:lnTo>
                    <a:pt x="238" y="545"/>
                  </a:lnTo>
                  <a:lnTo>
                    <a:pt x="233" y="545"/>
                  </a:lnTo>
                  <a:lnTo>
                    <a:pt x="227" y="543"/>
                  </a:lnTo>
                  <a:lnTo>
                    <a:pt x="222" y="545"/>
                  </a:lnTo>
                  <a:lnTo>
                    <a:pt x="214" y="554"/>
                  </a:lnTo>
                  <a:lnTo>
                    <a:pt x="209" y="563"/>
                  </a:lnTo>
                  <a:lnTo>
                    <a:pt x="198" y="565"/>
                  </a:lnTo>
                  <a:lnTo>
                    <a:pt x="187" y="567"/>
                  </a:lnTo>
                  <a:lnTo>
                    <a:pt x="176" y="580"/>
                  </a:lnTo>
                  <a:lnTo>
                    <a:pt x="168" y="593"/>
                  </a:lnTo>
                  <a:lnTo>
                    <a:pt x="161" y="596"/>
                  </a:lnTo>
                  <a:lnTo>
                    <a:pt x="150" y="602"/>
                  </a:lnTo>
                  <a:lnTo>
                    <a:pt x="142" y="611"/>
                  </a:lnTo>
                  <a:lnTo>
                    <a:pt x="133" y="622"/>
                  </a:lnTo>
                  <a:lnTo>
                    <a:pt x="120" y="620"/>
                  </a:lnTo>
                  <a:lnTo>
                    <a:pt x="104" y="619"/>
                  </a:lnTo>
                  <a:lnTo>
                    <a:pt x="87" y="632"/>
                  </a:lnTo>
                  <a:lnTo>
                    <a:pt x="70" y="643"/>
                  </a:lnTo>
                  <a:lnTo>
                    <a:pt x="59" y="646"/>
                  </a:lnTo>
                  <a:lnTo>
                    <a:pt x="50" y="648"/>
                  </a:lnTo>
                  <a:lnTo>
                    <a:pt x="41" y="648"/>
                  </a:lnTo>
                  <a:lnTo>
                    <a:pt x="33" y="650"/>
                  </a:lnTo>
                  <a:lnTo>
                    <a:pt x="30" y="652"/>
                  </a:lnTo>
                  <a:lnTo>
                    <a:pt x="26" y="656"/>
                  </a:lnTo>
                  <a:lnTo>
                    <a:pt x="24" y="661"/>
                  </a:lnTo>
                  <a:lnTo>
                    <a:pt x="22" y="665"/>
                  </a:lnTo>
                  <a:lnTo>
                    <a:pt x="24" y="669"/>
                  </a:lnTo>
                  <a:lnTo>
                    <a:pt x="26" y="670"/>
                  </a:lnTo>
                  <a:lnTo>
                    <a:pt x="28" y="672"/>
                  </a:lnTo>
                  <a:lnTo>
                    <a:pt x="30" y="674"/>
                  </a:lnTo>
                  <a:lnTo>
                    <a:pt x="32" y="676"/>
                  </a:lnTo>
                  <a:lnTo>
                    <a:pt x="32" y="678"/>
                  </a:lnTo>
                  <a:lnTo>
                    <a:pt x="24" y="687"/>
                  </a:lnTo>
                  <a:lnTo>
                    <a:pt x="20" y="700"/>
                  </a:lnTo>
                  <a:lnTo>
                    <a:pt x="17" y="711"/>
                  </a:lnTo>
                  <a:lnTo>
                    <a:pt x="13" y="724"/>
                  </a:lnTo>
                  <a:lnTo>
                    <a:pt x="28" y="728"/>
                  </a:lnTo>
                  <a:lnTo>
                    <a:pt x="43" y="728"/>
                  </a:lnTo>
                  <a:lnTo>
                    <a:pt x="43" y="735"/>
                  </a:lnTo>
                  <a:lnTo>
                    <a:pt x="39" y="741"/>
                  </a:lnTo>
                  <a:lnTo>
                    <a:pt x="32" y="744"/>
                  </a:lnTo>
                  <a:lnTo>
                    <a:pt x="24" y="746"/>
                  </a:lnTo>
                  <a:lnTo>
                    <a:pt x="17" y="750"/>
                  </a:lnTo>
                  <a:lnTo>
                    <a:pt x="9" y="752"/>
                  </a:lnTo>
                  <a:lnTo>
                    <a:pt x="4" y="755"/>
                  </a:lnTo>
                  <a:lnTo>
                    <a:pt x="0" y="759"/>
                  </a:lnTo>
                  <a:lnTo>
                    <a:pt x="0" y="772"/>
                  </a:lnTo>
                  <a:lnTo>
                    <a:pt x="4" y="79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4" name="Freeform 26"/>
            <p:cNvSpPr>
              <a:spLocks/>
            </p:cNvSpPr>
            <p:nvPr/>
          </p:nvSpPr>
          <p:spPr bwMode="auto">
            <a:xfrm>
              <a:off x="5315116" y="2765796"/>
              <a:ext cx="144015" cy="193892"/>
            </a:xfrm>
            <a:custGeom>
              <a:avLst/>
              <a:gdLst>
                <a:gd name="T0" fmla="*/ 174 w 276"/>
                <a:gd name="T1" fmla="*/ 200 h 381"/>
                <a:gd name="T2" fmla="*/ 144 w 276"/>
                <a:gd name="T3" fmla="*/ 252 h 381"/>
                <a:gd name="T4" fmla="*/ 119 w 276"/>
                <a:gd name="T5" fmla="*/ 287 h 381"/>
                <a:gd name="T6" fmla="*/ 83 w 276"/>
                <a:gd name="T7" fmla="*/ 324 h 381"/>
                <a:gd name="T8" fmla="*/ 65 w 276"/>
                <a:gd name="T9" fmla="*/ 340 h 381"/>
                <a:gd name="T10" fmla="*/ 54 w 276"/>
                <a:gd name="T11" fmla="*/ 339 h 381"/>
                <a:gd name="T12" fmla="*/ 41 w 276"/>
                <a:gd name="T13" fmla="*/ 329 h 381"/>
                <a:gd name="T14" fmla="*/ 34 w 276"/>
                <a:gd name="T15" fmla="*/ 333 h 381"/>
                <a:gd name="T16" fmla="*/ 39 w 276"/>
                <a:gd name="T17" fmla="*/ 342 h 381"/>
                <a:gd name="T18" fmla="*/ 45 w 276"/>
                <a:gd name="T19" fmla="*/ 350 h 381"/>
                <a:gd name="T20" fmla="*/ 41 w 276"/>
                <a:gd name="T21" fmla="*/ 353 h 381"/>
                <a:gd name="T22" fmla="*/ 32 w 276"/>
                <a:gd name="T23" fmla="*/ 357 h 381"/>
                <a:gd name="T24" fmla="*/ 13 w 276"/>
                <a:gd name="T25" fmla="*/ 359 h 381"/>
                <a:gd name="T26" fmla="*/ 4 w 276"/>
                <a:gd name="T27" fmla="*/ 363 h 381"/>
                <a:gd name="T28" fmla="*/ 0 w 276"/>
                <a:gd name="T29" fmla="*/ 366 h 381"/>
                <a:gd name="T30" fmla="*/ 2 w 276"/>
                <a:gd name="T31" fmla="*/ 374 h 381"/>
                <a:gd name="T32" fmla="*/ 11 w 276"/>
                <a:gd name="T33" fmla="*/ 379 h 381"/>
                <a:gd name="T34" fmla="*/ 35 w 276"/>
                <a:gd name="T35" fmla="*/ 381 h 381"/>
                <a:gd name="T36" fmla="*/ 65 w 276"/>
                <a:gd name="T37" fmla="*/ 377 h 381"/>
                <a:gd name="T38" fmla="*/ 95 w 276"/>
                <a:gd name="T39" fmla="*/ 364 h 381"/>
                <a:gd name="T40" fmla="*/ 119 w 276"/>
                <a:gd name="T41" fmla="*/ 329 h 381"/>
                <a:gd name="T42" fmla="*/ 139 w 276"/>
                <a:gd name="T43" fmla="*/ 302 h 381"/>
                <a:gd name="T44" fmla="*/ 156 w 276"/>
                <a:gd name="T45" fmla="*/ 292 h 381"/>
                <a:gd name="T46" fmla="*/ 165 w 276"/>
                <a:gd name="T47" fmla="*/ 283 h 381"/>
                <a:gd name="T48" fmla="*/ 187 w 276"/>
                <a:gd name="T49" fmla="*/ 270 h 381"/>
                <a:gd name="T50" fmla="*/ 213 w 276"/>
                <a:gd name="T51" fmla="*/ 248 h 381"/>
                <a:gd name="T52" fmla="*/ 231 w 276"/>
                <a:gd name="T53" fmla="*/ 220 h 381"/>
                <a:gd name="T54" fmla="*/ 235 w 276"/>
                <a:gd name="T55" fmla="*/ 198 h 381"/>
                <a:gd name="T56" fmla="*/ 229 w 276"/>
                <a:gd name="T57" fmla="*/ 180 h 381"/>
                <a:gd name="T58" fmla="*/ 240 w 276"/>
                <a:gd name="T59" fmla="*/ 172 h 381"/>
                <a:gd name="T60" fmla="*/ 248 w 276"/>
                <a:gd name="T61" fmla="*/ 176 h 381"/>
                <a:gd name="T62" fmla="*/ 248 w 276"/>
                <a:gd name="T63" fmla="*/ 183 h 381"/>
                <a:gd name="T64" fmla="*/ 250 w 276"/>
                <a:gd name="T65" fmla="*/ 187 h 381"/>
                <a:gd name="T66" fmla="*/ 261 w 276"/>
                <a:gd name="T67" fmla="*/ 169 h 381"/>
                <a:gd name="T68" fmla="*/ 268 w 276"/>
                <a:gd name="T69" fmla="*/ 128 h 381"/>
                <a:gd name="T70" fmla="*/ 268 w 276"/>
                <a:gd name="T71" fmla="*/ 102 h 381"/>
                <a:gd name="T72" fmla="*/ 272 w 276"/>
                <a:gd name="T73" fmla="*/ 71 h 381"/>
                <a:gd name="T74" fmla="*/ 274 w 276"/>
                <a:gd name="T75" fmla="*/ 41 h 381"/>
                <a:gd name="T76" fmla="*/ 268 w 276"/>
                <a:gd name="T77" fmla="*/ 28 h 381"/>
                <a:gd name="T78" fmla="*/ 270 w 276"/>
                <a:gd name="T79" fmla="*/ 15 h 381"/>
                <a:gd name="T80" fmla="*/ 270 w 276"/>
                <a:gd name="T81" fmla="*/ 4 h 381"/>
                <a:gd name="T82" fmla="*/ 257 w 276"/>
                <a:gd name="T83" fmla="*/ 0 h 381"/>
                <a:gd name="T84" fmla="*/ 246 w 276"/>
                <a:gd name="T85" fmla="*/ 15 h 381"/>
                <a:gd name="T86" fmla="*/ 240 w 276"/>
                <a:gd name="T87" fmla="*/ 37 h 381"/>
                <a:gd name="T88" fmla="*/ 239 w 276"/>
                <a:gd name="T89" fmla="*/ 56 h 381"/>
                <a:gd name="T90" fmla="*/ 231 w 276"/>
                <a:gd name="T91" fmla="*/ 76 h 381"/>
                <a:gd name="T92" fmla="*/ 228 w 276"/>
                <a:gd name="T93" fmla="*/ 95 h 381"/>
                <a:gd name="T94" fmla="*/ 220 w 276"/>
                <a:gd name="T95" fmla="*/ 124 h 381"/>
                <a:gd name="T96" fmla="*/ 204 w 276"/>
                <a:gd name="T97" fmla="*/ 157 h 38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76"/>
                <a:gd name="T148" fmla="*/ 0 h 381"/>
                <a:gd name="T149" fmla="*/ 276 w 276"/>
                <a:gd name="T150" fmla="*/ 381 h 38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76" h="381">
                  <a:moveTo>
                    <a:pt x="196" y="174"/>
                  </a:moveTo>
                  <a:lnTo>
                    <a:pt x="174" y="200"/>
                  </a:lnTo>
                  <a:lnTo>
                    <a:pt x="152" y="226"/>
                  </a:lnTo>
                  <a:lnTo>
                    <a:pt x="144" y="252"/>
                  </a:lnTo>
                  <a:lnTo>
                    <a:pt x="135" y="272"/>
                  </a:lnTo>
                  <a:lnTo>
                    <a:pt x="119" y="287"/>
                  </a:lnTo>
                  <a:lnTo>
                    <a:pt x="98" y="302"/>
                  </a:lnTo>
                  <a:lnTo>
                    <a:pt x="83" y="324"/>
                  </a:lnTo>
                  <a:lnTo>
                    <a:pt x="69" y="339"/>
                  </a:lnTo>
                  <a:lnTo>
                    <a:pt x="65" y="340"/>
                  </a:lnTo>
                  <a:lnTo>
                    <a:pt x="59" y="340"/>
                  </a:lnTo>
                  <a:lnTo>
                    <a:pt x="54" y="339"/>
                  </a:lnTo>
                  <a:lnTo>
                    <a:pt x="50" y="335"/>
                  </a:lnTo>
                  <a:lnTo>
                    <a:pt x="41" y="329"/>
                  </a:lnTo>
                  <a:lnTo>
                    <a:pt x="34" y="327"/>
                  </a:lnTo>
                  <a:lnTo>
                    <a:pt x="34" y="333"/>
                  </a:lnTo>
                  <a:lnTo>
                    <a:pt x="35" y="337"/>
                  </a:lnTo>
                  <a:lnTo>
                    <a:pt x="39" y="342"/>
                  </a:lnTo>
                  <a:lnTo>
                    <a:pt x="45" y="348"/>
                  </a:lnTo>
                  <a:lnTo>
                    <a:pt x="45" y="350"/>
                  </a:lnTo>
                  <a:lnTo>
                    <a:pt x="43" y="352"/>
                  </a:lnTo>
                  <a:lnTo>
                    <a:pt x="41" y="353"/>
                  </a:lnTo>
                  <a:lnTo>
                    <a:pt x="39" y="355"/>
                  </a:lnTo>
                  <a:lnTo>
                    <a:pt x="32" y="357"/>
                  </a:lnTo>
                  <a:lnTo>
                    <a:pt x="23" y="357"/>
                  </a:lnTo>
                  <a:lnTo>
                    <a:pt x="13" y="359"/>
                  </a:lnTo>
                  <a:lnTo>
                    <a:pt x="6" y="361"/>
                  </a:lnTo>
                  <a:lnTo>
                    <a:pt x="4" y="363"/>
                  </a:lnTo>
                  <a:lnTo>
                    <a:pt x="2" y="364"/>
                  </a:lnTo>
                  <a:lnTo>
                    <a:pt x="0" y="366"/>
                  </a:lnTo>
                  <a:lnTo>
                    <a:pt x="0" y="368"/>
                  </a:lnTo>
                  <a:lnTo>
                    <a:pt x="2" y="374"/>
                  </a:lnTo>
                  <a:lnTo>
                    <a:pt x="6" y="376"/>
                  </a:lnTo>
                  <a:lnTo>
                    <a:pt x="11" y="379"/>
                  </a:lnTo>
                  <a:lnTo>
                    <a:pt x="19" y="379"/>
                  </a:lnTo>
                  <a:lnTo>
                    <a:pt x="35" y="381"/>
                  </a:lnTo>
                  <a:lnTo>
                    <a:pt x="48" y="381"/>
                  </a:lnTo>
                  <a:lnTo>
                    <a:pt x="65" y="377"/>
                  </a:lnTo>
                  <a:lnTo>
                    <a:pt x="80" y="370"/>
                  </a:lnTo>
                  <a:lnTo>
                    <a:pt x="95" y="364"/>
                  </a:lnTo>
                  <a:lnTo>
                    <a:pt x="111" y="357"/>
                  </a:lnTo>
                  <a:lnTo>
                    <a:pt x="119" y="329"/>
                  </a:lnTo>
                  <a:lnTo>
                    <a:pt x="128" y="305"/>
                  </a:lnTo>
                  <a:lnTo>
                    <a:pt x="139" y="302"/>
                  </a:lnTo>
                  <a:lnTo>
                    <a:pt x="152" y="300"/>
                  </a:lnTo>
                  <a:lnTo>
                    <a:pt x="156" y="292"/>
                  </a:lnTo>
                  <a:lnTo>
                    <a:pt x="159" y="287"/>
                  </a:lnTo>
                  <a:lnTo>
                    <a:pt x="165" y="283"/>
                  </a:lnTo>
                  <a:lnTo>
                    <a:pt x="172" y="278"/>
                  </a:lnTo>
                  <a:lnTo>
                    <a:pt x="187" y="270"/>
                  </a:lnTo>
                  <a:lnTo>
                    <a:pt x="207" y="261"/>
                  </a:lnTo>
                  <a:lnTo>
                    <a:pt x="213" y="248"/>
                  </a:lnTo>
                  <a:lnTo>
                    <a:pt x="216" y="230"/>
                  </a:lnTo>
                  <a:lnTo>
                    <a:pt x="231" y="220"/>
                  </a:lnTo>
                  <a:lnTo>
                    <a:pt x="244" y="209"/>
                  </a:lnTo>
                  <a:lnTo>
                    <a:pt x="235" y="198"/>
                  </a:lnTo>
                  <a:lnTo>
                    <a:pt x="226" y="185"/>
                  </a:lnTo>
                  <a:lnTo>
                    <a:pt x="229" y="180"/>
                  </a:lnTo>
                  <a:lnTo>
                    <a:pt x="233" y="176"/>
                  </a:lnTo>
                  <a:lnTo>
                    <a:pt x="240" y="172"/>
                  </a:lnTo>
                  <a:lnTo>
                    <a:pt x="248" y="170"/>
                  </a:lnTo>
                  <a:lnTo>
                    <a:pt x="248" y="176"/>
                  </a:lnTo>
                  <a:lnTo>
                    <a:pt x="248" y="180"/>
                  </a:lnTo>
                  <a:lnTo>
                    <a:pt x="248" y="183"/>
                  </a:lnTo>
                  <a:lnTo>
                    <a:pt x="248" y="185"/>
                  </a:lnTo>
                  <a:lnTo>
                    <a:pt x="250" y="187"/>
                  </a:lnTo>
                  <a:lnTo>
                    <a:pt x="253" y="187"/>
                  </a:lnTo>
                  <a:lnTo>
                    <a:pt x="261" y="169"/>
                  </a:lnTo>
                  <a:lnTo>
                    <a:pt x="270" y="137"/>
                  </a:lnTo>
                  <a:lnTo>
                    <a:pt x="268" y="128"/>
                  </a:lnTo>
                  <a:lnTo>
                    <a:pt x="265" y="115"/>
                  </a:lnTo>
                  <a:lnTo>
                    <a:pt x="268" y="102"/>
                  </a:lnTo>
                  <a:lnTo>
                    <a:pt x="270" y="87"/>
                  </a:lnTo>
                  <a:lnTo>
                    <a:pt x="272" y="71"/>
                  </a:lnTo>
                  <a:lnTo>
                    <a:pt x="274" y="50"/>
                  </a:lnTo>
                  <a:lnTo>
                    <a:pt x="274" y="41"/>
                  </a:lnTo>
                  <a:lnTo>
                    <a:pt x="270" y="34"/>
                  </a:lnTo>
                  <a:lnTo>
                    <a:pt x="268" y="28"/>
                  </a:lnTo>
                  <a:lnTo>
                    <a:pt x="266" y="24"/>
                  </a:lnTo>
                  <a:lnTo>
                    <a:pt x="270" y="15"/>
                  </a:lnTo>
                  <a:lnTo>
                    <a:pt x="276" y="6"/>
                  </a:lnTo>
                  <a:lnTo>
                    <a:pt x="270" y="4"/>
                  </a:lnTo>
                  <a:lnTo>
                    <a:pt x="265" y="2"/>
                  </a:lnTo>
                  <a:lnTo>
                    <a:pt x="257" y="0"/>
                  </a:lnTo>
                  <a:lnTo>
                    <a:pt x="253" y="2"/>
                  </a:lnTo>
                  <a:lnTo>
                    <a:pt x="246" y="15"/>
                  </a:lnTo>
                  <a:lnTo>
                    <a:pt x="240" y="26"/>
                  </a:lnTo>
                  <a:lnTo>
                    <a:pt x="240" y="37"/>
                  </a:lnTo>
                  <a:lnTo>
                    <a:pt x="240" y="47"/>
                  </a:lnTo>
                  <a:lnTo>
                    <a:pt x="239" y="56"/>
                  </a:lnTo>
                  <a:lnTo>
                    <a:pt x="237" y="65"/>
                  </a:lnTo>
                  <a:lnTo>
                    <a:pt x="231" y="76"/>
                  </a:lnTo>
                  <a:lnTo>
                    <a:pt x="229" y="87"/>
                  </a:lnTo>
                  <a:lnTo>
                    <a:pt x="228" y="95"/>
                  </a:lnTo>
                  <a:lnTo>
                    <a:pt x="228" y="104"/>
                  </a:lnTo>
                  <a:lnTo>
                    <a:pt x="220" y="124"/>
                  </a:lnTo>
                  <a:lnTo>
                    <a:pt x="213" y="141"/>
                  </a:lnTo>
                  <a:lnTo>
                    <a:pt x="204" y="157"/>
                  </a:lnTo>
                  <a:lnTo>
                    <a:pt x="196" y="174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5" name="Freeform 27"/>
            <p:cNvSpPr>
              <a:spLocks/>
            </p:cNvSpPr>
            <p:nvPr/>
          </p:nvSpPr>
          <p:spPr bwMode="auto">
            <a:xfrm>
              <a:off x="5182059" y="2672667"/>
              <a:ext cx="448219" cy="347072"/>
            </a:xfrm>
            <a:custGeom>
              <a:avLst/>
              <a:gdLst>
                <a:gd name="T0" fmla="*/ 60 w 859"/>
                <a:gd name="T1" fmla="*/ 542 h 682"/>
                <a:gd name="T2" fmla="*/ 100 w 859"/>
                <a:gd name="T3" fmla="*/ 555 h 682"/>
                <a:gd name="T4" fmla="*/ 176 w 859"/>
                <a:gd name="T5" fmla="*/ 586 h 682"/>
                <a:gd name="T6" fmla="*/ 194 w 859"/>
                <a:gd name="T7" fmla="*/ 640 h 682"/>
                <a:gd name="T8" fmla="*/ 268 w 859"/>
                <a:gd name="T9" fmla="*/ 677 h 682"/>
                <a:gd name="T10" fmla="*/ 326 w 859"/>
                <a:gd name="T11" fmla="*/ 653 h 682"/>
                <a:gd name="T12" fmla="*/ 401 w 859"/>
                <a:gd name="T13" fmla="*/ 649 h 682"/>
                <a:gd name="T14" fmla="*/ 435 w 859"/>
                <a:gd name="T15" fmla="*/ 680 h 682"/>
                <a:gd name="T16" fmla="*/ 477 w 859"/>
                <a:gd name="T17" fmla="*/ 680 h 682"/>
                <a:gd name="T18" fmla="*/ 484 w 859"/>
                <a:gd name="T19" fmla="*/ 642 h 682"/>
                <a:gd name="T20" fmla="*/ 518 w 859"/>
                <a:gd name="T21" fmla="*/ 618 h 682"/>
                <a:gd name="T22" fmla="*/ 507 w 859"/>
                <a:gd name="T23" fmla="*/ 568 h 682"/>
                <a:gd name="T24" fmla="*/ 497 w 859"/>
                <a:gd name="T25" fmla="*/ 555 h 682"/>
                <a:gd name="T26" fmla="*/ 525 w 859"/>
                <a:gd name="T27" fmla="*/ 538 h 682"/>
                <a:gd name="T28" fmla="*/ 608 w 859"/>
                <a:gd name="T29" fmla="*/ 512 h 682"/>
                <a:gd name="T30" fmla="*/ 662 w 859"/>
                <a:gd name="T31" fmla="*/ 457 h 682"/>
                <a:gd name="T32" fmla="*/ 708 w 859"/>
                <a:gd name="T33" fmla="*/ 435 h 682"/>
                <a:gd name="T34" fmla="*/ 756 w 859"/>
                <a:gd name="T35" fmla="*/ 416 h 682"/>
                <a:gd name="T36" fmla="*/ 773 w 859"/>
                <a:gd name="T37" fmla="*/ 355 h 682"/>
                <a:gd name="T38" fmla="*/ 745 w 859"/>
                <a:gd name="T39" fmla="*/ 318 h 682"/>
                <a:gd name="T40" fmla="*/ 808 w 859"/>
                <a:gd name="T41" fmla="*/ 250 h 682"/>
                <a:gd name="T42" fmla="*/ 856 w 859"/>
                <a:gd name="T43" fmla="*/ 182 h 682"/>
                <a:gd name="T44" fmla="*/ 811 w 859"/>
                <a:gd name="T45" fmla="*/ 165 h 682"/>
                <a:gd name="T46" fmla="*/ 767 w 859"/>
                <a:gd name="T47" fmla="*/ 76 h 682"/>
                <a:gd name="T48" fmla="*/ 767 w 859"/>
                <a:gd name="T49" fmla="*/ 39 h 682"/>
                <a:gd name="T50" fmla="*/ 765 w 859"/>
                <a:gd name="T51" fmla="*/ 0 h 682"/>
                <a:gd name="T52" fmla="*/ 752 w 859"/>
                <a:gd name="T53" fmla="*/ 25 h 682"/>
                <a:gd name="T54" fmla="*/ 715 w 859"/>
                <a:gd name="T55" fmla="*/ 69 h 682"/>
                <a:gd name="T56" fmla="*/ 662 w 859"/>
                <a:gd name="T57" fmla="*/ 80 h 682"/>
                <a:gd name="T58" fmla="*/ 630 w 859"/>
                <a:gd name="T59" fmla="*/ 74 h 682"/>
                <a:gd name="T60" fmla="*/ 582 w 859"/>
                <a:gd name="T61" fmla="*/ 65 h 682"/>
                <a:gd name="T62" fmla="*/ 510 w 859"/>
                <a:gd name="T63" fmla="*/ 97 h 682"/>
                <a:gd name="T64" fmla="*/ 464 w 859"/>
                <a:gd name="T65" fmla="*/ 119 h 682"/>
                <a:gd name="T66" fmla="*/ 471 w 859"/>
                <a:gd name="T67" fmla="*/ 152 h 682"/>
                <a:gd name="T68" fmla="*/ 471 w 859"/>
                <a:gd name="T69" fmla="*/ 206 h 682"/>
                <a:gd name="T70" fmla="*/ 492 w 859"/>
                <a:gd name="T71" fmla="*/ 248 h 682"/>
                <a:gd name="T72" fmla="*/ 508 w 859"/>
                <a:gd name="T73" fmla="*/ 185 h 682"/>
                <a:gd name="T74" fmla="*/ 521 w 859"/>
                <a:gd name="T75" fmla="*/ 207 h 682"/>
                <a:gd name="T76" fmla="*/ 525 w 859"/>
                <a:gd name="T77" fmla="*/ 270 h 682"/>
                <a:gd name="T78" fmla="*/ 508 w 859"/>
                <a:gd name="T79" fmla="*/ 370 h 682"/>
                <a:gd name="T80" fmla="*/ 503 w 859"/>
                <a:gd name="T81" fmla="*/ 353 h 682"/>
                <a:gd name="T82" fmla="*/ 499 w 859"/>
                <a:gd name="T83" fmla="*/ 392 h 682"/>
                <a:gd name="T84" fmla="*/ 427 w 859"/>
                <a:gd name="T85" fmla="*/ 461 h 682"/>
                <a:gd name="T86" fmla="*/ 383 w 859"/>
                <a:gd name="T87" fmla="*/ 488 h 682"/>
                <a:gd name="T88" fmla="*/ 303 w 859"/>
                <a:gd name="T89" fmla="*/ 564 h 682"/>
                <a:gd name="T90" fmla="*/ 279 w 859"/>
                <a:gd name="T91" fmla="*/ 579 h 682"/>
                <a:gd name="T92" fmla="*/ 255 w 859"/>
                <a:gd name="T93" fmla="*/ 577 h 682"/>
                <a:gd name="T94" fmla="*/ 222 w 859"/>
                <a:gd name="T95" fmla="*/ 555 h 682"/>
                <a:gd name="T96" fmla="*/ 213 w 859"/>
                <a:gd name="T97" fmla="*/ 531 h 682"/>
                <a:gd name="T98" fmla="*/ 187 w 859"/>
                <a:gd name="T99" fmla="*/ 505 h 682"/>
                <a:gd name="T100" fmla="*/ 137 w 859"/>
                <a:gd name="T101" fmla="*/ 479 h 682"/>
                <a:gd name="T102" fmla="*/ 74 w 859"/>
                <a:gd name="T103" fmla="*/ 409 h 682"/>
                <a:gd name="T104" fmla="*/ 2 w 859"/>
                <a:gd name="T105" fmla="*/ 455 h 682"/>
                <a:gd name="T106" fmla="*/ 0 w 859"/>
                <a:gd name="T107" fmla="*/ 499 h 6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59"/>
                <a:gd name="T163" fmla="*/ 0 h 682"/>
                <a:gd name="T164" fmla="*/ 859 w 859"/>
                <a:gd name="T165" fmla="*/ 682 h 68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59" h="682">
                  <a:moveTo>
                    <a:pt x="2" y="512"/>
                  </a:moveTo>
                  <a:lnTo>
                    <a:pt x="12" y="520"/>
                  </a:lnTo>
                  <a:lnTo>
                    <a:pt x="23" y="525"/>
                  </a:lnTo>
                  <a:lnTo>
                    <a:pt x="34" y="529"/>
                  </a:lnTo>
                  <a:lnTo>
                    <a:pt x="47" y="533"/>
                  </a:lnTo>
                  <a:lnTo>
                    <a:pt x="60" y="542"/>
                  </a:lnTo>
                  <a:lnTo>
                    <a:pt x="69" y="547"/>
                  </a:lnTo>
                  <a:lnTo>
                    <a:pt x="72" y="551"/>
                  </a:lnTo>
                  <a:lnTo>
                    <a:pt x="78" y="551"/>
                  </a:lnTo>
                  <a:lnTo>
                    <a:pt x="82" y="551"/>
                  </a:lnTo>
                  <a:lnTo>
                    <a:pt x="87" y="549"/>
                  </a:lnTo>
                  <a:lnTo>
                    <a:pt x="100" y="555"/>
                  </a:lnTo>
                  <a:lnTo>
                    <a:pt x="120" y="562"/>
                  </a:lnTo>
                  <a:lnTo>
                    <a:pt x="145" y="571"/>
                  </a:lnTo>
                  <a:lnTo>
                    <a:pt x="163" y="577"/>
                  </a:lnTo>
                  <a:lnTo>
                    <a:pt x="170" y="581"/>
                  </a:lnTo>
                  <a:lnTo>
                    <a:pt x="174" y="583"/>
                  </a:lnTo>
                  <a:lnTo>
                    <a:pt x="176" y="586"/>
                  </a:lnTo>
                  <a:lnTo>
                    <a:pt x="178" y="590"/>
                  </a:lnTo>
                  <a:lnTo>
                    <a:pt x="178" y="597"/>
                  </a:lnTo>
                  <a:lnTo>
                    <a:pt x="178" y="608"/>
                  </a:lnTo>
                  <a:lnTo>
                    <a:pt x="180" y="618"/>
                  </a:lnTo>
                  <a:lnTo>
                    <a:pt x="185" y="627"/>
                  </a:lnTo>
                  <a:lnTo>
                    <a:pt x="194" y="640"/>
                  </a:lnTo>
                  <a:lnTo>
                    <a:pt x="205" y="656"/>
                  </a:lnTo>
                  <a:lnTo>
                    <a:pt x="224" y="666"/>
                  </a:lnTo>
                  <a:lnTo>
                    <a:pt x="242" y="679"/>
                  </a:lnTo>
                  <a:lnTo>
                    <a:pt x="254" y="679"/>
                  </a:lnTo>
                  <a:lnTo>
                    <a:pt x="265" y="679"/>
                  </a:lnTo>
                  <a:lnTo>
                    <a:pt x="268" y="677"/>
                  </a:lnTo>
                  <a:lnTo>
                    <a:pt x="274" y="677"/>
                  </a:lnTo>
                  <a:lnTo>
                    <a:pt x="278" y="675"/>
                  </a:lnTo>
                  <a:lnTo>
                    <a:pt x="279" y="671"/>
                  </a:lnTo>
                  <a:lnTo>
                    <a:pt x="294" y="666"/>
                  </a:lnTo>
                  <a:lnTo>
                    <a:pt x="309" y="660"/>
                  </a:lnTo>
                  <a:lnTo>
                    <a:pt x="326" y="653"/>
                  </a:lnTo>
                  <a:lnTo>
                    <a:pt x="338" y="647"/>
                  </a:lnTo>
                  <a:lnTo>
                    <a:pt x="351" y="649"/>
                  </a:lnTo>
                  <a:lnTo>
                    <a:pt x="364" y="651"/>
                  </a:lnTo>
                  <a:lnTo>
                    <a:pt x="375" y="651"/>
                  </a:lnTo>
                  <a:lnTo>
                    <a:pt x="388" y="647"/>
                  </a:lnTo>
                  <a:lnTo>
                    <a:pt x="401" y="649"/>
                  </a:lnTo>
                  <a:lnTo>
                    <a:pt x="411" y="653"/>
                  </a:lnTo>
                  <a:lnTo>
                    <a:pt x="418" y="658"/>
                  </a:lnTo>
                  <a:lnTo>
                    <a:pt x="423" y="664"/>
                  </a:lnTo>
                  <a:lnTo>
                    <a:pt x="427" y="669"/>
                  </a:lnTo>
                  <a:lnTo>
                    <a:pt x="431" y="675"/>
                  </a:lnTo>
                  <a:lnTo>
                    <a:pt x="435" y="680"/>
                  </a:lnTo>
                  <a:lnTo>
                    <a:pt x="440" y="682"/>
                  </a:lnTo>
                  <a:lnTo>
                    <a:pt x="449" y="680"/>
                  </a:lnTo>
                  <a:lnTo>
                    <a:pt x="459" y="679"/>
                  </a:lnTo>
                  <a:lnTo>
                    <a:pt x="468" y="679"/>
                  </a:lnTo>
                  <a:lnTo>
                    <a:pt x="477" y="680"/>
                  </a:lnTo>
                  <a:lnTo>
                    <a:pt x="479" y="682"/>
                  </a:lnTo>
                  <a:lnTo>
                    <a:pt x="475" y="662"/>
                  </a:lnTo>
                  <a:lnTo>
                    <a:pt x="475" y="649"/>
                  </a:lnTo>
                  <a:lnTo>
                    <a:pt x="479" y="645"/>
                  </a:lnTo>
                  <a:lnTo>
                    <a:pt x="484" y="642"/>
                  </a:lnTo>
                  <a:lnTo>
                    <a:pt x="492" y="640"/>
                  </a:lnTo>
                  <a:lnTo>
                    <a:pt x="499" y="636"/>
                  </a:lnTo>
                  <a:lnTo>
                    <a:pt x="507" y="634"/>
                  </a:lnTo>
                  <a:lnTo>
                    <a:pt x="514" y="631"/>
                  </a:lnTo>
                  <a:lnTo>
                    <a:pt x="518" y="625"/>
                  </a:lnTo>
                  <a:lnTo>
                    <a:pt x="518" y="618"/>
                  </a:lnTo>
                  <a:lnTo>
                    <a:pt x="503" y="618"/>
                  </a:lnTo>
                  <a:lnTo>
                    <a:pt x="488" y="614"/>
                  </a:lnTo>
                  <a:lnTo>
                    <a:pt x="492" y="601"/>
                  </a:lnTo>
                  <a:lnTo>
                    <a:pt x="495" y="590"/>
                  </a:lnTo>
                  <a:lnTo>
                    <a:pt x="499" y="577"/>
                  </a:lnTo>
                  <a:lnTo>
                    <a:pt x="507" y="568"/>
                  </a:lnTo>
                  <a:lnTo>
                    <a:pt x="507" y="566"/>
                  </a:lnTo>
                  <a:lnTo>
                    <a:pt x="505" y="564"/>
                  </a:lnTo>
                  <a:lnTo>
                    <a:pt x="503" y="562"/>
                  </a:lnTo>
                  <a:lnTo>
                    <a:pt x="501" y="560"/>
                  </a:lnTo>
                  <a:lnTo>
                    <a:pt x="499" y="559"/>
                  </a:lnTo>
                  <a:lnTo>
                    <a:pt x="497" y="555"/>
                  </a:lnTo>
                  <a:lnTo>
                    <a:pt x="499" y="551"/>
                  </a:lnTo>
                  <a:lnTo>
                    <a:pt x="501" y="546"/>
                  </a:lnTo>
                  <a:lnTo>
                    <a:pt x="505" y="542"/>
                  </a:lnTo>
                  <a:lnTo>
                    <a:pt x="508" y="540"/>
                  </a:lnTo>
                  <a:lnTo>
                    <a:pt x="516" y="538"/>
                  </a:lnTo>
                  <a:lnTo>
                    <a:pt x="525" y="538"/>
                  </a:lnTo>
                  <a:lnTo>
                    <a:pt x="534" y="536"/>
                  </a:lnTo>
                  <a:lnTo>
                    <a:pt x="545" y="533"/>
                  </a:lnTo>
                  <a:lnTo>
                    <a:pt x="562" y="522"/>
                  </a:lnTo>
                  <a:lnTo>
                    <a:pt x="579" y="509"/>
                  </a:lnTo>
                  <a:lnTo>
                    <a:pt x="595" y="510"/>
                  </a:lnTo>
                  <a:lnTo>
                    <a:pt x="608" y="512"/>
                  </a:lnTo>
                  <a:lnTo>
                    <a:pt x="617" y="501"/>
                  </a:lnTo>
                  <a:lnTo>
                    <a:pt x="625" y="492"/>
                  </a:lnTo>
                  <a:lnTo>
                    <a:pt x="636" y="486"/>
                  </a:lnTo>
                  <a:lnTo>
                    <a:pt x="643" y="483"/>
                  </a:lnTo>
                  <a:lnTo>
                    <a:pt x="651" y="470"/>
                  </a:lnTo>
                  <a:lnTo>
                    <a:pt x="662" y="457"/>
                  </a:lnTo>
                  <a:lnTo>
                    <a:pt x="673" y="455"/>
                  </a:lnTo>
                  <a:lnTo>
                    <a:pt x="684" y="453"/>
                  </a:lnTo>
                  <a:lnTo>
                    <a:pt x="689" y="444"/>
                  </a:lnTo>
                  <a:lnTo>
                    <a:pt x="697" y="435"/>
                  </a:lnTo>
                  <a:lnTo>
                    <a:pt x="702" y="433"/>
                  </a:lnTo>
                  <a:lnTo>
                    <a:pt x="708" y="435"/>
                  </a:lnTo>
                  <a:lnTo>
                    <a:pt x="713" y="435"/>
                  </a:lnTo>
                  <a:lnTo>
                    <a:pt x="719" y="435"/>
                  </a:lnTo>
                  <a:lnTo>
                    <a:pt x="725" y="429"/>
                  </a:lnTo>
                  <a:lnTo>
                    <a:pt x="732" y="424"/>
                  </a:lnTo>
                  <a:lnTo>
                    <a:pt x="743" y="422"/>
                  </a:lnTo>
                  <a:lnTo>
                    <a:pt x="756" y="416"/>
                  </a:lnTo>
                  <a:lnTo>
                    <a:pt x="762" y="407"/>
                  </a:lnTo>
                  <a:lnTo>
                    <a:pt x="769" y="392"/>
                  </a:lnTo>
                  <a:lnTo>
                    <a:pt x="776" y="377"/>
                  </a:lnTo>
                  <a:lnTo>
                    <a:pt x="778" y="366"/>
                  </a:lnTo>
                  <a:lnTo>
                    <a:pt x="776" y="361"/>
                  </a:lnTo>
                  <a:lnTo>
                    <a:pt x="773" y="355"/>
                  </a:lnTo>
                  <a:lnTo>
                    <a:pt x="767" y="352"/>
                  </a:lnTo>
                  <a:lnTo>
                    <a:pt x="760" y="346"/>
                  </a:lnTo>
                  <a:lnTo>
                    <a:pt x="747" y="339"/>
                  </a:lnTo>
                  <a:lnTo>
                    <a:pt x="737" y="329"/>
                  </a:lnTo>
                  <a:lnTo>
                    <a:pt x="739" y="324"/>
                  </a:lnTo>
                  <a:lnTo>
                    <a:pt x="745" y="318"/>
                  </a:lnTo>
                  <a:lnTo>
                    <a:pt x="750" y="315"/>
                  </a:lnTo>
                  <a:lnTo>
                    <a:pt x="756" y="311"/>
                  </a:lnTo>
                  <a:lnTo>
                    <a:pt x="767" y="304"/>
                  </a:lnTo>
                  <a:lnTo>
                    <a:pt x="778" y="294"/>
                  </a:lnTo>
                  <a:lnTo>
                    <a:pt x="795" y="270"/>
                  </a:lnTo>
                  <a:lnTo>
                    <a:pt x="808" y="250"/>
                  </a:lnTo>
                  <a:lnTo>
                    <a:pt x="832" y="237"/>
                  </a:lnTo>
                  <a:lnTo>
                    <a:pt x="858" y="226"/>
                  </a:lnTo>
                  <a:lnTo>
                    <a:pt x="859" y="217"/>
                  </a:lnTo>
                  <a:lnTo>
                    <a:pt x="859" y="204"/>
                  </a:lnTo>
                  <a:lnTo>
                    <a:pt x="859" y="191"/>
                  </a:lnTo>
                  <a:lnTo>
                    <a:pt x="856" y="182"/>
                  </a:lnTo>
                  <a:lnTo>
                    <a:pt x="852" y="178"/>
                  </a:lnTo>
                  <a:lnTo>
                    <a:pt x="846" y="174"/>
                  </a:lnTo>
                  <a:lnTo>
                    <a:pt x="841" y="170"/>
                  </a:lnTo>
                  <a:lnTo>
                    <a:pt x="835" y="169"/>
                  </a:lnTo>
                  <a:lnTo>
                    <a:pt x="822" y="167"/>
                  </a:lnTo>
                  <a:lnTo>
                    <a:pt x="811" y="165"/>
                  </a:lnTo>
                  <a:lnTo>
                    <a:pt x="804" y="158"/>
                  </a:lnTo>
                  <a:lnTo>
                    <a:pt x="798" y="145"/>
                  </a:lnTo>
                  <a:lnTo>
                    <a:pt x="791" y="128"/>
                  </a:lnTo>
                  <a:lnTo>
                    <a:pt x="784" y="111"/>
                  </a:lnTo>
                  <a:lnTo>
                    <a:pt x="776" y="95"/>
                  </a:lnTo>
                  <a:lnTo>
                    <a:pt x="767" y="76"/>
                  </a:lnTo>
                  <a:lnTo>
                    <a:pt x="763" y="67"/>
                  </a:lnTo>
                  <a:lnTo>
                    <a:pt x="762" y="58"/>
                  </a:lnTo>
                  <a:lnTo>
                    <a:pt x="763" y="49"/>
                  </a:lnTo>
                  <a:lnTo>
                    <a:pt x="767" y="39"/>
                  </a:lnTo>
                  <a:lnTo>
                    <a:pt x="782" y="21"/>
                  </a:lnTo>
                  <a:lnTo>
                    <a:pt x="789" y="12"/>
                  </a:lnTo>
                  <a:lnTo>
                    <a:pt x="784" y="6"/>
                  </a:lnTo>
                  <a:lnTo>
                    <a:pt x="778" y="2"/>
                  </a:lnTo>
                  <a:lnTo>
                    <a:pt x="771" y="0"/>
                  </a:lnTo>
                  <a:lnTo>
                    <a:pt x="765" y="0"/>
                  </a:lnTo>
                  <a:lnTo>
                    <a:pt x="760" y="2"/>
                  </a:lnTo>
                  <a:lnTo>
                    <a:pt x="758" y="4"/>
                  </a:lnTo>
                  <a:lnTo>
                    <a:pt x="756" y="8"/>
                  </a:lnTo>
                  <a:lnTo>
                    <a:pt x="754" y="12"/>
                  </a:lnTo>
                  <a:lnTo>
                    <a:pt x="754" y="19"/>
                  </a:lnTo>
                  <a:lnTo>
                    <a:pt x="752" y="25"/>
                  </a:lnTo>
                  <a:lnTo>
                    <a:pt x="739" y="26"/>
                  </a:lnTo>
                  <a:lnTo>
                    <a:pt x="726" y="28"/>
                  </a:lnTo>
                  <a:lnTo>
                    <a:pt x="728" y="43"/>
                  </a:lnTo>
                  <a:lnTo>
                    <a:pt x="726" y="58"/>
                  </a:lnTo>
                  <a:lnTo>
                    <a:pt x="721" y="65"/>
                  </a:lnTo>
                  <a:lnTo>
                    <a:pt x="715" y="69"/>
                  </a:lnTo>
                  <a:lnTo>
                    <a:pt x="710" y="71"/>
                  </a:lnTo>
                  <a:lnTo>
                    <a:pt x="704" y="73"/>
                  </a:lnTo>
                  <a:lnTo>
                    <a:pt x="697" y="82"/>
                  </a:lnTo>
                  <a:lnTo>
                    <a:pt x="689" y="89"/>
                  </a:lnTo>
                  <a:lnTo>
                    <a:pt x="673" y="85"/>
                  </a:lnTo>
                  <a:lnTo>
                    <a:pt x="662" y="80"/>
                  </a:lnTo>
                  <a:lnTo>
                    <a:pt x="653" y="84"/>
                  </a:lnTo>
                  <a:lnTo>
                    <a:pt x="643" y="85"/>
                  </a:lnTo>
                  <a:lnTo>
                    <a:pt x="638" y="84"/>
                  </a:lnTo>
                  <a:lnTo>
                    <a:pt x="634" y="82"/>
                  </a:lnTo>
                  <a:lnTo>
                    <a:pt x="632" y="78"/>
                  </a:lnTo>
                  <a:lnTo>
                    <a:pt x="630" y="74"/>
                  </a:lnTo>
                  <a:lnTo>
                    <a:pt x="627" y="67"/>
                  </a:lnTo>
                  <a:lnTo>
                    <a:pt x="621" y="63"/>
                  </a:lnTo>
                  <a:lnTo>
                    <a:pt x="616" y="69"/>
                  </a:lnTo>
                  <a:lnTo>
                    <a:pt x="610" y="76"/>
                  </a:lnTo>
                  <a:lnTo>
                    <a:pt x="597" y="69"/>
                  </a:lnTo>
                  <a:lnTo>
                    <a:pt x="582" y="65"/>
                  </a:lnTo>
                  <a:lnTo>
                    <a:pt x="573" y="76"/>
                  </a:lnTo>
                  <a:lnTo>
                    <a:pt x="564" y="91"/>
                  </a:lnTo>
                  <a:lnTo>
                    <a:pt x="545" y="91"/>
                  </a:lnTo>
                  <a:lnTo>
                    <a:pt x="531" y="87"/>
                  </a:lnTo>
                  <a:lnTo>
                    <a:pt x="520" y="91"/>
                  </a:lnTo>
                  <a:lnTo>
                    <a:pt x="510" y="97"/>
                  </a:lnTo>
                  <a:lnTo>
                    <a:pt x="505" y="102"/>
                  </a:lnTo>
                  <a:lnTo>
                    <a:pt x="497" y="108"/>
                  </a:lnTo>
                  <a:lnTo>
                    <a:pt x="488" y="110"/>
                  </a:lnTo>
                  <a:lnTo>
                    <a:pt x="477" y="113"/>
                  </a:lnTo>
                  <a:lnTo>
                    <a:pt x="470" y="115"/>
                  </a:lnTo>
                  <a:lnTo>
                    <a:pt x="464" y="119"/>
                  </a:lnTo>
                  <a:lnTo>
                    <a:pt x="460" y="124"/>
                  </a:lnTo>
                  <a:lnTo>
                    <a:pt x="457" y="132"/>
                  </a:lnTo>
                  <a:lnTo>
                    <a:pt x="457" y="137"/>
                  </a:lnTo>
                  <a:lnTo>
                    <a:pt x="460" y="145"/>
                  </a:lnTo>
                  <a:lnTo>
                    <a:pt x="466" y="148"/>
                  </a:lnTo>
                  <a:lnTo>
                    <a:pt x="471" y="152"/>
                  </a:lnTo>
                  <a:lnTo>
                    <a:pt x="483" y="159"/>
                  </a:lnTo>
                  <a:lnTo>
                    <a:pt x="488" y="165"/>
                  </a:lnTo>
                  <a:lnTo>
                    <a:pt x="483" y="174"/>
                  </a:lnTo>
                  <a:lnTo>
                    <a:pt x="475" y="185"/>
                  </a:lnTo>
                  <a:lnTo>
                    <a:pt x="473" y="195"/>
                  </a:lnTo>
                  <a:lnTo>
                    <a:pt x="471" y="206"/>
                  </a:lnTo>
                  <a:lnTo>
                    <a:pt x="473" y="215"/>
                  </a:lnTo>
                  <a:lnTo>
                    <a:pt x="475" y="226"/>
                  </a:lnTo>
                  <a:lnTo>
                    <a:pt x="479" y="246"/>
                  </a:lnTo>
                  <a:lnTo>
                    <a:pt x="484" y="270"/>
                  </a:lnTo>
                  <a:lnTo>
                    <a:pt x="486" y="259"/>
                  </a:lnTo>
                  <a:lnTo>
                    <a:pt x="492" y="248"/>
                  </a:lnTo>
                  <a:lnTo>
                    <a:pt x="494" y="239"/>
                  </a:lnTo>
                  <a:lnTo>
                    <a:pt x="495" y="230"/>
                  </a:lnTo>
                  <a:lnTo>
                    <a:pt x="495" y="220"/>
                  </a:lnTo>
                  <a:lnTo>
                    <a:pt x="495" y="209"/>
                  </a:lnTo>
                  <a:lnTo>
                    <a:pt x="501" y="198"/>
                  </a:lnTo>
                  <a:lnTo>
                    <a:pt x="508" y="185"/>
                  </a:lnTo>
                  <a:lnTo>
                    <a:pt x="512" y="183"/>
                  </a:lnTo>
                  <a:lnTo>
                    <a:pt x="520" y="185"/>
                  </a:lnTo>
                  <a:lnTo>
                    <a:pt x="525" y="187"/>
                  </a:lnTo>
                  <a:lnTo>
                    <a:pt x="531" y="189"/>
                  </a:lnTo>
                  <a:lnTo>
                    <a:pt x="525" y="198"/>
                  </a:lnTo>
                  <a:lnTo>
                    <a:pt x="521" y="207"/>
                  </a:lnTo>
                  <a:lnTo>
                    <a:pt x="523" y="211"/>
                  </a:lnTo>
                  <a:lnTo>
                    <a:pt x="525" y="217"/>
                  </a:lnTo>
                  <a:lnTo>
                    <a:pt x="529" y="224"/>
                  </a:lnTo>
                  <a:lnTo>
                    <a:pt x="529" y="233"/>
                  </a:lnTo>
                  <a:lnTo>
                    <a:pt x="527" y="254"/>
                  </a:lnTo>
                  <a:lnTo>
                    <a:pt x="525" y="270"/>
                  </a:lnTo>
                  <a:lnTo>
                    <a:pt x="523" y="285"/>
                  </a:lnTo>
                  <a:lnTo>
                    <a:pt x="520" y="298"/>
                  </a:lnTo>
                  <a:lnTo>
                    <a:pt x="523" y="311"/>
                  </a:lnTo>
                  <a:lnTo>
                    <a:pt x="525" y="320"/>
                  </a:lnTo>
                  <a:lnTo>
                    <a:pt x="516" y="352"/>
                  </a:lnTo>
                  <a:lnTo>
                    <a:pt x="508" y="370"/>
                  </a:lnTo>
                  <a:lnTo>
                    <a:pt x="505" y="370"/>
                  </a:lnTo>
                  <a:lnTo>
                    <a:pt x="503" y="368"/>
                  </a:lnTo>
                  <a:lnTo>
                    <a:pt x="503" y="366"/>
                  </a:lnTo>
                  <a:lnTo>
                    <a:pt x="503" y="363"/>
                  </a:lnTo>
                  <a:lnTo>
                    <a:pt x="503" y="359"/>
                  </a:lnTo>
                  <a:lnTo>
                    <a:pt x="503" y="353"/>
                  </a:lnTo>
                  <a:lnTo>
                    <a:pt x="495" y="355"/>
                  </a:lnTo>
                  <a:lnTo>
                    <a:pt x="488" y="359"/>
                  </a:lnTo>
                  <a:lnTo>
                    <a:pt x="484" y="363"/>
                  </a:lnTo>
                  <a:lnTo>
                    <a:pt x="481" y="368"/>
                  </a:lnTo>
                  <a:lnTo>
                    <a:pt x="490" y="381"/>
                  </a:lnTo>
                  <a:lnTo>
                    <a:pt x="499" y="392"/>
                  </a:lnTo>
                  <a:lnTo>
                    <a:pt x="486" y="403"/>
                  </a:lnTo>
                  <a:lnTo>
                    <a:pt x="471" y="413"/>
                  </a:lnTo>
                  <a:lnTo>
                    <a:pt x="468" y="431"/>
                  </a:lnTo>
                  <a:lnTo>
                    <a:pt x="462" y="444"/>
                  </a:lnTo>
                  <a:lnTo>
                    <a:pt x="442" y="453"/>
                  </a:lnTo>
                  <a:lnTo>
                    <a:pt x="427" y="461"/>
                  </a:lnTo>
                  <a:lnTo>
                    <a:pt x="420" y="466"/>
                  </a:lnTo>
                  <a:lnTo>
                    <a:pt x="414" y="470"/>
                  </a:lnTo>
                  <a:lnTo>
                    <a:pt x="411" y="475"/>
                  </a:lnTo>
                  <a:lnTo>
                    <a:pt x="407" y="483"/>
                  </a:lnTo>
                  <a:lnTo>
                    <a:pt x="394" y="485"/>
                  </a:lnTo>
                  <a:lnTo>
                    <a:pt x="383" y="488"/>
                  </a:lnTo>
                  <a:lnTo>
                    <a:pt x="374" y="512"/>
                  </a:lnTo>
                  <a:lnTo>
                    <a:pt x="366" y="540"/>
                  </a:lnTo>
                  <a:lnTo>
                    <a:pt x="350" y="547"/>
                  </a:lnTo>
                  <a:lnTo>
                    <a:pt x="335" y="553"/>
                  </a:lnTo>
                  <a:lnTo>
                    <a:pt x="320" y="560"/>
                  </a:lnTo>
                  <a:lnTo>
                    <a:pt x="303" y="564"/>
                  </a:lnTo>
                  <a:lnTo>
                    <a:pt x="302" y="564"/>
                  </a:lnTo>
                  <a:lnTo>
                    <a:pt x="300" y="564"/>
                  </a:lnTo>
                  <a:lnTo>
                    <a:pt x="296" y="573"/>
                  </a:lnTo>
                  <a:lnTo>
                    <a:pt x="290" y="579"/>
                  </a:lnTo>
                  <a:lnTo>
                    <a:pt x="285" y="579"/>
                  </a:lnTo>
                  <a:lnTo>
                    <a:pt x="279" y="579"/>
                  </a:lnTo>
                  <a:lnTo>
                    <a:pt x="272" y="584"/>
                  </a:lnTo>
                  <a:lnTo>
                    <a:pt x="266" y="588"/>
                  </a:lnTo>
                  <a:lnTo>
                    <a:pt x="263" y="586"/>
                  </a:lnTo>
                  <a:lnTo>
                    <a:pt x="259" y="584"/>
                  </a:lnTo>
                  <a:lnTo>
                    <a:pt x="257" y="581"/>
                  </a:lnTo>
                  <a:lnTo>
                    <a:pt x="255" y="577"/>
                  </a:lnTo>
                  <a:lnTo>
                    <a:pt x="254" y="568"/>
                  </a:lnTo>
                  <a:lnTo>
                    <a:pt x="250" y="562"/>
                  </a:lnTo>
                  <a:lnTo>
                    <a:pt x="239" y="562"/>
                  </a:lnTo>
                  <a:lnTo>
                    <a:pt x="226" y="564"/>
                  </a:lnTo>
                  <a:lnTo>
                    <a:pt x="224" y="560"/>
                  </a:lnTo>
                  <a:lnTo>
                    <a:pt x="222" y="555"/>
                  </a:lnTo>
                  <a:lnTo>
                    <a:pt x="222" y="549"/>
                  </a:lnTo>
                  <a:lnTo>
                    <a:pt x="222" y="544"/>
                  </a:lnTo>
                  <a:lnTo>
                    <a:pt x="220" y="538"/>
                  </a:lnTo>
                  <a:lnTo>
                    <a:pt x="218" y="535"/>
                  </a:lnTo>
                  <a:lnTo>
                    <a:pt x="217" y="533"/>
                  </a:lnTo>
                  <a:lnTo>
                    <a:pt x="213" y="531"/>
                  </a:lnTo>
                  <a:lnTo>
                    <a:pt x="205" y="531"/>
                  </a:lnTo>
                  <a:lnTo>
                    <a:pt x="200" y="527"/>
                  </a:lnTo>
                  <a:lnTo>
                    <a:pt x="196" y="518"/>
                  </a:lnTo>
                  <a:lnTo>
                    <a:pt x="194" y="512"/>
                  </a:lnTo>
                  <a:lnTo>
                    <a:pt x="191" y="507"/>
                  </a:lnTo>
                  <a:lnTo>
                    <a:pt x="187" y="505"/>
                  </a:lnTo>
                  <a:lnTo>
                    <a:pt x="174" y="503"/>
                  </a:lnTo>
                  <a:lnTo>
                    <a:pt x="159" y="505"/>
                  </a:lnTo>
                  <a:lnTo>
                    <a:pt x="154" y="503"/>
                  </a:lnTo>
                  <a:lnTo>
                    <a:pt x="148" y="498"/>
                  </a:lnTo>
                  <a:lnTo>
                    <a:pt x="143" y="488"/>
                  </a:lnTo>
                  <a:lnTo>
                    <a:pt x="137" y="479"/>
                  </a:lnTo>
                  <a:lnTo>
                    <a:pt x="130" y="470"/>
                  </a:lnTo>
                  <a:lnTo>
                    <a:pt x="120" y="462"/>
                  </a:lnTo>
                  <a:lnTo>
                    <a:pt x="111" y="453"/>
                  </a:lnTo>
                  <a:lnTo>
                    <a:pt x="102" y="448"/>
                  </a:lnTo>
                  <a:lnTo>
                    <a:pt x="84" y="424"/>
                  </a:lnTo>
                  <a:lnTo>
                    <a:pt x="74" y="409"/>
                  </a:lnTo>
                  <a:lnTo>
                    <a:pt x="52" y="425"/>
                  </a:lnTo>
                  <a:lnTo>
                    <a:pt x="23" y="451"/>
                  </a:lnTo>
                  <a:lnTo>
                    <a:pt x="19" y="453"/>
                  </a:lnTo>
                  <a:lnTo>
                    <a:pt x="13" y="455"/>
                  </a:lnTo>
                  <a:lnTo>
                    <a:pt x="8" y="455"/>
                  </a:lnTo>
                  <a:lnTo>
                    <a:pt x="2" y="455"/>
                  </a:lnTo>
                  <a:lnTo>
                    <a:pt x="4" y="461"/>
                  </a:lnTo>
                  <a:lnTo>
                    <a:pt x="4" y="468"/>
                  </a:lnTo>
                  <a:lnTo>
                    <a:pt x="2" y="475"/>
                  </a:lnTo>
                  <a:lnTo>
                    <a:pt x="2" y="485"/>
                  </a:lnTo>
                  <a:lnTo>
                    <a:pt x="0" y="492"/>
                  </a:lnTo>
                  <a:lnTo>
                    <a:pt x="0" y="499"/>
                  </a:lnTo>
                  <a:lnTo>
                    <a:pt x="0" y="507"/>
                  </a:lnTo>
                  <a:lnTo>
                    <a:pt x="2" y="51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6" name="Freeform 28"/>
            <p:cNvSpPr>
              <a:spLocks/>
            </p:cNvSpPr>
            <p:nvPr/>
          </p:nvSpPr>
          <p:spPr bwMode="auto">
            <a:xfrm>
              <a:off x="4919076" y="2866559"/>
              <a:ext cx="274984" cy="170482"/>
            </a:xfrm>
            <a:custGeom>
              <a:avLst/>
              <a:gdLst>
                <a:gd name="T0" fmla="*/ 33 w 527"/>
                <a:gd name="T1" fmla="*/ 268 h 335"/>
                <a:gd name="T2" fmla="*/ 48 w 527"/>
                <a:gd name="T3" fmla="*/ 274 h 335"/>
                <a:gd name="T4" fmla="*/ 65 w 527"/>
                <a:gd name="T5" fmla="*/ 274 h 335"/>
                <a:gd name="T6" fmla="*/ 102 w 527"/>
                <a:gd name="T7" fmla="*/ 253 h 335"/>
                <a:gd name="T8" fmla="*/ 120 w 527"/>
                <a:gd name="T9" fmla="*/ 250 h 335"/>
                <a:gd name="T10" fmla="*/ 190 w 527"/>
                <a:gd name="T11" fmla="*/ 229 h 335"/>
                <a:gd name="T12" fmla="*/ 196 w 527"/>
                <a:gd name="T13" fmla="*/ 259 h 335"/>
                <a:gd name="T14" fmla="*/ 237 w 527"/>
                <a:gd name="T15" fmla="*/ 246 h 335"/>
                <a:gd name="T16" fmla="*/ 272 w 527"/>
                <a:gd name="T17" fmla="*/ 253 h 335"/>
                <a:gd name="T18" fmla="*/ 281 w 527"/>
                <a:gd name="T19" fmla="*/ 277 h 335"/>
                <a:gd name="T20" fmla="*/ 314 w 527"/>
                <a:gd name="T21" fmla="*/ 312 h 335"/>
                <a:gd name="T22" fmla="*/ 336 w 527"/>
                <a:gd name="T23" fmla="*/ 309 h 335"/>
                <a:gd name="T24" fmla="*/ 368 w 527"/>
                <a:gd name="T25" fmla="*/ 327 h 335"/>
                <a:gd name="T26" fmla="*/ 386 w 527"/>
                <a:gd name="T27" fmla="*/ 327 h 335"/>
                <a:gd name="T28" fmla="*/ 401 w 527"/>
                <a:gd name="T29" fmla="*/ 331 h 335"/>
                <a:gd name="T30" fmla="*/ 416 w 527"/>
                <a:gd name="T31" fmla="*/ 335 h 335"/>
                <a:gd name="T32" fmla="*/ 451 w 527"/>
                <a:gd name="T33" fmla="*/ 309 h 335"/>
                <a:gd name="T34" fmla="*/ 467 w 527"/>
                <a:gd name="T35" fmla="*/ 294 h 335"/>
                <a:gd name="T36" fmla="*/ 473 w 527"/>
                <a:gd name="T37" fmla="*/ 279 h 335"/>
                <a:gd name="T38" fmla="*/ 456 w 527"/>
                <a:gd name="T39" fmla="*/ 216 h 335"/>
                <a:gd name="T40" fmla="*/ 467 w 527"/>
                <a:gd name="T41" fmla="*/ 187 h 335"/>
                <a:gd name="T42" fmla="*/ 490 w 527"/>
                <a:gd name="T43" fmla="*/ 165 h 335"/>
                <a:gd name="T44" fmla="*/ 506 w 527"/>
                <a:gd name="T45" fmla="*/ 131 h 335"/>
                <a:gd name="T46" fmla="*/ 504 w 527"/>
                <a:gd name="T47" fmla="*/ 111 h 335"/>
                <a:gd name="T48" fmla="*/ 508 w 527"/>
                <a:gd name="T49" fmla="*/ 87 h 335"/>
                <a:gd name="T50" fmla="*/ 512 w 527"/>
                <a:gd name="T51" fmla="*/ 74 h 335"/>
                <a:gd name="T52" fmla="*/ 527 w 527"/>
                <a:gd name="T53" fmla="*/ 70 h 335"/>
                <a:gd name="T54" fmla="*/ 508 w 527"/>
                <a:gd name="T55" fmla="*/ 43 h 335"/>
                <a:gd name="T56" fmla="*/ 495 w 527"/>
                <a:gd name="T57" fmla="*/ 48 h 335"/>
                <a:gd name="T58" fmla="*/ 480 w 527"/>
                <a:gd name="T59" fmla="*/ 50 h 335"/>
                <a:gd name="T60" fmla="*/ 466 w 527"/>
                <a:gd name="T61" fmla="*/ 32 h 335"/>
                <a:gd name="T62" fmla="*/ 453 w 527"/>
                <a:gd name="T63" fmla="*/ 24 h 335"/>
                <a:gd name="T64" fmla="*/ 410 w 527"/>
                <a:gd name="T65" fmla="*/ 0 h 335"/>
                <a:gd name="T66" fmla="*/ 395 w 527"/>
                <a:gd name="T67" fmla="*/ 11 h 335"/>
                <a:gd name="T68" fmla="*/ 373 w 527"/>
                <a:gd name="T69" fmla="*/ 17 h 335"/>
                <a:gd name="T70" fmla="*/ 336 w 527"/>
                <a:gd name="T71" fmla="*/ 15 h 335"/>
                <a:gd name="T72" fmla="*/ 320 w 527"/>
                <a:gd name="T73" fmla="*/ 11 h 335"/>
                <a:gd name="T74" fmla="*/ 309 w 527"/>
                <a:gd name="T75" fmla="*/ 11 h 335"/>
                <a:gd name="T76" fmla="*/ 299 w 527"/>
                <a:gd name="T77" fmla="*/ 57 h 335"/>
                <a:gd name="T78" fmla="*/ 246 w 527"/>
                <a:gd name="T79" fmla="*/ 104 h 335"/>
                <a:gd name="T80" fmla="*/ 207 w 527"/>
                <a:gd name="T81" fmla="*/ 128 h 335"/>
                <a:gd name="T82" fmla="*/ 176 w 527"/>
                <a:gd name="T83" fmla="*/ 139 h 335"/>
                <a:gd name="T84" fmla="*/ 159 w 527"/>
                <a:gd name="T85" fmla="*/ 131 h 335"/>
                <a:gd name="T86" fmla="*/ 122 w 527"/>
                <a:gd name="T87" fmla="*/ 120 h 335"/>
                <a:gd name="T88" fmla="*/ 94 w 527"/>
                <a:gd name="T89" fmla="*/ 94 h 335"/>
                <a:gd name="T90" fmla="*/ 68 w 527"/>
                <a:gd name="T91" fmla="*/ 96 h 335"/>
                <a:gd name="T92" fmla="*/ 61 w 527"/>
                <a:gd name="T93" fmla="*/ 115 h 335"/>
                <a:gd name="T94" fmla="*/ 24 w 527"/>
                <a:gd name="T95" fmla="*/ 126 h 335"/>
                <a:gd name="T96" fmla="*/ 0 w 527"/>
                <a:gd name="T97" fmla="*/ 161 h 335"/>
                <a:gd name="T98" fmla="*/ 17 w 527"/>
                <a:gd name="T99" fmla="*/ 202 h 335"/>
                <a:gd name="T100" fmla="*/ 41 w 527"/>
                <a:gd name="T101" fmla="*/ 235 h 335"/>
                <a:gd name="T102" fmla="*/ 41 w 527"/>
                <a:gd name="T103" fmla="*/ 246 h 335"/>
                <a:gd name="T104" fmla="*/ 26 w 527"/>
                <a:gd name="T105" fmla="*/ 242 h 335"/>
                <a:gd name="T106" fmla="*/ 17 w 527"/>
                <a:gd name="T107" fmla="*/ 240 h 335"/>
                <a:gd name="T108" fmla="*/ 17 w 527"/>
                <a:gd name="T109" fmla="*/ 257 h 33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7"/>
                <a:gd name="T166" fmla="*/ 0 h 335"/>
                <a:gd name="T167" fmla="*/ 527 w 527"/>
                <a:gd name="T168" fmla="*/ 335 h 33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7" h="335">
                  <a:moveTo>
                    <a:pt x="32" y="270"/>
                  </a:moveTo>
                  <a:lnTo>
                    <a:pt x="32" y="268"/>
                  </a:lnTo>
                  <a:lnTo>
                    <a:pt x="33" y="268"/>
                  </a:lnTo>
                  <a:lnTo>
                    <a:pt x="39" y="268"/>
                  </a:lnTo>
                  <a:lnTo>
                    <a:pt x="44" y="272"/>
                  </a:lnTo>
                  <a:lnTo>
                    <a:pt x="48" y="274"/>
                  </a:lnTo>
                  <a:lnTo>
                    <a:pt x="54" y="275"/>
                  </a:lnTo>
                  <a:lnTo>
                    <a:pt x="59" y="275"/>
                  </a:lnTo>
                  <a:lnTo>
                    <a:pt x="65" y="274"/>
                  </a:lnTo>
                  <a:lnTo>
                    <a:pt x="80" y="266"/>
                  </a:lnTo>
                  <a:lnTo>
                    <a:pt x="94" y="257"/>
                  </a:lnTo>
                  <a:lnTo>
                    <a:pt x="102" y="253"/>
                  </a:lnTo>
                  <a:lnTo>
                    <a:pt x="109" y="251"/>
                  </a:lnTo>
                  <a:lnTo>
                    <a:pt x="115" y="250"/>
                  </a:lnTo>
                  <a:lnTo>
                    <a:pt x="120" y="250"/>
                  </a:lnTo>
                  <a:lnTo>
                    <a:pt x="148" y="239"/>
                  </a:lnTo>
                  <a:lnTo>
                    <a:pt x="174" y="229"/>
                  </a:lnTo>
                  <a:lnTo>
                    <a:pt x="190" y="229"/>
                  </a:lnTo>
                  <a:lnTo>
                    <a:pt x="201" y="231"/>
                  </a:lnTo>
                  <a:lnTo>
                    <a:pt x="196" y="248"/>
                  </a:lnTo>
                  <a:lnTo>
                    <a:pt x="196" y="259"/>
                  </a:lnTo>
                  <a:lnTo>
                    <a:pt x="209" y="253"/>
                  </a:lnTo>
                  <a:lnTo>
                    <a:pt x="224" y="250"/>
                  </a:lnTo>
                  <a:lnTo>
                    <a:pt x="237" y="246"/>
                  </a:lnTo>
                  <a:lnTo>
                    <a:pt x="251" y="246"/>
                  </a:lnTo>
                  <a:lnTo>
                    <a:pt x="262" y="250"/>
                  </a:lnTo>
                  <a:lnTo>
                    <a:pt x="272" y="253"/>
                  </a:lnTo>
                  <a:lnTo>
                    <a:pt x="277" y="257"/>
                  </a:lnTo>
                  <a:lnTo>
                    <a:pt x="279" y="264"/>
                  </a:lnTo>
                  <a:lnTo>
                    <a:pt x="281" y="277"/>
                  </a:lnTo>
                  <a:lnTo>
                    <a:pt x="285" y="292"/>
                  </a:lnTo>
                  <a:lnTo>
                    <a:pt x="299" y="303"/>
                  </a:lnTo>
                  <a:lnTo>
                    <a:pt x="314" y="312"/>
                  </a:lnTo>
                  <a:lnTo>
                    <a:pt x="322" y="311"/>
                  </a:lnTo>
                  <a:lnTo>
                    <a:pt x="329" y="311"/>
                  </a:lnTo>
                  <a:lnTo>
                    <a:pt x="336" y="309"/>
                  </a:lnTo>
                  <a:lnTo>
                    <a:pt x="344" y="312"/>
                  </a:lnTo>
                  <a:lnTo>
                    <a:pt x="357" y="322"/>
                  </a:lnTo>
                  <a:lnTo>
                    <a:pt x="368" y="327"/>
                  </a:lnTo>
                  <a:lnTo>
                    <a:pt x="373" y="327"/>
                  </a:lnTo>
                  <a:lnTo>
                    <a:pt x="381" y="327"/>
                  </a:lnTo>
                  <a:lnTo>
                    <a:pt x="386" y="327"/>
                  </a:lnTo>
                  <a:lnTo>
                    <a:pt x="394" y="325"/>
                  </a:lnTo>
                  <a:lnTo>
                    <a:pt x="397" y="327"/>
                  </a:lnTo>
                  <a:lnTo>
                    <a:pt x="401" y="331"/>
                  </a:lnTo>
                  <a:lnTo>
                    <a:pt x="405" y="333"/>
                  </a:lnTo>
                  <a:lnTo>
                    <a:pt x="410" y="335"/>
                  </a:lnTo>
                  <a:lnTo>
                    <a:pt x="416" y="335"/>
                  </a:lnTo>
                  <a:lnTo>
                    <a:pt x="423" y="333"/>
                  </a:lnTo>
                  <a:lnTo>
                    <a:pt x="438" y="322"/>
                  </a:lnTo>
                  <a:lnTo>
                    <a:pt x="451" y="309"/>
                  </a:lnTo>
                  <a:lnTo>
                    <a:pt x="456" y="303"/>
                  </a:lnTo>
                  <a:lnTo>
                    <a:pt x="464" y="298"/>
                  </a:lnTo>
                  <a:lnTo>
                    <a:pt x="467" y="294"/>
                  </a:lnTo>
                  <a:lnTo>
                    <a:pt x="471" y="290"/>
                  </a:lnTo>
                  <a:lnTo>
                    <a:pt x="473" y="285"/>
                  </a:lnTo>
                  <a:lnTo>
                    <a:pt x="473" y="279"/>
                  </a:lnTo>
                  <a:lnTo>
                    <a:pt x="464" y="259"/>
                  </a:lnTo>
                  <a:lnTo>
                    <a:pt x="455" y="233"/>
                  </a:lnTo>
                  <a:lnTo>
                    <a:pt x="456" y="216"/>
                  </a:lnTo>
                  <a:lnTo>
                    <a:pt x="460" y="202"/>
                  </a:lnTo>
                  <a:lnTo>
                    <a:pt x="464" y="194"/>
                  </a:lnTo>
                  <a:lnTo>
                    <a:pt x="467" y="187"/>
                  </a:lnTo>
                  <a:lnTo>
                    <a:pt x="471" y="181"/>
                  </a:lnTo>
                  <a:lnTo>
                    <a:pt x="477" y="176"/>
                  </a:lnTo>
                  <a:lnTo>
                    <a:pt x="490" y="165"/>
                  </a:lnTo>
                  <a:lnTo>
                    <a:pt x="497" y="159"/>
                  </a:lnTo>
                  <a:lnTo>
                    <a:pt x="501" y="152"/>
                  </a:lnTo>
                  <a:lnTo>
                    <a:pt x="506" y="131"/>
                  </a:lnTo>
                  <a:lnTo>
                    <a:pt x="504" y="126"/>
                  </a:lnTo>
                  <a:lnTo>
                    <a:pt x="504" y="118"/>
                  </a:lnTo>
                  <a:lnTo>
                    <a:pt x="504" y="111"/>
                  </a:lnTo>
                  <a:lnTo>
                    <a:pt x="506" y="104"/>
                  </a:lnTo>
                  <a:lnTo>
                    <a:pt x="506" y="94"/>
                  </a:lnTo>
                  <a:lnTo>
                    <a:pt x="508" y="87"/>
                  </a:lnTo>
                  <a:lnTo>
                    <a:pt x="508" y="80"/>
                  </a:lnTo>
                  <a:lnTo>
                    <a:pt x="506" y="74"/>
                  </a:lnTo>
                  <a:lnTo>
                    <a:pt x="512" y="74"/>
                  </a:lnTo>
                  <a:lnTo>
                    <a:pt x="517" y="74"/>
                  </a:lnTo>
                  <a:lnTo>
                    <a:pt x="521" y="72"/>
                  </a:lnTo>
                  <a:lnTo>
                    <a:pt x="527" y="70"/>
                  </a:lnTo>
                  <a:lnTo>
                    <a:pt x="517" y="52"/>
                  </a:lnTo>
                  <a:lnTo>
                    <a:pt x="514" y="43"/>
                  </a:lnTo>
                  <a:lnTo>
                    <a:pt x="508" y="43"/>
                  </a:lnTo>
                  <a:lnTo>
                    <a:pt x="503" y="44"/>
                  </a:lnTo>
                  <a:lnTo>
                    <a:pt x="499" y="46"/>
                  </a:lnTo>
                  <a:lnTo>
                    <a:pt x="495" y="48"/>
                  </a:lnTo>
                  <a:lnTo>
                    <a:pt x="491" y="50"/>
                  </a:lnTo>
                  <a:lnTo>
                    <a:pt x="486" y="50"/>
                  </a:lnTo>
                  <a:lnTo>
                    <a:pt x="480" y="50"/>
                  </a:lnTo>
                  <a:lnTo>
                    <a:pt x="475" y="44"/>
                  </a:lnTo>
                  <a:lnTo>
                    <a:pt x="469" y="37"/>
                  </a:lnTo>
                  <a:lnTo>
                    <a:pt x="466" y="32"/>
                  </a:lnTo>
                  <a:lnTo>
                    <a:pt x="462" y="28"/>
                  </a:lnTo>
                  <a:lnTo>
                    <a:pt x="460" y="26"/>
                  </a:lnTo>
                  <a:lnTo>
                    <a:pt x="453" y="24"/>
                  </a:lnTo>
                  <a:lnTo>
                    <a:pt x="445" y="19"/>
                  </a:lnTo>
                  <a:lnTo>
                    <a:pt x="425" y="6"/>
                  </a:lnTo>
                  <a:lnTo>
                    <a:pt x="410" y="0"/>
                  </a:lnTo>
                  <a:lnTo>
                    <a:pt x="403" y="2"/>
                  </a:lnTo>
                  <a:lnTo>
                    <a:pt x="394" y="6"/>
                  </a:lnTo>
                  <a:lnTo>
                    <a:pt x="395" y="11"/>
                  </a:lnTo>
                  <a:lnTo>
                    <a:pt x="395" y="15"/>
                  </a:lnTo>
                  <a:lnTo>
                    <a:pt x="388" y="17"/>
                  </a:lnTo>
                  <a:lnTo>
                    <a:pt x="373" y="17"/>
                  </a:lnTo>
                  <a:lnTo>
                    <a:pt x="358" y="15"/>
                  </a:lnTo>
                  <a:lnTo>
                    <a:pt x="344" y="15"/>
                  </a:lnTo>
                  <a:lnTo>
                    <a:pt x="336" y="15"/>
                  </a:lnTo>
                  <a:lnTo>
                    <a:pt x="329" y="15"/>
                  </a:lnTo>
                  <a:lnTo>
                    <a:pt x="323" y="13"/>
                  </a:lnTo>
                  <a:lnTo>
                    <a:pt x="320" y="11"/>
                  </a:lnTo>
                  <a:lnTo>
                    <a:pt x="316" y="9"/>
                  </a:lnTo>
                  <a:lnTo>
                    <a:pt x="312" y="9"/>
                  </a:lnTo>
                  <a:lnTo>
                    <a:pt x="309" y="11"/>
                  </a:lnTo>
                  <a:lnTo>
                    <a:pt x="303" y="15"/>
                  </a:lnTo>
                  <a:lnTo>
                    <a:pt x="301" y="35"/>
                  </a:lnTo>
                  <a:lnTo>
                    <a:pt x="299" y="57"/>
                  </a:lnTo>
                  <a:lnTo>
                    <a:pt x="283" y="74"/>
                  </a:lnTo>
                  <a:lnTo>
                    <a:pt x="264" y="89"/>
                  </a:lnTo>
                  <a:lnTo>
                    <a:pt x="246" y="104"/>
                  </a:lnTo>
                  <a:lnTo>
                    <a:pt x="227" y="117"/>
                  </a:lnTo>
                  <a:lnTo>
                    <a:pt x="216" y="122"/>
                  </a:lnTo>
                  <a:lnTo>
                    <a:pt x="207" y="128"/>
                  </a:lnTo>
                  <a:lnTo>
                    <a:pt x="196" y="135"/>
                  </a:lnTo>
                  <a:lnTo>
                    <a:pt x="183" y="139"/>
                  </a:lnTo>
                  <a:lnTo>
                    <a:pt x="176" y="139"/>
                  </a:lnTo>
                  <a:lnTo>
                    <a:pt x="168" y="137"/>
                  </a:lnTo>
                  <a:lnTo>
                    <a:pt x="165" y="135"/>
                  </a:lnTo>
                  <a:lnTo>
                    <a:pt x="159" y="131"/>
                  </a:lnTo>
                  <a:lnTo>
                    <a:pt x="152" y="124"/>
                  </a:lnTo>
                  <a:lnTo>
                    <a:pt x="142" y="117"/>
                  </a:lnTo>
                  <a:lnTo>
                    <a:pt x="122" y="120"/>
                  </a:lnTo>
                  <a:lnTo>
                    <a:pt x="107" y="124"/>
                  </a:lnTo>
                  <a:lnTo>
                    <a:pt x="102" y="107"/>
                  </a:lnTo>
                  <a:lnTo>
                    <a:pt x="94" y="94"/>
                  </a:lnTo>
                  <a:lnTo>
                    <a:pt x="81" y="93"/>
                  </a:lnTo>
                  <a:lnTo>
                    <a:pt x="72" y="93"/>
                  </a:lnTo>
                  <a:lnTo>
                    <a:pt x="68" y="96"/>
                  </a:lnTo>
                  <a:lnTo>
                    <a:pt x="65" y="102"/>
                  </a:lnTo>
                  <a:lnTo>
                    <a:pt x="63" y="107"/>
                  </a:lnTo>
                  <a:lnTo>
                    <a:pt x="61" y="115"/>
                  </a:lnTo>
                  <a:lnTo>
                    <a:pt x="56" y="122"/>
                  </a:lnTo>
                  <a:lnTo>
                    <a:pt x="48" y="128"/>
                  </a:lnTo>
                  <a:lnTo>
                    <a:pt x="24" y="126"/>
                  </a:lnTo>
                  <a:lnTo>
                    <a:pt x="0" y="124"/>
                  </a:lnTo>
                  <a:lnTo>
                    <a:pt x="0" y="144"/>
                  </a:lnTo>
                  <a:lnTo>
                    <a:pt x="0" y="161"/>
                  </a:lnTo>
                  <a:lnTo>
                    <a:pt x="2" y="178"/>
                  </a:lnTo>
                  <a:lnTo>
                    <a:pt x="6" y="189"/>
                  </a:lnTo>
                  <a:lnTo>
                    <a:pt x="17" y="202"/>
                  </a:lnTo>
                  <a:lnTo>
                    <a:pt x="30" y="218"/>
                  </a:lnTo>
                  <a:lnTo>
                    <a:pt x="35" y="227"/>
                  </a:lnTo>
                  <a:lnTo>
                    <a:pt x="41" y="235"/>
                  </a:lnTo>
                  <a:lnTo>
                    <a:pt x="41" y="239"/>
                  </a:lnTo>
                  <a:lnTo>
                    <a:pt x="41" y="242"/>
                  </a:lnTo>
                  <a:lnTo>
                    <a:pt x="41" y="246"/>
                  </a:lnTo>
                  <a:lnTo>
                    <a:pt x="39" y="248"/>
                  </a:lnTo>
                  <a:lnTo>
                    <a:pt x="32" y="246"/>
                  </a:lnTo>
                  <a:lnTo>
                    <a:pt x="26" y="242"/>
                  </a:lnTo>
                  <a:lnTo>
                    <a:pt x="22" y="240"/>
                  </a:lnTo>
                  <a:lnTo>
                    <a:pt x="19" y="239"/>
                  </a:lnTo>
                  <a:lnTo>
                    <a:pt x="17" y="240"/>
                  </a:lnTo>
                  <a:lnTo>
                    <a:pt x="13" y="244"/>
                  </a:lnTo>
                  <a:lnTo>
                    <a:pt x="13" y="251"/>
                  </a:lnTo>
                  <a:lnTo>
                    <a:pt x="17" y="257"/>
                  </a:lnTo>
                  <a:lnTo>
                    <a:pt x="22" y="264"/>
                  </a:lnTo>
                  <a:lnTo>
                    <a:pt x="32" y="27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7" name="Freeform 29"/>
            <p:cNvSpPr>
              <a:spLocks/>
            </p:cNvSpPr>
            <p:nvPr/>
          </p:nvSpPr>
          <p:spPr bwMode="auto">
            <a:xfrm>
              <a:off x="5104312" y="2410582"/>
              <a:ext cx="534837" cy="561319"/>
            </a:xfrm>
            <a:custGeom>
              <a:avLst/>
              <a:gdLst>
                <a:gd name="T0" fmla="*/ 456 w 1025"/>
                <a:gd name="T1" fmla="*/ 28 h 1103"/>
                <a:gd name="T2" fmla="*/ 462 w 1025"/>
                <a:gd name="T3" fmla="*/ 79 h 1103"/>
                <a:gd name="T4" fmla="*/ 458 w 1025"/>
                <a:gd name="T5" fmla="*/ 175 h 1103"/>
                <a:gd name="T6" fmla="*/ 432 w 1025"/>
                <a:gd name="T7" fmla="*/ 246 h 1103"/>
                <a:gd name="T8" fmla="*/ 417 w 1025"/>
                <a:gd name="T9" fmla="*/ 342 h 1103"/>
                <a:gd name="T10" fmla="*/ 415 w 1025"/>
                <a:gd name="T11" fmla="*/ 392 h 1103"/>
                <a:gd name="T12" fmla="*/ 443 w 1025"/>
                <a:gd name="T13" fmla="*/ 434 h 1103"/>
                <a:gd name="T14" fmla="*/ 393 w 1025"/>
                <a:gd name="T15" fmla="*/ 479 h 1103"/>
                <a:gd name="T16" fmla="*/ 353 w 1025"/>
                <a:gd name="T17" fmla="*/ 440 h 1103"/>
                <a:gd name="T18" fmla="*/ 321 w 1025"/>
                <a:gd name="T19" fmla="*/ 467 h 1103"/>
                <a:gd name="T20" fmla="*/ 264 w 1025"/>
                <a:gd name="T21" fmla="*/ 523 h 1103"/>
                <a:gd name="T22" fmla="*/ 258 w 1025"/>
                <a:gd name="T23" fmla="*/ 578 h 1103"/>
                <a:gd name="T24" fmla="*/ 229 w 1025"/>
                <a:gd name="T25" fmla="*/ 560 h 1103"/>
                <a:gd name="T26" fmla="*/ 194 w 1025"/>
                <a:gd name="T27" fmla="*/ 547 h 1103"/>
                <a:gd name="T28" fmla="*/ 153 w 1025"/>
                <a:gd name="T29" fmla="*/ 558 h 1103"/>
                <a:gd name="T30" fmla="*/ 101 w 1025"/>
                <a:gd name="T31" fmla="*/ 632 h 1103"/>
                <a:gd name="T32" fmla="*/ 74 w 1025"/>
                <a:gd name="T33" fmla="*/ 715 h 1103"/>
                <a:gd name="T34" fmla="*/ 52 w 1025"/>
                <a:gd name="T35" fmla="*/ 774 h 1103"/>
                <a:gd name="T36" fmla="*/ 2 w 1025"/>
                <a:gd name="T37" fmla="*/ 844 h 1103"/>
                <a:gd name="T38" fmla="*/ 70 w 1025"/>
                <a:gd name="T39" fmla="*/ 902 h 1103"/>
                <a:gd name="T40" fmla="*/ 131 w 1025"/>
                <a:gd name="T41" fmla="*/ 946 h 1103"/>
                <a:gd name="T42" fmla="*/ 172 w 1025"/>
                <a:gd name="T43" fmla="*/ 966 h 1103"/>
                <a:gd name="T44" fmla="*/ 286 w 1025"/>
                <a:gd name="T45" fmla="*/ 994 h 1103"/>
                <a:gd name="T46" fmla="*/ 345 w 1025"/>
                <a:gd name="T47" fmla="*/ 1033 h 1103"/>
                <a:gd name="T48" fmla="*/ 371 w 1025"/>
                <a:gd name="T49" fmla="*/ 1070 h 1103"/>
                <a:gd name="T50" fmla="*/ 412 w 1025"/>
                <a:gd name="T51" fmla="*/ 1101 h 1103"/>
                <a:gd name="T52" fmla="*/ 436 w 1025"/>
                <a:gd name="T53" fmla="*/ 1079 h 1103"/>
                <a:gd name="T54" fmla="*/ 410 w 1025"/>
                <a:gd name="T55" fmla="*/ 1059 h 1103"/>
                <a:gd name="T56" fmla="*/ 443 w 1025"/>
                <a:gd name="T57" fmla="*/ 1040 h 1103"/>
                <a:gd name="T58" fmla="*/ 473 w 1025"/>
                <a:gd name="T59" fmla="*/ 1037 h 1103"/>
                <a:gd name="T60" fmla="*/ 608 w 1025"/>
                <a:gd name="T61" fmla="*/ 855 h 1103"/>
                <a:gd name="T62" fmla="*/ 622 w 1025"/>
                <a:gd name="T63" fmla="*/ 730 h 1103"/>
                <a:gd name="T64" fmla="*/ 609 w 1025"/>
                <a:gd name="T65" fmla="*/ 660 h 1103"/>
                <a:gd name="T66" fmla="*/ 654 w 1025"/>
                <a:gd name="T67" fmla="*/ 617 h 1103"/>
                <a:gd name="T68" fmla="*/ 759 w 1025"/>
                <a:gd name="T69" fmla="*/ 591 h 1103"/>
                <a:gd name="T70" fmla="*/ 802 w 1025"/>
                <a:gd name="T71" fmla="*/ 599 h 1103"/>
                <a:gd name="T72" fmla="*/ 875 w 1025"/>
                <a:gd name="T73" fmla="*/ 573 h 1103"/>
                <a:gd name="T74" fmla="*/ 909 w 1025"/>
                <a:gd name="T75" fmla="*/ 517 h 1103"/>
                <a:gd name="T76" fmla="*/ 959 w 1025"/>
                <a:gd name="T77" fmla="*/ 543 h 1103"/>
                <a:gd name="T78" fmla="*/ 968 w 1025"/>
                <a:gd name="T79" fmla="*/ 491 h 1103"/>
                <a:gd name="T80" fmla="*/ 966 w 1025"/>
                <a:gd name="T81" fmla="*/ 416 h 1103"/>
                <a:gd name="T82" fmla="*/ 1016 w 1025"/>
                <a:gd name="T83" fmla="*/ 414 h 1103"/>
                <a:gd name="T84" fmla="*/ 1005 w 1025"/>
                <a:gd name="T85" fmla="*/ 355 h 1103"/>
                <a:gd name="T86" fmla="*/ 988 w 1025"/>
                <a:gd name="T87" fmla="*/ 321 h 1103"/>
                <a:gd name="T88" fmla="*/ 957 w 1025"/>
                <a:gd name="T89" fmla="*/ 323 h 1103"/>
                <a:gd name="T90" fmla="*/ 914 w 1025"/>
                <a:gd name="T91" fmla="*/ 301 h 1103"/>
                <a:gd name="T92" fmla="*/ 826 w 1025"/>
                <a:gd name="T93" fmla="*/ 264 h 1103"/>
                <a:gd name="T94" fmla="*/ 792 w 1025"/>
                <a:gd name="T95" fmla="*/ 347 h 1103"/>
                <a:gd name="T96" fmla="*/ 750 w 1025"/>
                <a:gd name="T97" fmla="*/ 423 h 1103"/>
                <a:gd name="T98" fmla="*/ 715 w 1025"/>
                <a:gd name="T99" fmla="*/ 390 h 1103"/>
                <a:gd name="T100" fmla="*/ 639 w 1025"/>
                <a:gd name="T101" fmla="*/ 429 h 1103"/>
                <a:gd name="T102" fmla="*/ 613 w 1025"/>
                <a:gd name="T103" fmla="*/ 362 h 1103"/>
                <a:gd name="T104" fmla="*/ 635 w 1025"/>
                <a:gd name="T105" fmla="*/ 257 h 1103"/>
                <a:gd name="T106" fmla="*/ 574 w 1025"/>
                <a:gd name="T107" fmla="*/ 146 h 1103"/>
                <a:gd name="T108" fmla="*/ 545 w 1025"/>
                <a:gd name="T109" fmla="*/ 57 h 1103"/>
                <a:gd name="T110" fmla="*/ 515 w 1025"/>
                <a:gd name="T111" fmla="*/ 41 h 1103"/>
                <a:gd name="T112" fmla="*/ 504 w 1025"/>
                <a:gd name="T113" fmla="*/ 5 h 11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25"/>
                <a:gd name="T172" fmla="*/ 0 h 1103"/>
                <a:gd name="T173" fmla="*/ 1025 w 1025"/>
                <a:gd name="T174" fmla="*/ 1103 h 11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25" h="1103">
                  <a:moveTo>
                    <a:pt x="504" y="5"/>
                  </a:moveTo>
                  <a:lnTo>
                    <a:pt x="510" y="11"/>
                  </a:lnTo>
                  <a:lnTo>
                    <a:pt x="511" y="18"/>
                  </a:lnTo>
                  <a:lnTo>
                    <a:pt x="511" y="20"/>
                  </a:lnTo>
                  <a:lnTo>
                    <a:pt x="510" y="24"/>
                  </a:lnTo>
                  <a:lnTo>
                    <a:pt x="506" y="28"/>
                  </a:lnTo>
                  <a:lnTo>
                    <a:pt x="502" y="30"/>
                  </a:lnTo>
                  <a:lnTo>
                    <a:pt x="471" y="30"/>
                  </a:lnTo>
                  <a:lnTo>
                    <a:pt x="456" y="28"/>
                  </a:lnTo>
                  <a:lnTo>
                    <a:pt x="458" y="41"/>
                  </a:lnTo>
                  <a:lnTo>
                    <a:pt x="458" y="50"/>
                  </a:lnTo>
                  <a:lnTo>
                    <a:pt x="458" y="55"/>
                  </a:lnTo>
                  <a:lnTo>
                    <a:pt x="456" y="61"/>
                  </a:lnTo>
                  <a:lnTo>
                    <a:pt x="451" y="68"/>
                  </a:lnTo>
                  <a:lnTo>
                    <a:pt x="451" y="79"/>
                  </a:lnTo>
                  <a:lnTo>
                    <a:pt x="454" y="79"/>
                  </a:lnTo>
                  <a:lnTo>
                    <a:pt x="460" y="79"/>
                  </a:lnTo>
                  <a:lnTo>
                    <a:pt x="462" y="79"/>
                  </a:lnTo>
                  <a:lnTo>
                    <a:pt x="463" y="81"/>
                  </a:lnTo>
                  <a:lnTo>
                    <a:pt x="463" y="85"/>
                  </a:lnTo>
                  <a:lnTo>
                    <a:pt x="463" y="92"/>
                  </a:lnTo>
                  <a:lnTo>
                    <a:pt x="456" y="96"/>
                  </a:lnTo>
                  <a:lnTo>
                    <a:pt x="447" y="100"/>
                  </a:lnTo>
                  <a:lnTo>
                    <a:pt x="454" y="120"/>
                  </a:lnTo>
                  <a:lnTo>
                    <a:pt x="467" y="148"/>
                  </a:lnTo>
                  <a:lnTo>
                    <a:pt x="462" y="161"/>
                  </a:lnTo>
                  <a:lnTo>
                    <a:pt x="458" y="175"/>
                  </a:lnTo>
                  <a:lnTo>
                    <a:pt x="460" y="187"/>
                  </a:lnTo>
                  <a:lnTo>
                    <a:pt x="460" y="196"/>
                  </a:lnTo>
                  <a:lnTo>
                    <a:pt x="451" y="205"/>
                  </a:lnTo>
                  <a:lnTo>
                    <a:pt x="439" y="214"/>
                  </a:lnTo>
                  <a:lnTo>
                    <a:pt x="441" y="227"/>
                  </a:lnTo>
                  <a:lnTo>
                    <a:pt x="445" y="233"/>
                  </a:lnTo>
                  <a:lnTo>
                    <a:pt x="443" y="238"/>
                  </a:lnTo>
                  <a:lnTo>
                    <a:pt x="438" y="242"/>
                  </a:lnTo>
                  <a:lnTo>
                    <a:pt x="432" y="246"/>
                  </a:lnTo>
                  <a:lnTo>
                    <a:pt x="425" y="249"/>
                  </a:lnTo>
                  <a:lnTo>
                    <a:pt x="412" y="255"/>
                  </a:lnTo>
                  <a:lnTo>
                    <a:pt x="403" y="262"/>
                  </a:lnTo>
                  <a:lnTo>
                    <a:pt x="403" y="277"/>
                  </a:lnTo>
                  <a:lnTo>
                    <a:pt x="401" y="299"/>
                  </a:lnTo>
                  <a:lnTo>
                    <a:pt x="403" y="316"/>
                  </a:lnTo>
                  <a:lnTo>
                    <a:pt x="406" y="327"/>
                  </a:lnTo>
                  <a:lnTo>
                    <a:pt x="410" y="336"/>
                  </a:lnTo>
                  <a:lnTo>
                    <a:pt x="417" y="342"/>
                  </a:lnTo>
                  <a:lnTo>
                    <a:pt x="430" y="345"/>
                  </a:lnTo>
                  <a:lnTo>
                    <a:pt x="441" y="347"/>
                  </a:lnTo>
                  <a:lnTo>
                    <a:pt x="441" y="358"/>
                  </a:lnTo>
                  <a:lnTo>
                    <a:pt x="438" y="368"/>
                  </a:lnTo>
                  <a:lnTo>
                    <a:pt x="434" y="375"/>
                  </a:lnTo>
                  <a:lnTo>
                    <a:pt x="428" y="381"/>
                  </a:lnTo>
                  <a:lnTo>
                    <a:pt x="423" y="384"/>
                  </a:lnTo>
                  <a:lnTo>
                    <a:pt x="419" y="388"/>
                  </a:lnTo>
                  <a:lnTo>
                    <a:pt x="415" y="392"/>
                  </a:lnTo>
                  <a:lnTo>
                    <a:pt x="414" y="395"/>
                  </a:lnTo>
                  <a:lnTo>
                    <a:pt x="415" y="401"/>
                  </a:lnTo>
                  <a:lnTo>
                    <a:pt x="419" y="405"/>
                  </a:lnTo>
                  <a:lnTo>
                    <a:pt x="423" y="408"/>
                  </a:lnTo>
                  <a:lnTo>
                    <a:pt x="428" y="410"/>
                  </a:lnTo>
                  <a:lnTo>
                    <a:pt x="434" y="414"/>
                  </a:lnTo>
                  <a:lnTo>
                    <a:pt x="439" y="418"/>
                  </a:lnTo>
                  <a:lnTo>
                    <a:pt x="441" y="425"/>
                  </a:lnTo>
                  <a:lnTo>
                    <a:pt x="443" y="434"/>
                  </a:lnTo>
                  <a:lnTo>
                    <a:pt x="441" y="440"/>
                  </a:lnTo>
                  <a:lnTo>
                    <a:pt x="436" y="445"/>
                  </a:lnTo>
                  <a:lnTo>
                    <a:pt x="430" y="449"/>
                  </a:lnTo>
                  <a:lnTo>
                    <a:pt x="423" y="455"/>
                  </a:lnTo>
                  <a:lnTo>
                    <a:pt x="419" y="469"/>
                  </a:lnTo>
                  <a:lnTo>
                    <a:pt x="415" y="482"/>
                  </a:lnTo>
                  <a:lnTo>
                    <a:pt x="410" y="484"/>
                  </a:lnTo>
                  <a:lnTo>
                    <a:pt x="399" y="482"/>
                  </a:lnTo>
                  <a:lnTo>
                    <a:pt x="393" y="479"/>
                  </a:lnTo>
                  <a:lnTo>
                    <a:pt x="390" y="477"/>
                  </a:lnTo>
                  <a:lnTo>
                    <a:pt x="386" y="471"/>
                  </a:lnTo>
                  <a:lnTo>
                    <a:pt x="384" y="467"/>
                  </a:lnTo>
                  <a:lnTo>
                    <a:pt x="378" y="464"/>
                  </a:lnTo>
                  <a:lnTo>
                    <a:pt x="373" y="462"/>
                  </a:lnTo>
                  <a:lnTo>
                    <a:pt x="366" y="464"/>
                  </a:lnTo>
                  <a:lnTo>
                    <a:pt x="362" y="464"/>
                  </a:lnTo>
                  <a:lnTo>
                    <a:pt x="358" y="455"/>
                  </a:lnTo>
                  <a:lnTo>
                    <a:pt x="353" y="440"/>
                  </a:lnTo>
                  <a:lnTo>
                    <a:pt x="349" y="434"/>
                  </a:lnTo>
                  <a:lnTo>
                    <a:pt x="345" y="432"/>
                  </a:lnTo>
                  <a:lnTo>
                    <a:pt x="340" y="434"/>
                  </a:lnTo>
                  <a:lnTo>
                    <a:pt x="334" y="443"/>
                  </a:lnTo>
                  <a:lnTo>
                    <a:pt x="327" y="445"/>
                  </a:lnTo>
                  <a:lnTo>
                    <a:pt x="321" y="451"/>
                  </a:lnTo>
                  <a:lnTo>
                    <a:pt x="319" y="455"/>
                  </a:lnTo>
                  <a:lnTo>
                    <a:pt x="319" y="462"/>
                  </a:lnTo>
                  <a:lnTo>
                    <a:pt x="321" y="467"/>
                  </a:lnTo>
                  <a:lnTo>
                    <a:pt x="321" y="473"/>
                  </a:lnTo>
                  <a:lnTo>
                    <a:pt x="319" y="479"/>
                  </a:lnTo>
                  <a:lnTo>
                    <a:pt x="318" y="484"/>
                  </a:lnTo>
                  <a:lnTo>
                    <a:pt x="299" y="491"/>
                  </a:lnTo>
                  <a:lnTo>
                    <a:pt x="282" y="499"/>
                  </a:lnTo>
                  <a:lnTo>
                    <a:pt x="279" y="514"/>
                  </a:lnTo>
                  <a:lnTo>
                    <a:pt x="279" y="525"/>
                  </a:lnTo>
                  <a:lnTo>
                    <a:pt x="269" y="523"/>
                  </a:lnTo>
                  <a:lnTo>
                    <a:pt x="264" y="523"/>
                  </a:lnTo>
                  <a:lnTo>
                    <a:pt x="258" y="525"/>
                  </a:lnTo>
                  <a:lnTo>
                    <a:pt x="255" y="528"/>
                  </a:lnTo>
                  <a:lnTo>
                    <a:pt x="253" y="532"/>
                  </a:lnTo>
                  <a:lnTo>
                    <a:pt x="253" y="538"/>
                  </a:lnTo>
                  <a:lnTo>
                    <a:pt x="253" y="543"/>
                  </a:lnTo>
                  <a:lnTo>
                    <a:pt x="253" y="549"/>
                  </a:lnTo>
                  <a:lnTo>
                    <a:pt x="257" y="562"/>
                  </a:lnTo>
                  <a:lnTo>
                    <a:pt x="258" y="573"/>
                  </a:lnTo>
                  <a:lnTo>
                    <a:pt x="258" y="578"/>
                  </a:lnTo>
                  <a:lnTo>
                    <a:pt x="260" y="582"/>
                  </a:lnTo>
                  <a:lnTo>
                    <a:pt x="258" y="586"/>
                  </a:lnTo>
                  <a:lnTo>
                    <a:pt x="257" y="588"/>
                  </a:lnTo>
                  <a:lnTo>
                    <a:pt x="253" y="588"/>
                  </a:lnTo>
                  <a:lnTo>
                    <a:pt x="247" y="586"/>
                  </a:lnTo>
                  <a:lnTo>
                    <a:pt x="244" y="584"/>
                  </a:lnTo>
                  <a:lnTo>
                    <a:pt x="240" y="580"/>
                  </a:lnTo>
                  <a:lnTo>
                    <a:pt x="234" y="571"/>
                  </a:lnTo>
                  <a:lnTo>
                    <a:pt x="229" y="560"/>
                  </a:lnTo>
                  <a:lnTo>
                    <a:pt x="223" y="551"/>
                  </a:lnTo>
                  <a:lnTo>
                    <a:pt x="218" y="541"/>
                  </a:lnTo>
                  <a:lnTo>
                    <a:pt x="216" y="538"/>
                  </a:lnTo>
                  <a:lnTo>
                    <a:pt x="212" y="536"/>
                  </a:lnTo>
                  <a:lnTo>
                    <a:pt x="210" y="536"/>
                  </a:lnTo>
                  <a:lnTo>
                    <a:pt x="207" y="536"/>
                  </a:lnTo>
                  <a:lnTo>
                    <a:pt x="201" y="538"/>
                  </a:lnTo>
                  <a:lnTo>
                    <a:pt x="197" y="541"/>
                  </a:lnTo>
                  <a:lnTo>
                    <a:pt x="194" y="547"/>
                  </a:lnTo>
                  <a:lnTo>
                    <a:pt x="192" y="552"/>
                  </a:lnTo>
                  <a:lnTo>
                    <a:pt x="188" y="560"/>
                  </a:lnTo>
                  <a:lnTo>
                    <a:pt x="185" y="565"/>
                  </a:lnTo>
                  <a:lnTo>
                    <a:pt x="179" y="569"/>
                  </a:lnTo>
                  <a:lnTo>
                    <a:pt x="170" y="571"/>
                  </a:lnTo>
                  <a:lnTo>
                    <a:pt x="162" y="569"/>
                  </a:lnTo>
                  <a:lnTo>
                    <a:pt x="157" y="565"/>
                  </a:lnTo>
                  <a:lnTo>
                    <a:pt x="155" y="560"/>
                  </a:lnTo>
                  <a:lnTo>
                    <a:pt x="153" y="558"/>
                  </a:lnTo>
                  <a:lnTo>
                    <a:pt x="138" y="556"/>
                  </a:lnTo>
                  <a:lnTo>
                    <a:pt x="120" y="558"/>
                  </a:lnTo>
                  <a:lnTo>
                    <a:pt x="111" y="580"/>
                  </a:lnTo>
                  <a:lnTo>
                    <a:pt x="101" y="599"/>
                  </a:lnTo>
                  <a:lnTo>
                    <a:pt x="92" y="612"/>
                  </a:lnTo>
                  <a:lnTo>
                    <a:pt x="87" y="619"/>
                  </a:lnTo>
                  <a:lnTo>
                    <a:pt x="94" y="625"/>
                  </a:lnTo>
                  <a:lnTo>
                    <a:pt x="103" y="628"/>
                  </a:lnTo>
                  <a:lnTo>
                    <a:pt x="101" y="632"/>
                  </a:lnTo>
                  <a:lnTo>
                    <a:pt x="98" y="636"/>
                  </a:lnTo>
                  <a:lnTo>
                    <a:pt x="105" y="639"/>
                  </a:lnTo>
                  <a:lnTo>
                    <a:pt x="112" y="647"/>
                  </a:lnTo>
                  <a:lnTo>
                    <a:pt x="112" y="665"/>
                  </a:lnTo>
                  <a:lnTo>
                    <a:pt x="111" y="678"/>
                  </a:lnTo>
                  <a:lnTo>
                    <a:pt x="103" y="687"/>
                  </a:lnTo>
                  <a:lnTo>
                    <a:pt x="90" y="698"/>
                  </a:lnTo>
                  <a:lnTo>
                    <a:pt x="81" y="708"/>
                  </a:lnTo>
                  <a:lnTo>
                    <a:pt x="74" y="715"/>
                  </a:lnTo>
                  <a:lnTo>
                    <a:pt x="70" y="722"/>
                  </a:lnTo>
                  <a:lnTo>
                    <a:pt x="68" y="728"/>
                  </a:lnTo>
                  <a:lnTo>
                    <a:pt x="64" y="741"/>
                  </a:lnTo>
                  <a:lnTo>
                    <a:pt x="66" y="758"/>
                  </a:lnTo>
                  <a:lnTo>
                    <a:pt x="61" y="758"/>
                  </a:lnTo>
                  <a:lnTo>
                    <a:pt x="59" y="759"/>
                  </a:lnTo>
                  <a:lnTo>
                    <a:pt x="55" y="763"/>
                  </a:lnTo>
                  <a:lnTo>
                    <a:pt x="53" y="765"/>
                  </a:lnTo>
                  <a:lnTo>
                    <a:pt x="52" y="774"/>
                  </a:lnTo>
                  <a:lnTo>
                    <a:pt x="52" y="782"/>
                  </a:lnTo>
                  <a:lnTo>
                    <a:pt x="50" y="791"/>
                  </a:lnTo>
                  <a:lnTo>
                    <a:pt x="50" y="800"/>
                  </a:lnTo>
                  <a:lnTo>
                    <a:pt x="48" y="809"/>
                  </a:lnTo>
                  <a:lnTo>
                    <a:pt x="44" y="815"/>
                  </a:lnTo>
                  <a:lnTo>
                    <a:pt x="24" y="820"/>
                  </a:lnTo>
                  <a:lnTo>
                    <a:pt x="2" y="830"/>
                  </a:lnTo>
                  <a:lnTo>
                    <a:pt x="0" y="837"/>
                  </a:lnTo>
                  <a:lnTo>
                    <a:pt x="2" y="844"/>
                  </a:lnTo>
                  <a:lnTo>
                    <a:pt x="5" y="854"/>
                  </a:lnTo>
                  <a:lnTo>
                    <a:pt x="11" y="863"/>
                  </a:lnTo>
                  <a:lnTo>
                    <a:pt x="26" y="883"/>
                  </a:lnTo>
                  <a:lnTo>
                    <a:pt x="39" y="902"/>
                  </a:lnTo>
                  <a:lnTo>
                    <a:pt x="48" y="898"/>
                  </a:lnTo>
                  <a:lnTo>
                    <a:pt x="55" y="896"/>
                  </a:lnTo>
                  <a:lnTo>
                    <a:pt x="70" y="902"/>
                  </a:lnTo>
                  <a:lnTo>
                    <a:pt x="90" y="915"/>
                  </a:lnTo>
                  <a:lnTo>
                    <a:pt x="98" y="920"/>
                  </a:lnTo>
                  <a:lnTo>
                    <a:pt x="105" y="922"/>
                  </a:lnTo>
                  <a:lnTo>
                    <a:pt x="107" y="924"/>
                  </a:lnTo>
                  <a:lnTo>
                    <a:pt x="111" y="928"/>
                  </a:lnTo>
                  <a:lnTo>
                    <a:pt x="114" y="933"/>
                  </a:lnTo>
                  <a:lnTo>
                    <a:pt x="120" y="940"/>
                  </a:lnTo>
                  <a:lnTo>
                    <a:pt x="125" y="946"/>
                  </a:lnTo>
                  <a:lnTo>
                    <a:pt x="131" y="946"/>
                  </a:lnTo>
                  <a:lnTo>
                    <a:pt x="136" y="946"/>
                  </a:lnTo>
                  <a:lnTo>
                    <a:pt x="140" y="944"/>
                  </a:lnTo>
                  <a:lnTo>
                    <a:pt x="144" y="942"/>
                  </a:lnTo>
                  <a:lnTo>
                    <a:pt x="148" y="940"/>
                  </a:lnTo>
                  <a:lnTo>
                    <a:pt x="153" y="939"/>
                  </a:lnTo>
                  <a:lnTo>
                    <a:pt x="159" y="939"/>
                  </a:lnTo>
                  <a:lnTo>
                    <a:pt x="162" y="948"/>
                  </a:lnTo>
                  <a:lnTo>
                    <a:pt x="172" y="966"/>
                  </a:lnTo>
                  <a:lnTo>
                    <a:pt x="201" y="940"/>
                  </a:lnTo>
                  <a:lnTo>
                    <a:pt x="223" y="924"/>
                  </a:lnTo>
                  <a:lnTo>
                    <a:pt x="233" y="939"/>
                  </a:lnTo>
                  <a:lnTo>
                    <a:pt x="251" y="963"/>
                  </a:lnTo>
                  <a:lnTo>
                    <a:pt x="260" y="968"/>
                  </a:lnTo>
                  <a:lnTo>
                    <a:pt x="269" y="977"/>
                  </a:lnTo>
                  <a:lnTo>
                    <a:pt x="279" y="985"/>
                  </a:lnTo>
                  <a:lnTo>
                    <a:pt x="286" y="994"/>
                  </a:lnTo>
                  <a:lnTo>
                    <a:pt x="292" y="1003"/>
                  </a:lnTo>
                  <a:lnTo>
                    <a:pt x="297" y="1013"/>
                  </a:lnTo>
                  <a:lnTo>
                    <a:pt x="303" y="1018"/>
                  </a:lnTo>
                  <a:lnTo>
                    <a:pt x="308" y="1020"/>
                  </a:lnTo>
                  <a:lnTo>
                    <a:pt x="323" y="1018"/>
                  </a:lnTo>
                  <a:lnTo>
                    <a:pt x="336" y="1020"/>
                  </a:lnTo>
                  <a:lnTo>
                    <a:pt x="340" y="1022"/>
                  </a:lnTo>
                  <a:lnTo>
                    <a:pt x="343" y="1027"/>
                  </a:lnTo>
                  <a:lnTo>
                    <a:pt x="345" y="1033"/>
                  </a:lnTo>
                  <a:lnTo>
                    <a:pt x="349" y="1042"/>
                  </a:lnTo>
                  <a:lnTo>
                    <a:pt x="354" y="1046"/>
                  </a:lnTo>
                  <a:lnTo>
                    <a:pt x="362" y="1046"/>
                  </a:lnTo>
                  <a:lnTo>
                    <a:pt x="366" y="1048"/>
                  </a:lnTo>
                  <a:lnTo>
                    <a:pt x="367" y="1050"/>
                  </a:lnTo>
                  <a:lnTo>
                    <a:pt x="369" y="1053"/>
                  </a:lnTo>
                  <a:lnTo>
                    <a:pt x="371" y="1059"/>
                  </a:lnTo>
                  <a:lnTo>
                    <a:pt x="371" y="1064"/>
                  </a:lnTo>
                  <a:lnTo>
                    <a:pt x="371" y="1070"/>
                  </a:lnTo>
                  <a:lnTo>
                    <a:pt x="373" y="1075"/>
                  </a:lnTo>
                  <a:lnTo>
                    <a:pt x="375" y="1079"/>
                  </a:lnTo>
                  <a:lnTo>
                    <a:pt x="388" y="1077"/>
                  </a:lnTo>
                  <a:lnTo>
                    <a:pt x="399" y="1077"/>
                  </a:lnTo>
                  <a:lnTo>
                    <a:pt x="403" y="1083"/>
                  </a:lnTo>
                  <a:lnTo>
                    <a:pt x="404" y="1092"/>
                  </a:lnTo>
                  <a:lnTo>
                    <a:pt x="406" y="1096"/>
                  </a:lnTo>
                  <a:lnTo>
                    <a:pt x="408" y="1099"/>
                  </a:lnTo>
                  <a:lnTo>
                    <a:pt x="412" y="1101"/>
                  </a:lnTo>
                  <a:lnTo>
                    <a:pt x="415" y="1103"/>
                  </a:lnTo>
                  <a:lnTo>
                    <a:pt x="421" y="1099"/>
                  </a:lnTo>
                  <a:lnTo>
                    <a:pt x="428" y="1094"/>
                  </a:lnTo>
                  <a:lnTo>
                    <a:pt x="434" y="1094"/>
                  </a:lnTo>
                  <a:lnTo>
                    <a:pt x="439" y="1094"/>
                  </a:lnTo>
                  <a:lnTo>
                    <a:pt x="445" y="1088"/>
                  </a:lnTo>
                  <a:lnTo>
                    <a:pt x="449" y="1079"/>
                  </a:lnTo>
                  <a:lnTo>
                    <a:pt x="436" y="1079"/>
                  </a:lnTo>
                  <a:lnTo>
                    <a:pt x="421" y="1077"/>
                  </a:lnTo>
                  <a:lnTo>
                    <a:pt x="415" y="1075"/>
                  </a:lnTo>
                  <a:lnTo>
                    <a:pt x="410" y="1074"/>
                  </a:lnTo>
                  <a:lnTo>
                    <a:pt x="406" y="1072"/>
                  </a:lnTo>
                  <a:lnTo>
                    <a:pt x="404" y="1066"/>
                  </a:lnTo>
                  <a:lnTo>
                    <a:pt x="404" y="1064"/>
                  </a:lnTo>
                  <a:lnTo>
                    <a:pt x="406" y="1062"/>
                  </a:lnTo>
                  <a:lnTo>
                    <a:pt x="408" y="1061"/>
                  </a:lnTo>
                  <a:lnTo>
                    <a:pt x="410" y="1059"/>
                  </a:lnTo>
                  <a:lnTo>
                    <a:pt x="417" y="1057"/>
                  </a:lnTo>
                  <a:lnTo>
                    <a:pt x="427" y="1055"/>
                  </a:lnTo>
                  <a:lnTo>
                    <a:pt x="436" y="1055"/>
                  </a:lnTo>
                  <a:lnTo>
                    <a:pt x="443" y="1053"/>
                  </a:lnTo>
                  <a:lnTo>
                    <a:pt x="445" y="1051"/>
                  </a:lnTo>
                  <a:lnTo>
                    <a:pt x="447" y="1050"/>
                  </a:lnTo>
                  <a:lnTo>
                    <a:pt x="449" y="1048"/>
                  </a:lnTo>
                  <a:lnTo>
                    <a:pt x="449" y="1046"/>
                  </a:lnTo>
                  <a:lnTo>
                    <a:pt x="443" y="1040"/>
                  </a:lnTo>
                  <a:lnTo>
                    <a:pt x="439" y="1035"/>
                  </a:lnTo>
                  <a:lnTo>
                    <a:pt x="438" y="1031"/>
                  </a:lnTo>
                  <a:lnTo>
                    <a:pt x="438" y="1025"/>
                  </a:lnTo>
                  <a:lnTo>
                    <a:pt x="445" y="1027"/>
                  </a:lnTo>
                  <a:lnTo>
                    <a:pt x="454" y="1033"/>
                  </a:lnTo>
                  <a:lnTo>
                    <a:pt x="458" y="1037"/>
                  </a:lnTo>
                  <a:lnTo>
                    <a:pt x="463" y="1038"/>
                  </a:lnTo>
                  <a:lnTo>
                    <a:pt x="469" y="1038"/>
                  </a:lnTo>
                  <a:lnTo>
                    <a:pt x="473" y="1037"/>
                  </a:lnTo>
                  <a:lnTo>
                    <a:pt x="487" y="1022"/>
                  </a:lnTo>
                  <a:lnTo>
                    <a:pt x="502" y="1000"/>
                  </a:lnTo>
                  <a:lnTo>
                    <a:pt x="523" y="985"/>
                  </a:lnTo>
                  <a:lnTo>
                    <a:pt x="539" y="970"/>
                  </a:lnTo>
                  <a:lnTo>
                    <a:pt x="548" y="950"/>
                  </a:lnTo>
                  <a:lnTo>
                    <a:pt x="556" y="924"/>
                  </a:lnTo>
                  <a:lnTo>
                    <a:pt x="578" y="898"/>
                  </a:lnTo>
                  <a:lnTo>
                    <a:pt x="600" y="872"/>
                  </a:lnTo>
                  <a:lnTo>
                    <a:pt x="608" y="855"/>
                  </a:lnTo>
                  <a:lnTo>
                    <a:pt x="617" y="839"/>
                  </a:lnTo>
                  <a:lnTo>
                    <a:pt x="624" y="822"/>
                  </a:lnTo>
                  <a:lnTo>
                    <a:pt x="632" y="802"/>
                  </a:lnTo>
                  <a:lnTo>
                    <a:pt x="632" y="793"/>
                  </a:lnTo>
                  <a:lnTo>
                    <a:pt x="633" y="785"/>
                  </a:lnTo>
                  <a:lnTo>
                    <a:pt x="628" y="761"/>
                  </a:lnTo>
                  <a:lnTo>
                    <a:pt x="624" y="741"/>
                  </a:lnTo>
                  <a:lnTo>
                    <a:pt x="622" y="730"/>
                  </a:lnTo>
                  <a:lnTo>
                    <a:pt x="620" y="721"/>
                  </a:lnTo>
                  <a:lnTo>
                    <a:pt x="622" y="710"/>
                  </a:lnTo>
                  <a:lnTo>
                    <a:pt x="624" y="700"/>
                  </a:lnTo>
                  <a:lnTo>
                    <a:pt x="632" y="689"/>
                  </a:lnTo>
                  <a:lnTo>
                    <a:pt x="637" y="680"/>
                  </a:lnTo>
                  <a:lnTo>
                    <a:pt x="632" y="674"/>
                  </a:lnTo>
                  <a:lnTo>
                    <a:pt x="620" y="667"/>
                  </a:lnTo>
                  <a:lnTo>
                    <a:pt x="615" y="663"/>
                  </a:lnTo>
                  <a:lnTo>
                    <a:pt x="609" y="660"/>
                  </a:lnTo>
                  <a:lnTo>
                    <a:pt x="606" y="652"/>
                  </a:lnTo>
                  <a:lnTo>
                    <a:pt x="606" y="647"/>
                  </a:lnTo>
                  <a:lnTo>
                    <a:pt x="609" y="639"/>
                  </a:lnTo>
                  <a:lnTo>
                    <a:pt x="613" y="634"/>
                  </a:lnTo>
                  <a:lnTo>
                    <a:pt x="619" y="630"/>
                  </a:lnTo>
                  <a:lnTo>
                    <a:pt x="626" y="628"/>
                  </a:lnTo>
                  <a:lnTo>
                    <a:pt x="637" y="625"/>
                  </a:lnTo>
                  <a:lnTo>
                    <a:pt x="646" y="623"/>
                  </a:lnTo>
                  <a:lnTo>
                    <a:pt x="654" y="617"/>
                  </a:lnTo>
                  <a:lnTo>
                    <a:pt x="659" y="612"/>
                  </a:lnTo>
                  <a:lnTo>
                    <a:pt x="669" y="606"/>
                  </a:lnTo>
                  <a:lnTo>
                    <a:pt x="680" y="602"/>
                  </a:lnTo>
                  <a:lnTo>
                    <a:pt x="694" y="606"/>
                  </a:lnTo>
                  <a:lnTo>
                    <a:pt x="713" y="606"/>
                  </a:lnTo>
                  <a:lnTo>
                    <a:pt x="722" y="591"/>
                  </a:lnTo>
                  <a:lnTo>
                    <a:pt x="731" y="580"/>
                  </a:lnTo>
                  <a:lnTo>
                    <a:pt x="746" y="584"/>
                  </a:lnTo>
                  <a:lnTo>
                    <a:pt x="759" y="591"/>
                  </a:lnTo>
                  <a:lnTo>
                    <a:pt x="765" y="584"/>
                  </a:lnTo>
                  <a:lnTo>
                    <a:pt x="770" y="578"/>
                  </a:lnTo>
                  <a:lnTo>
                    <a:pt x="776" y="582"/>
                  </a:lnTo>
                  <a:lnTo>
                    <a:pt x="779" y="589"/>
                  </a:lnTo>
                  <a:lnTo>
                    <a:pt x="781" y="593"/>
                  </a:lnTo>
                  <a:lnTo>
                    <a:pt x="783" y="597"/>
                  </a:lnTo>
                  <a:lnTo>
                    <a:pt x="787" y="599"/>
                  </a:lnTo>
                  <a:lnTo>
                    <a:pt x="792" y="600"/>
                  </a:lnTo>
                  <a:lnTo>
                    <a:pt x="802" y="599"/>
                  </a:lnTo>
                  <a:lnTo>
                    <a:pt x="811" y="595"/>
                  </a:lnTo>
                  <a:lnTo>
                    <a:pt x="822" y="600"/>
                  </a:lnTo>
                  <a:lnTo>
                    <a:pt x="838" y="604"/>
                  </a:lnTo>
                  <a:lnTo>
                    <a:pt x="846" y="597"/>
                  </a:lnTo>
                  <a:lnTo>
                    <a:pt x="853" y="588"/>
                  </a:lnTo>
                  <a:lnTo>
                    <a:pt x="859" y="586"/>
                  </a:lnTo>
                  <a:lnTo>
                    <a:pt x="864" y="584"/>
                  </a:lnTo>
                  <a:lnTo>
                    <a:pt x="870" y="580"/>
                  </a:lnTo>
                  <a:lnTo>
                    <a:pt x="875" y="573"/>
                  </a:lnTo>
                  <a:lnTo>
                    <a:pt x="877" y="558"/>
                  </a:lnTo>
                  <a:lnTo>
                    <a:pt x="875" y="543"/>
                  </a:lnTo>
                  <a:lnTo>
                    <a:pt x="888" y="541"/>
                  </a:lnTo>
                  <a:lnTo>
                    <a:pt x="901" y="540"/>
                  </a:lnTo>
                  <a:lnTo>
                    <a:pt x="903" y="534"/>
                  </a:lnTo>
                  <a:lnTo>
                    <a:pt x="903" y="527"/>
                  </a:lnTo>
                  <a:lnTo>
                    <a:pt x="905" y="523"/>
                  </a:lnTo>
                  <a:lnTo>
                    <a:pt x="907" y="519"/>
                  </a:lnTo>
                  <a:lnTo>
                    <a:pt x="909" y="517"/>
                  </a:lnTo>
                  <a:lnTo>
                    <a:pt x="914" y="515"/>
                  </a:lnTo>
                  <a:lnTo>
                    <a:pt x="920" y="515"/>
                  </a:lnTo>
                  <a:lnTo>
                    <a:pt x="927" y="517"/>
                  </a:lnTo>
                  <a:lnTo>
                    <a:pt x="933" y="521"/>
                  </a:lnTo>
                  <a:lnTo>
                    <a:pt x="938" y="527"/>
                  </a:lnTo>
                  <a:lnTo>
                    <a:pt x="931" y="536"/>
                  </a:lnTo>
                  <a:lnTo>
                    <a:pt x="916" y="554"/>
                  </a:lnTo>
                  <a:lnTo>
                    <a:pt x="935" y="551"/>
                  </a:lnTo>
                  <a:lnTo>
                    <a:pt x="959" y="543"/>
                  </a:lnTo>
                  <a:lnTo>
                    <a:pt x="981" y="534"/>
                  </a:lnTo>
                  <a:lnTo>
                    <a:pt x="992" y="528"/>
                  </a:lnTo>
                  <a:lnTo>
                    <a:pt x="990" y="515"/>
                  </a:lnTo>
                  <a:lnTo>
                    <a:pt x="988" y="510"/>
                  </a:lnTo>
                  <a:lnTo>
                    <a:pt x="984" y="506"/>
                  </a:lnTo>
                  <a:lnTo>
                    <a:pt x="983" y="504"/>
                  </a:lnTo>
                  <a:lnTo>
                    <a:pt x="975" y="504"/>
                  </a:lnTo>
                  <a:lnTo>
                    <a:pt x="970" y="501"/>
                  </a:lnTo>
                  <a:lnTo>
                    <a:pt x="968" y="491"/>
                  </a:lnTo>
                  <a:lnTo>
                    <a:pt x="968" y="482"/>
                  </a:lnTo>
                  <a:lnTo>
                    <a:pt x="962" y="475"/>
                  </a:lnTo>
                  <a:lnTo>
                    <a:pt x="959" y="467"/>
                  </a:lnTo>
                  <a:lnTo>
                    <a:pt x="964" y="455"/>
                  </a:lnTo>
                  <a:lnTo>
                    <a:pt x="970" y="445"/>
                  </a:lnTo>
                  <a:lnTo>
                    <a:pt x="966" y="432"/>
                  </a:lnTo>
                  <a:lnTo>
                    <a:pt x="964" y="423"/>
                  </a:lnTo>
                  <a:lnTo>
                    <a:pt x="964" y="419"/>
                  </a:lnTo>
                  <a:lnTo>
                    <a:pt x="966" y="416"/>
                  </a:lnTo>
                  <a:lnTo>
                    <a:pt x="968" y="412"/>
                  </a:lnTo>
                  <a:lnTo>
                    <a:pt x="970" y="410"/>
                  </a:lnTo>
                  <a:lnTo>
                    <a:pt x="979" y="405"/>
                  </a:lnTo>
                  <a:lnTo>
                    <a:pt x="984" y="405"/>
                  </a:lnTo>
                  <a:lnTo>
                    <a:pt x="990" y="406"/>
                  </a:lnTo>
                  <a:lnTo>
                    <a:pt x="995" y="408"/>
                  </a:lnTo>
                  <a:lnTo>
                    <a:pt x="1003" y="416"/>
                  </a:lnTo>
                  <a:lnTo>
                    <a:pt x="1012" y="419"/>
                  </a:lnTo>
                  <a:lnTo>
                    <a:pt x="1016" y="414"/>
                  </a:lnTo>
                  <a:lnTo>
                    <a:pt x="1021" y="408"/>
                  </a:lnTo>
                  <a:lnTo>
                    <a:pt x="1025" y="399"/>
                  </a:lnTo>
                  <a:lnTo>
                    <a:pt x="1025" y="394"/>
                  </a:lnTo>
                  <a:lnTo>
                    <a:pt x="1023" y="390"/>
                  </a:lnTo>
                  <a:lnTo>
                    <a:pt x="1019" y="386"/>
                  </a:lnTo>
                  <a:lnTo>
                    <a:pt x="1012" y="382"/>
                  </a:lnTo>
                  <a:lnTo>
                    <a:pt x="1008" y="375"/>
                  </a:lnTo>
                  <a:lnTo>
                    <a:pt x="1007" y="362"/>
                  </a:lnTo>
                  <a:lnTo>
                    <a:pt x="1005" y="355"/>
                  </a:lnTo>
                  <a:lnTo>
                    <a:pt x="1001" y="351"/>
                  </a:lnTo>
                  <a:lnTo>
                    <a:pt x="997" y="349"/>
                  </a:lnTo>
                  <a:lnTo>
                    <a:pt x="995" y="349"/>
                  </a:lnTo>
                  <a:lnTo>
                    <a:pt x="992" y="349"/>
                  </a:lnTo>
                  <a:lnTo>
                    <a:pt x="990" y="347"/>
                  </a:lnTo>
                  <a:lnTo>
                    <a:pt x="986" y="344"/>
                  </a:lnTo>
                  <a:lnTo>
                    <a:pt x="988" y="334"/>
                  </a:lnTo>
                  <a:lnTo>
                    <a:pt x="988" y="329"/>
                  </a:lnTo>
                  <a:lnTo>
                    <a:pt x="988" y="321"/>
                  </a:lnTo>
                  <a:lnTo>
                    <a:pt x="984" y="318"/>
                  </a:lnTo>
                  <a:lnTo>
                    <a:pt x="981" y="314"/>
                  </a:lnTo>
                  <a:lnTo>
                    <a:pt x="977" y="312"/>
                  </a:lnTo>
                  <a:lnTo>
                    <a:pt x="971" y="310"/>
                  </a:lnTo>
                  <a:lnTo>
                    <a:pt x="966" y="310"/>
                  </a:lnTo>
                  <a:lnTo>
                    <a:pt x="964" y="316"/>
                  </a:lnTo>
                  <a:lnTo>
                    <a:pt x="960" y="321"/>
                  </a:lnTo>
                  <a:lnTo>
                    <a:pt x="959" y="323"/>
                  </a:lnTo>
                  <a:lnTo>
                    <a:pt x="957" y="323"/>
                  </a:lnTo>
                  <a:lnTo>
                    <a:pt x="953" y="323"/>
                  </a:lnTo>
                  <a:lnTo>
                    <a:pt x="947" y="320"/>
                  </a:lnTo>
                  <a:lnTo>
                    <a:pt x="942" y="323"/>
                  </a:lnTo>
                  <a:lnTo>
                    <a:pt x="935" y="327"/>
                  </a:lnTo>
                  <a:lnTo>
                    <a:pt x="925" y="329"/>
                  </a:lnTo>
                  <a:lnTo>
                    <a:pt x="916" y="327"/>
                  </a:lnTo>
                  <a:lnTo>
                    <a:pt x="916" y="318"/>
                  </a:lnTo>
                  <a:lnTo>
                    <a:pt x="916" y="309"/>
                  </a:lnTo>
                  <a:lnTo>
                    <a:pt x="914" y="301"/>
                  </a:lnTo>
                  <a:lnTo>
                    <a:pt x="911" y="294"/>
                  </a:lnTo>
                  <a:lnTo>
                    <a:pt x="907" y="288"/>
                  </a:lnTo>
                  <a:lnTo>
                    <a:pt x="901" y="283"/>
                  </a:lnTo>
                  <a:lnTo>
                    <a:pt x="896" y="277"/>
                  </a:lnTo>
                  <a:lnTo>
                    <a:pt x="888" y="273"/>
                  </a:lnTo>
                  <a:lnTo>
                    <a:pt x="875" y="266"/>
                  </a:lnTo>
                  <a:lnTo>
                    <a:pt x="859" y="264"/>
                  </a:lnTo>
                  <a:lnTo>
                    <a:pt x="842" y="262"/>
                  </a:lnTo>
                  <a:lnTo>
                    <a:pt x="826" y="264"/>
                  </a:lnTo>
                  <a:lnTo>
                    <a:pt x="814" y="286"/>
                  </a:lnTo>
                  <a:lnTo>
                    <a:pt x="809" y="301"/>
                  </a:lnTo>
                  <a:lnTo>
                    <a:pt x="807" y="310"/>
                  </a:lnTo>
                  <a:lnTo>
                    <a:pt x="807" y="318"/>
                  </a:lnTo>
                  <a:lnTo>
                    <a:pt x="809" y="321"/>
                  </a:lnTo>
                  <a:lnTo>
                    <a:pt x="811" y="325"/>
                  </a:lnTo>
                  <a:lnTo>
                    <a:pt x="809" y="331"/>
                  </a:lnTo>
                  <a:lnTo>
                    <a:pt x="807" y="338"/>
                  </a:lnTo>
                  <a:lnTo>
                    <a:pt x="792" y="347"/>
                  </a:lnTo>
                  <a:lnTo>
                    <a:pt x="778" y="358"/>
                  </a:lnTo>
                  <a:lnTo>
                    <a:pt x="774" y="375"/>
                  </a:lnTo>
                  <a:lnTo>
                    <a:pt x="768" y="390"/>
                  </a:lnTo>
                  <a:lnTo>
                    <a:pt x="766" y="395"/>
                  </a:lnTo>
                  <a:lnTo>
                    <a:pt x="763" y="401"/>
                  </a:lnTo>
                  <a:lnTo>
                    <a:pt x="759" y="405"/>
                  </a:lnTo>
                  <a:lnTo>
                    <a:pt x="753" y="406"/>
                  </a:lnTo>
                  <a:lnTo>
                    <a:pt x="753" y="416"/>
                  </a:lnTo>
                  <a:lnTo>
                    <a:pt x="750" y="423"/>
                  </a:lnTo>
                  <a:lnTo>
                    <a:pt x="746" y="423"/>
                  </a:lnTo>
                  <a:lnTo>
                    <a:pt x="744" y="419"/>
                  </a:lnTo>
                  <a:lnTo>
                    <a:pt x="744" y="418"/>
                  </a:lnTo>
                  <a:lnTo>
                    <a:pt x="744" y="412"/>
                  </a:lnTo>
                  <a:lnTo>
                    <a:pt x="742" y="405"/>
                  </a:lnTo>
                  <a:lnTo>
                    <a:pt x="741" y="397"/>
                  </a:lnTo>
                  <a:lnTo>
                    <a:pt x="729" y="386"/>
                  </a:lnTo>
                  <a:lnTo>
                    <a:pt x="722" y="379"/>
                  </a:lnTo>
                  <a:lnTo>
                    <a:pt x="715" y="390"/>
                  </a:lnTo>
                  <a:lnTo>
                    <a:pt x="709" y="394"/>
                  </a:lnTo>
                  <a:lnTo>
                    <a:pt x="705" y="395"/>
                  </a:lnTo>
                  <a:lnTo>
                    <a:pt x="700" y="395"/>
                  </a:lnTo>
                  <a:lnTo>
                    <a:pt x="685" y="403"/>
                  </a:lnTo>
                  <a:lnTo>
                    <a:pt x="676" y="405"/>
                  </a:lnTo>
                  <a:lnTo>
                    <a:pt x="670" y="405"/>
                  </a:lnTo>
                  <a:lnTo>
                    <a:pt x="661" y="406"/>
                  </a:lnTo>
                  <a:lnTo>
                    <a:pt x="650" y="419"/>
                  </a:lnTo>
                  <a:lnTo>
                    <a:pt x="639" y="429"/>
                  </a:lnTo>
                  <a:lnTo>
                    <a:pt x="628" y="423"/>
                  </a:lnTo>
                  <a:lnTo>
                    <a:pt x="620" y="418"/>
                  </a:lnTo>
                  <a:lnTo>
                    <a:pt x="617" y="408"/>
                  </a:lnTo>
                  <a:lnTo>
                    <a:pt x="613" y="401"/>
                  </a:lnTo>
                  <a:lnTo>
                    <a:pt x="613" y="392"/>
                  </a:lnTo>
                  <a:lnTo>
                    <a:pt x="613" y="384"/>
                  </a:lnTo>
                  <a:lnTo>
                    <a:pt x="613" y="379"/>
                  </a:lnTo>
                  <a:lnTo>
                    <a:pt x="615" y="375"/>
                  </a:lnTo>
                  <a:lnTo>
                    <a:pt x="613" y="362"/>
                  </a:lnTo>
                  <a:lnTo>
                    <a:pt x="611" y="349"/>
                  </a:lnTo>
                  <a:lnTo>
                    <a:pt x="611" y="338"/>
                  </a:lnTo>
                  <a:lnTo>
                    <a:pt x="613" y="327"/>
                  </a:lnTo>
                  <a:lnTo>
                    <a:pt x="617" y="316"/>
                  </a:lnTo>
                  <a:lnTo>
                    <a:pt x="622" y="305"/>
                  </a:lnTo>
                  <a:lnTo>
                    <a:pt x="628" y="296"/>
                  </a:lnTo>
                  <a:lnTo>
                    <a:pt x="633" y="288"/>
                  </a:lnTo>
                  <a:lnTo>
                    <a:pt x="633" y="272"/>
                  </a:lnTo>
                  <a:lnTo>
                    <a:pt x="635" y="257"/>
                  </a:lnTo>
                  <a:lnTo>
                    <a:pt x="620" y="248"/>
                  </a:lnTo>
                  <a:lnTo>
                    <a:pt x="608" y="238"/>
                  </a:lnTo>
                  <a:lnTo>
                    <a:pt x="596" y="225"/>
                  </a:lnTo>
                  <a:lnTo>
                    <a:pt x="585" y="212"/>
                  </a:lnTo>
                  <a:lnTo>
                    <a:pt x="589" y="192"/>
                  </a:lnTo>
                  <a:lnTo>
                    <a:pt x="593" y="170"/>
                  </a:lnTo>
                  <a:lnTo>
                    <a:pt x="587" y="161"/>
                  </a:lnTo>
                  <a:lnTo>
                    <a:pt x="578" y="153"/>
                  </a:lnTo>
                  <a:lnTo>
                    <a:pt x="574" y="146"/>
                  </a:lnTo>
                  <a:lnTo>
                    <a:pt x="572" y="139"/>
                  </a:lnTo>
                  <a:lnTo>
                    <a:pt x="571" y="126"/>
                  </a:lnTo>
                  <a:lnTo>
                    <a:pt x="572" y="111"/>
                  </a:lnTo>
                  <a:lnTo>
                    <a:pt x="572" y="105"/>
                  </a:lnTo>
                  <a:lnTo>
                    <a:pt x="571" y="98"/>
                  </a:lnTo>
                  <a:lnTo>
                    <a:pt x="567" y="89"/>
                  </a:lnTo>
                  <a:lnTo>
                    <a:pt x="561" y="79"/>
                  </a:lnTo>
                  <a:lnTo>
                    <a:pt x="552" y="65"/>
                  </a:lnTo>
                  <a:lnTo>
                    <a:pt x="545" y="57"/>
                  </a:lnTo>
                  <a:lnTo>
                    <a:pt x="536" y="59"/>
                  </a:lnTo>
                  <a:lnTo>
                    <a:pt x="528" y="61"/>
                  </a:lnTo>
                  <a:lnTo>
                    <a:pt x="523" y="63"/>
                  </a:lnTo>
                  <a:lnTo>
                    <a:pt x="521" y="63"/>
                  </a:lnTo>
                  <a:lnTo>
                    <a:pt x="517" y="61"/>
                  </a:lnTo>
                  <a:lnTo>
                    <a:pt x="517" y="59"/>
                  </a:lnTo>
                  <a:lnTo>
                    <a:pt x="515" y="54"/>
                  </a:lnTo>
                  <a:lnTo>
                    <a:pt x="515" y="48"/>
                  </a:lnTo>
                  <a:lnTo>
                    <a:pt x="515" y="41"/>
                  </a:lnTo>
                  <a:lnTo>
                    <a:pt x="517" y="35"/>
                  </a:lnTo>
                  <a:lnTo>
                    <a:pt x="524" y="37"/>
                  </a:lnTo>
                  <a:lnTo>
                    <a:pt x="530" y="37"/>
                  </a:lnTo>
                  <a:lnTo>
                    <a:pt x="534" y="35"/>
                  </a:lnTo>
                  <a:lnTo>
                    <a:pt x="534" y="33"/>
                  </a:lnTo>
                  <a:lnTo>
                    <a:pt x="536" y="30"/>
                  </a:lnTo>
                  <a:lnTo>
                    <a:pt x="534" y="24"/>
                  </a:lnTo>
                  <a:lnTo>
                    <a:pt x="519" y="0"/>
                  </a:lnTo>
                  <a:lnTo>
                    <a:pt x="504" y="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9" name="Freeform 30"/>
            <p:cNvSpPr>
              <a:spLocks/>
            </p:cNvSpPr>
            <p:nvPr/>
          </p:nvSpPr>
          <p:spPr bwMode="auto">
            <a:xfrm>
              <a:off x="4786019" y="2883353"/>
              <a:ext cx="154450" cy="148091"/>
            </a:xfrm>
            <a:custGeom>
              <a:avLst/>
              <a:gdLst>
                <a:gd name="T0" fmla="*/ 0 w 296"/>
                <a:gd name="T1" fmla="*/ 145 h 291"/>
                <a:gd name="T2" fmla="*/ 0 w 296"/>
                <a:gd name="T3" fmla="*/ 159 h 291"/>
                <a:gd name="T4" fmla="*/ 21 w 296"/>
                <a:gd name="T5" fmla="*/ 170 h 291"/>
                <a:gd name="T6" fmla="*/ 33 w 296"/>
                <a:gd name="T7" fmla="*/ 180 h 291"/>
                <a:gd name="T8" fmla="*/ 39 w 296"/>
                <a:gd name="T9" fmla="*/ 218 h 291"/>
                <a:gd name="T10" fmla="*/ 52 w 296"/>
                <a:gd name="T11" fmla="*/ 237 h 291"/>
                <a:gd name="T12" fmla="*/ 69 w 296"/>
                <a:gd name="T13" fmla="*/ 244 h 291"/>
                <a:gd name="T14" fmla="*/ 89 w 296"/>
                <a:gd name="T15" fmla="*/ 242 h 291"/>
                <a:gd name="T16" fmla="*/ 118 w 296"/>
                <a:gd name="T17" fmla="*/ 242 h 291"/>
                <a:gd name="T18" fmla="*/ 131 w 296"/>
                <a:gd name="T19" fmla="*/ 261 h 291"/>
                <a:gd name="T20" fmla="*/ 146 w 296"/>
                <a:gd name="T21" fmla="*/ 278 h 291"/>
                <a:gd name="T22" fmla="*/ 159 w 296"/>
                <a:gd name="T23" fmla="*/ 285 h 291"/>
                <a:gd name="T24" fmla="*/ 185 w 296"/>
                <a:gd name="T25" fmla="*/ 287 h 291"/>
                <a:gd name="T26" fmla="*/ 248 w 296"/>
                <a:gd name="T27" fmla="*/ 274 h 291"/>
                <a:gd name="T28" fmla="*/ 281 w 296"/>
                <a:gd name="T29" fmla="*/ 263 h 291"/>
                <a:gd name="T30" fmla="*/ 285 w 296"/>
                <a:gd name="T31" fmla="*/ 244 h 291"/>
                <a:gd name="T32" fmla="*/ 272 w 296"/>
                <a:gd name="T33" fmla="*/ 224 h 291"/>
                <a:gd name="T34" fmla="*/ 272 w 296"/>
                <a:gd name="T35" fmla="*/ 207 h 291"/>
                <a:gd name="T36" fmla="*/ 281 w 296"/>
                <a:gd name="T37" fmla="*/ 209 h 291"/>
                <a:gd name="T38" fmla="*/ 296 w 296"/>
                <a:gd name="T39" fmla="*/ 213 h 291"/>
                <a:gd name="T40" fmla="*/ 296 w 296"/>
                <a:gd name="T41" fmla="*/ 202 h 291"/>
                <a:gd name="T42" fmla="*/ 272 w 296"/>
                <a:gd name="T43" fmla="*/ 169 h 291"/>
                <a:gd name="T44" fmla="*/ 255 w 296"/>
                <a:gd name="T45" fmla="*/ 128 h 291"/>
                <a:gd name="T46" fmla="*/ 248 w 296"/>
                <a:gd name="T47" fmla="*/ 95 h 291"/>
                <a:gd name="T48" fmla="*/ 238 w 296"/>
                <a:gd name="T49" fmla="*/ 109 h 291"/>
                <a:gd name="T50" fmla="*/ 227 w 296"/>
                <a:gd name="T51" fmla="*/ 113 h 291"/>
                <a:gd name="T52" fmla="*/ 224 w 296"/>
                <a:gd name="T53" fmla="*/ 106 h 291"/>
                <a:gd name="T54" fmla="*/ 218 w 296"/>
                <a:gd name="T55" fmla="*/ 84 h 291"/>
                <a:gd name="T56" fmla="*/ 220 w 296"/>
                <a:gd name="T57" fmla="*/ 58 h 291"/>
                <a:gd name="T58" fmla="*/ 240 w 296"/>
                <a:gd name="T59" fmla="*/ 45 h 291"/>
                <a:gd name="T60" fmla="*/ 246 w 296"/>
                <a:gd name="T61" fmla="*/ 28 h 291"/>
                <a:gd name="T62" fmla="*/ 235 w 296"/>
                <a:gd name="T63" fmla="*/ 23 h 291"/>
                <a:gd name="T64" fmla="*/ 216 w 296"/>
                <a:gd name="T65" fmla="*/ 13 h 291"/>
                <a:gd name="T66" fmla="*/ 211 w 296"/>
                <a:gd name="T67" fmla="*/ 23 h 291"/>
                <a:gd name="T68" fmla="*/ 200 w 296"/>
                <a:gd name="T69" fmla="*/ 21 h 291"/>
                <a:gd name="T70" fmla="*/ 190 w 296"/>
                <a:gd name="T71" fmla="*/ 8 h 291"/>
                <a:gd name="T72" fmla="*/ 170 w 296"/>
                <a:gd name="T73" fmla="*/ 0 h 291"/>
                <a:gd name="T74" fmla="*/ 159 w 296"/>
                <a:gd name="T75" fmla="*/ 24 h 291"/>
                <a:gd name="T76" fmla="*/ 142 w 296"/>
                <a:gd name="T77" fmla="*/ 34 h 291"/>
                <a:gd name="T78" fmla="*/ 109 w 296"/>
                <a:gd name="T79" fmla="*/ 47 h 291"/>
                <a:gd name="T80" fmla="*/ 59 w 296"/>
                <a:gd name="T81" fmla="*/ 67 h 291"/>
                <a:gd name="T82" fmla="*/ 24 w 296"/>
                <a:gd name="T83" fmla="*/ 72 h 291"/>
                <a:gd name="T84" fmla="*/ 2 w 296"/>
                <a:gd name="T85" fmla="*/ 82 h 291"/>
                <a:gd name="T86" fmla="*/ 11 w 296"/>
                <a:gd name="T87" fmla="*/ 115 h 29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96"/>
                <a:gd name="T133" fmla="*/ 0 h 291"/>
                <a:gd name="T134" fmla="*/ 296 w 296"/>
                <a:gd name="T135" fmla="*/ 291 h 29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96" h="291">
                  <a:moveTo>
                    <a:pt x="0" y="121"/>
                  </a:moveTo>
                  <a:lnTo>
                    <a:pt x="2" y="133"/>
                  </a:lnTo>
                  <a:lnTo>
                    <a:pt x="0" y="145"/>
                  </a:lnTo>
                  <a:lnTo>
                    <a:pt x="0" y="148"/>
                  </a:lnTo>
                  <a:lnTo>
                    <a:pt x="0" y="154"/>
                  </a:lnTo>
                  <a:lnTo>
                    <a:pt x="0" y="159"/>
                  </a:lnTo>
                  <a:lnTo>
                    <a:pt x="4" y="165"/>
                  </a:lnTo>
                  <a:lnTo>
                    <a:pt x="11" y="169"/>
                  </a:lnTo>
                  <a:lnTo>
                    <a:pt x="21" y="170"/>
                  </a:lnTo>
                  <a:lnTo>
                    <a:pt x="26" y="172"/>
                  </a:lnTo>
                  <a:lnTo>
                    <a:pt x="30" y="174"/>
                  </a:lnTo>
                  <a:lnTo>
                    <a:pt x="33" y="180"/>
                  </a:lnTo>
                  <a:lnTo>
                    <a:pt x="35" y="185"/>
                  </a:lnTo>
                  <a:lnTo>
                    <a:pt x="37" y="202"/>
                  </a:lnTo>
                  <a:lnTo>
                    <a:pt x="39" y="218"/>
                  </a:lnTo>
                  <a:lnTo>
                    <a:pt x="43" y="224"/>
                  </a:lnTo>
                  <a:lnTo>
                    <a:pt x="46" y="231"/>
                  </a:lnTo>
                  <a:lnTo>
                    <a:pt x="52" y="237"/>
                  </a:lnTo>
                  <a:lnTo>
                    <a:pt x="57" y="242"/>
                  </a:lnTo>
                  <a:lnTo>
                    <a:pt x="63" y="244"/>
                  </a:lnTo>
                  <a:lnTo>
                    <a:pt x="69" y="244"/>
                  </a:lnTo>
                  <a:lnTo>
                    <a:pt x="74" y="244"/>
                  </a:lnTo>
                  <a:lnTo>
                    <a:pt x="78" y="244"/>
                  </a:lnTo>
                  <a:lnTo>
                    <a:pt x="89" y="242"/>
                  </a:lnTo>
                  <a:lnTo>
                    <a:pt x="102" y="242"/>
                  </a:lnTo>
                  <a:lnTo>
                    <a:pt x="111" y="242"/>
                  </a:lnTo>
                  <a:lnTo>
                    <a:pt x="118" y="242"/>
                  </a:lnTo>
                  <a:lnTo>
                    <a:pt x="124" y="242"/>
                  </a:lnTo>
                  <a:lnTo>
                    <a:pt x="126" y="244"/>
                  </a:lnTo>
                  <a:lnTo>
                    <a:pt x="131" y="261"/>
                  </a:lnTo>
                  <a:lnTo>
                    <a:pt x="139" y="270"/>
                  </a:lnTo>
                  <a:lnTo>
                    <a:pt x="142" y="274"/>
                  </a:lnTo>
                  <a:lnTo>
                    <a:pt x="146" y="278"/>
                  </a:lnTo>
                  <a:lnTo>
                    <a:pt x="152" y="278"/>
                  </a:lnTo>
                  <a:lnTo>
                    <a:pt x="155" y="278"/>
                  </a:lnTo>
                  <a:lnTo>
                    <a:pt x="159" y="285"/>
                  </a:lnTo>
                  <a:lnTo>
                    <a:pt x="163" y="291"/>
                  </a:lnTo>
                  <a:lnTo>
                    <a:pt x="174" y="291"/>
                  </a:lnTo>
                  <a:lnTo>
                    <a:pt x="185" y="287"/>
                  </a:lnTo>
                  <a:lnTo>
                    <a:pt x="200" y="281"/>
                  </a:lnTo>
                  <a:lnTo>
                    <a:pt x="218" y="278"/>
                  </a:lnTo>
                  <a:lnTo>
                    <a:pt x="248" y="274"/>
                  </a:lnTo>
                  <a:lnTo>
                    <a:pt x="270" y="268"/>
                  </a:lnTo>
                  <a:lnTo>
                    <a:pt x="277" y="266"/>
                  </a:lnTo>
                  <a:lnTo>
                    <a:pt x="281" y="263"/>
                  </a:lnTo>
                  <a:lnTo>
                    <a:pt x="283" y="259"/>
                  </a:lnTo>
                  <a:lnTo>
                    <a:pt x="285" y="254"/>
                  </a:lnTo>
                  <a:lnTo>
                    <a:pt x="285" y="244"/>
                  </a:lnTo>
                  <a:lnTo>
                    <a:pt x="287" y="237"/>
                  </a:lnTo>
                  <a:lnTo>
                    <a:pt x="277" y="231"/>
                  </a:lnTo>
                  <a:lnTo>
                    <a:pt x="272" y="224"/>
                  </a:lnTo>
                  <a:lnTo>
                    <a:pt x="268" y="218"/>
                  </a:lnTo>
                  <a:lnTo>
                    <a:pt x="268" y="211"/>
                  </a:lnTo>
                  <a:lnTo>
                    <a:pt x="272" y="207"/>
                  </a:lnTo>
                  <a:lnTo>
                    <a:pt x="274" y="206"/>
                  </a:lnTo>
                  <a:lnTo>
                    <a:pt x="277" y="207"/>
                  </a:lnTo>
                  <a:lnTo>
                    <a:pt x="281" y="209"/>
                  </a:lnTo>
                  <a:lnTo>
                    <a:pt x="287" y="213"/>
                  </a:lnTo>
                  <a:lnTo>
                    <a:pt x="294" y="215"/>
                  </a:lnTo>
                  <a:lnTo>
                    <a:pt x="296" y="213"/>
                  </a:lnTo>
                  <a:lnTo>
                    <a:pt x="296" y="209"/>
                  </a:lnTo>
                  <a:lnTo>
                    <a:pt x="296" y="206"/>
                  </a:lnTo>
                  <a:lnTo>
                    <a:pt x="296" y="202"/>
                  </a:lnTo>
                  <a:lnTo>
                    <a:pt x="290" y="194"/>
                  </a:lnTo>
                  <a:lnTo>
                    <a:pt x="285" y="185"/>
                  </a:lnTo>
                  <a:lnTo>
                    <a:pt x="272" y="169"/>
                  </a:lnTo>
                  <a:lnTo>
                    <a:pt x="261" y="156"/>
                  </a:lnTo>
                  <a:lnTo>
                    <a:pt x="257" y="145"/>
                  </a:lnTo>
                  <a:lnTo>
                    <a:pt x="255" y="128"/>
                  </a:lnTo>
                  <a:lnTo>
                    <a:pt x="255" y="111"/>
                  </a:lnTo>
                  <a:lnTo>
                    <a:pt x="255" y="91"/>
                  </a:lnTo>
                  <a:lnTo>
                    <a:pt x="248" y="95"/>
                  </a:lnTo>
                  <a:lnTo>
                    <a:pt x="240" y="98"/>
                  </a:lnTo>
                  <a:lnTo>
                    <a:pt x="240" y="104"/>
                  </a:lnTo>
                  <a:lnTo>
                    <a:pt x="238" y="109"/>
                  </a:lnTo>
                  <a:lnTo>
                    <a:pt x="237" y="113"/>
                  </a:lnTo>
                  <a:lnTo>
                    <a:pt x="231" y="115"/>
                  </a:lnTo>
                  <a:lnTo>
                    <a:pt x="227" y="113"/>
                  </a:lnTo>
                  <a:lnTo>
                    <a:pt x="226" y="111"/>
                  </a:lnTo>
                  <a:lnTo>
                    <a:pt x="226" y="109"/>
                  </a:lnTo>
                  <a:lnTo>
                    <a:pt x="224" y="106"/>
                  </a:lnTo>
                  <a:lnTo>
                    <a:pt x="224" y="98"/>
                  </a:lnTo>
                  <a:lnTo>
                    <a:pt x="222" y="93"/>
                  </a:lnTo>
                  <a:lnTo>
                    <a:pt x="218" y="84"/>
                  </a:lnTo>
                  <a:lnTo>
                    <a:pt x="216" y="72"/>
                  </a:lnTo>
                  <a:lnTo>
                    <a:pt x="216" y="65"/>
                  </a:lnTo>
                  <a:lnTo>
                    <a:pt x="220" y="58"/>
                  </a:lnTo>
                  <a:lnTo>
                    <a:pt x="224" y="54"/>
                  </a:lnTo>
                  <a:lnTo>
                    <a:pt x="229" y="52"/>
                  </a:lnTo>
                  <a:lnTo>
                    <a:pt x="240" y="45"/>
                  </a:lnTo>
                  <a:lnTo>
                    <a:pt x="244" y="39"/>
                  </a:lnTo>
                  <a:lnTo>
                    <a:pt x="246" y="34"/>
                  </a:lnTo>
                  <a:lnTo>
                    <a:pt x="246" y="28"/>
                  </a:lnTo>
                  <a:lnTo>
                    <a:pt x="244" y="24"/>
                  </a:lnTo>
                  <a:lnTo>
                    <a:pt x="238" y="23"/>
                  </a:lnTo>
                  <a:lnTo>
                    <a:pt x="235" y="23"/>
                  </a:lnTo>
                  <a:lnTo>
                    <a:pt x="229" y="21"/>
                  </a:lnTo>
                  <a:lnTo>
                    <a:pt x="222" y="15"/>
                  </a:lnTo>
                  <a:lnTo>
                    <a:pt x="216" y="13"/>
                  </a:lnTo>
                  <a:lnTo>
                    <a:pt x="214" y="15"/>
                  </a:lnTo>
                  <a:lnTo>
                    <a:pt x="213" y="21"/>
                  </a:lnTo>
                  <a:lnTo>
                    <a:pt x="211" y="23"/>
                  </a:lnTo>
                  <a:lnTo>
                    <a:pt x="209" y="23"/>
                  </a:lnTo>
                  <a:lnTo>
                    <a:pt x="205" y="23"/>
                  </a:lnTo>
                  <a:lnTo>
                    <a:pt x="200" y="21"/>
                  </a:lnTo>
                  <a:lnTo>
                    <a:pt x="194" y="17"/>
                  </a:lnTo>
                  <a:lnTo>
                    <a:pt x="192" y="11"/>
                  </a:lnTo>
                  <a:lnTo>
                    <a:pt x="190" y="8"/>
                  </a:lnTo>
                  <a:lnTo>
                    <a:pt x="190" y="2"/>
                  </a:lnTo>
                  <a:lnTo>
                    <a:pt x="181" y="0"/>
                  </a:lnTo>
                  <a:lnTo>
                    <a:pt x="170" y="0"/>
                  </a:lnTo>
                  <a:lnTo>
                    <a:pt x="166" y="10"/>
                  </a:lnTo>
                  <a:lnTo>
                    <a:pt x="163" y="21"/>
                  </a:lnTo>
                  <a:lnTo>
                    <a:pt x="159" y="24"/>
                  </a:lnTo>
                  <a:lnTo>
                    <a:pt x="154" y="28"/>
                  </a:lnTo>
                  <a:lnTo>
                    <a:pt x="148" y="32"/>
                  </a:lnTo>
                  <a:lnTo>
                    <a:pt x="142" y="34"/>
                  </a:lnTo>
                  <a:lnTo>
                    <a:pt x="131" y="30"/>
                  </a:lnTo>
                  <a:lnTo>
                    <a:pt x="122" y="30"/>
                  </a:lnTo>
                  <a:lnTo>
                    <a:pt x="109" y="47"/>
                  </a:lnTo>
                  <a:lnTo>
                    <a:pt x="91" y="65"/>
                  </a:lnTo>
                  <a:lnTo>
                    <a:pt x="74" y="65"/>
                  </a:lnTo>
                  <a:lnTo>
                    <a:pt x="59" y="67"/>
                  </a:lnTo>
                  <a:lnTo>
                    <a:pt x="46" y="69"/>
                  </a:lnTo>
                  <a:lnTo>
                    <a:pt x="32" y="72"/>
                  </a:lnTo>
                  <a:lnTo>
                    <a:pt x="24" y="72"/>
                  </a:lnTo>
                  <a:lnTo>
                    <a:pt x="17" y="74"/>
                  </a:lnTo>
                  <a:lnTo>
                    <a:pt x="9" y="76"/>
                  </a:lnTo>
                  <a:lnTo>
                    <a:pt x="2" y="82"/>
                  </a:lnTo>
                  <a:lnTo>
                    <a:pt x="13" y="98"/>
                  </a:lnTo>
                  <a:lnTo>
                    <a:pt x="22" y="111"/>
                  </a:lnTo>
                  <a:lnTo>
                    <a:pt x="11" y="115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0" name="Freeform 31"/>
            <p:cNvSpPr>
              <a:spLocks/>
            </p:cNvSpPr>
            <p:nvPr/>
          </p:nvSpPr>
          <p:spPr bwMode="auto">
            <a:xfrm>
              <a:off x="4655049" y="2778010"/>
              <a:ext cx="232197" cy="166920"/>
            </a:xfrm>
            <a:custGeom>
              <a:avLst/>
              <a:gdLst>
                <a:gd name="T0" fmla="*/ 13 w 445"/>
                <a:gd name="T1" fmla="*/ 73 h 328"/>
                <a:gd name="T2" fmla="*/ 28 w 445"/>
                <a:gd name="T3" fmla="*/ 145 h 328"/>
                <a:gd name="T4" fmla="*/ 37 w 445"/>
                <a:gd name="T5" fmla="*/ 267 h 328"/>
                <a:gd name="T6" fmla="*/ 42 w 445"/>
                <a:gd name="T7" fmla="*/ 278 h 328"/>
                <a:gd name="T8" fmla="*/ 70 w 445"/>
                <a:gd name="T9" fmla="*/ 267 h 328"/>
                <a:gd name="T10" fmla="*/ 81 w 445"/>
                <a:gd name="T11" fmla="*/ 235 h 328"/>
                <a:gd name="T12" fmla="*/ 102 w 445"/>
                <a:gd name="T13" fmla="*/ 246 h 328"/>
                <a:gd name="T14" fmla="*/ 105 w 445"/>
                <a:gd name="T15" fmla="*/ 267 h 328"/>
                <a:gd name="T16" fmla="*/ 113 w 445"/>
                <a:gd name="T17" fmla="*/ 272 h 328"/>
                <a:gd name="T18" fmla="*/ 122 w 445"/>
                <a:gd name="T19" fmla="*/ 296 h 328"/>
                <a:gd name="T20" fmla="*/ 131 w 445"/>
                <a:gd name="T21" fmla="*/ 302 h 328"/>
                <a:gd name="T22" fmla="*/ 179 w 445"/>
                <a:gd name="T23" fmla="*/ 298 h 328"/>
                <a:gd name="T24" fmla="*/ 192 w 445"/>
                <a:gd name="T25" fmla="*/ 302 h 328"/>
                <a:gd name="T26" fmla="*/ 199 w 445"/>
                <a:gd name="T27" fmla="*/ 294 h 328"/>
                <a:gd name="T28" fmla="*/ 222 w 445"/>
                <a:gd name="T29" fmla="*/ 298 h 328"/>
                <a:gd name="T30" fmla="*/ 246 w 445"/>
                <a:gd name="T31" fmla="*/ 318 h 328"/>
                <a:gd name="T32" fmla="*/ 251 w 445"/>
                <a:gd name="T33" fmla="*/ 328 h 328"/>
                <a:gd name="T34" fmla="*/ 264 w 445"/>
                <a:gd name="T35" fmla="*/ 305 h 328"/>
                <a:gd name="T36" fmla="*/ 268 w 445"/>
                <a:gd name="T37" fmla="*/ 281 h 328"/>
                <a:gd name="T38" fmla="*/ 297 w 445"/>
                <a:gd name="T39" fmla="*/ 276 h 328"/>
                <a:gd name="T40" fmla="*/ 342 w 445"/>
                <a:gd name="T41" fmla="*/ 272 h 328"/>
                <a:gd name="T42" fmla="*/ 382 w 445"/>
                <a:gd name="T43" fmla="*/ 237 h 328"/>
                <a:gd name="T44" fmla="*/ 405 w 445"/>
                <a:gd name="T45" fmla="*/ 235 h 328"/>
                <a:gd name="T46" fmla="*/ 417 w 445"/>
                <a:gd name="T47" fmla="*/ 217 h 328"/>
                <a:gd name="T48" fmla="*/ 441 w 445"/>
                <a:gd name="T49" fmla="*/ 209 h 328"/>
                <a:gd name="T50" fmla="*/ 434 w 445"/>
                <a:gd name="T51" fmla="*/ 200 h 328"/>
                <a:gd name="T52" fmla="*/ 440 w 445"/>
                <a:gd name="T53" fmla="*/ 174 h 328"/>
                <a:gd name="T54" fmla="*/ 436 w 445"/>
                <a:gd name="T55" fmla="*/ 154 h 328"/>
                <a:gd name="T56" fmla="*/ 425 w 445"/>
                <a:gd name="T57" fmla="*/ 132 h 328"/>
                <a:gd name="T58" fmla="*/ 416 w 445"/>
                <a:gd name="T59" fmla="*/ 106 h 328"/>
                <a:gd name="T60" fmla="*/ 397 w 445"/>
                <a:gd name="T61" fmla="*/ 69 h 328"/>
                <a:gd name="T62" fmla="*/ 373 w 445"/>
                <a:gd name="T63" fmla="*/ 47 h 328"/>
                <a:gd name="T64" fmla="*/ 366 w 445"/>
                <a:gd name="T65" fmla="*/ 36 h 328"/>
                <a:gd name="T66" fmla="*/ 356 w 445"/>
                <a:gd name="T67" fmla="*/ 43 h 328"/>
                <a:gd name="T68" fmla="*/ 336 w 445"/>
                <a:gd name="T69" fmla="*/ 54 h 328"/>
                <a:gd name="T70" fmla="*/ 305 w 445"/>
                <a:gd name="T71" fmla="*/ 48 h 328"/>
                <a:gd name="T72" fmla="*/ 275 w 445"/>
                <a:gd name="T73" fmla="*/ 54 h 328"/>
                <a:gd name="T74" fmla="*/ 259 w 445"/>
                <a:gd name="T75" fmla="*/ 56 h 328"/>
                <a:gd name="T76" fmla="*/ 240 w 445"/>
                <a:gd name="T77" fmla="*/ 65 h 328"/>
                <a:gd name="T78" fmla="*/ 236 w 445"/>
                <a:gd name="T79" fmla="*/ 78 h 328"/>
                <a:gd name="T80" fmla="*/ 216 w 445"/>
                <a:gd name="T81" fmla="*/ 91 h 328"/>
                <a:gd name="T82" fmla="*/ 207 w 445"/>
                <a:gd name="T83" fmla="*/ 69 h 328"/>
                <a:gd name="T84" fmla="*/ 218 w 445"/>
                <a:gd name="T85" fmla="*/ 54 h 328"/>
                <a:gd name="T86" fmla="*/ 212 w 445"/>
                <a:gd name="T87" fmla="*/ 41 h 328"/>
                <a:gd name="T88" fmla="*/ 185 w 445"/>
                <a:gd name="T89" fmla="*/ 21 h 328"/>
                <a:gd name="T90" fmla="*/ 170 w 445"/>
                <a:gd name="T91" fmla="*/ 4 h 328"/>
                <a:gd name="T92" fmla="*/ 127 w 445"/>
                <a:gd name="T93" fmla="*/ 12 h 328"/>
                <a:gd name="T94" fmla="*/ 78 w 445"/>
                <a:gd name="T95" fmla="*/ 19 h 328"/>
                <a:gd name="T96" fmla="*/ 30 w 445"/>
                <a:gd name="T97" fmla="*/ 28 h 328"/>
                <a:gd name="T98" fmla="*/ 5 w 445"/>
                <a:gd name="T99" fmla="*/ 21 h 32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45"/>
                <a:gd name="T151" fmla="*/ 0 h 328"/>
                <a:gd name="T152" fmla="*/ 445 w 445"/>
                <a:gd name="T153" fmla="*/ 328 h 32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45" h="328">
                  <a:moveTo>
                    <a:pt x="0" y="36"/>
                  </a:moveTo>
                  <a:lnTo>
                    <a:pt x="7" y="54"/>
                  </a:lnTo>
                  <a:lnTo>
                    <a:pt x="13" y="73"/>
                  </a:lnTo>
                  <a:lnTo>
                    <a:pt x="18" y="91"/>
                  </a:lnTo>
                  <a:lnTo>
                    <a:pt x="20" y="106"/>
                  </a:lnTo>
                  <a:lnTo>
                    <a:pt x="28" y="145"/>
                  </a:lnTo>
                  <a:lnTo>
                    <a:pt x="33" y="185"/>
                  </a:lnTo>
                  <a:lnTo>
                    <a:pt x="35" y="226"/>
                  </a:lnTo>
                  <a:lnTo>
                    <a:pt x="37" y="267"/>
                  </a:lnTo>
                  <a:lnTo>
                    <a:pt x="37" y="274"/>
                  </a:lnTo>
                  <a:lnTo>
                    <a:pt x="39" y="278"/>
                  </a:lnTo>
                  <a:lnTo>
                    <a:pt x="42" y="278"/>
                  </a:lnTo>
                  <a:lnTo>
                    <a:pt x="52" y="274"/>
                  </a:lnTo>
                  <a:lnTo>
                    <a:pt x="61" y="270"/>
                  </a:lnTo>
                  <a:lnTo>
                    <a:pt x="70" y="267"/>
                  </a:lnTo>
                  <a:lnTo>
                    <a:pt x="72" y="252"/>
                  </a:lnTo>
                  <a:lnTo>
                    <a:pt x="76" y="239"/>
                  </a:lnTo>
                  <a:lnTo>
                    <a:pt x="81" y="235"/>
                  </a:lnTo>
                  <a:lnTo>
                    <a:pt x="89" y="235"/>
                  </a:lnTo>
                  <a:lnTo>
                    <a:pt x="96" y="239"/>
                  </a:lnTo>
                  <a:lnTo>
                    <a:pt x="102" y="246"/>
                  </a:lnTo>
                  <a:lnTo>
                    <a:pt x="103" y="257"/>
                  </a:lnTo>
                  <a:lnTo>
                    <a:pt x="103" y="265"/>
                  </a:lnTo>
                  <a:lnTo>
                    <a:pt x="105" y="267"/>
                  </a:lnTo>
                  <a:lnTo>
                    <a:pt x="107" y="268"/>
                  </a:lnTo>
                  <a:lnTo>
                    <a:pt x="109" y="270"/>
                  </a:lnTo>
                  <a:lnTo>
                    <a:pt x="113" y="272"/>
                  </a:lnTo>
                  <a:lnTo>
                    <a:pt x="114" y="281"/>
                  </a:lnTo>
                  <a:lnTo>
                    <a:pt x="118" y="292"/>
                  </a:lnTo>
                  <a:lnTo>
                    <a:pt x="122" y="296"/>
                  </a:lnTo>
                  <a:lnTo>
                    <a:pt x="124" y="300"/>
                  </a:lnTo>
                  <a:lnTo>
                    <a:pt x="127" y="302"/>
                  </a:lnTo>
                  <a:lnTo>
                    <a:pt x="131" y="302"/>
                  </a:lnTo>
                  <a:lnTo>
                    <a:pt x="151" y="303"/>
                  </a:lnTo>
                  <a:lnTo>
                    <a:pt x="172" y="305"/>
                  </a:lnTo>
                  <a:lnTo>
                    <a:pt x="179" y="298"/>
                  </a:lnTo>
                  <a:lnTo>
                    <a:pt x="181" y="289"/>
                  </a:lnTo>
                  <a:lnTo>
                    <a:pt x="187" y="296"/>
                  </a:lnTo>
                  <a:lnTo>
                    <a:pt x="192" y="302"/>
                  </a:lnTo>
                  <a:lnTo>
                    <a:pt x="194" y="298"/>
                  </a:lnTo>
                  <a:lnTo>
                    <a:pt x="198" y="296"/>
                  </a:lnTo>
                  <a:lnTo>
                    <a:pt x="199" y="294"/>
                  </a:lnTo>
                  <a:lnTo>
                    <a:pt x="205" y="294"/>
                  </a:lnTo>
                  <a:lnTo>
                    <a:pt x="212" y="294"/>
                  </a:lnTo>
                  <a:lnTo>
                    <a:pt x="222" y="298"/>
                  </a:lnTo>
                  <a:lnTo>
                    <a:pt x="231" y="305"/>
                  </a:lnTo>
                  <a:lnTo>
                    <a:pt x="240" y="311"/>
                  </a:lnTo>
                  <a:lnTo>
                    <a:pt x="246" y="318"/>
                  </a:lnTo>
                  <a:lnTo>
                    <a:pt x="251" y="326"/>
                  </a:lnTo>
                  <a:lnTo>
                    <a:pt x="251" y="328"/>
                  </a:lnTo>
                  <a:lnTo>
                    <a:pt x="262" y="322"/>
                  </a:lnTo>
                  <a:lnTo>
                    <a:pt x="273" y="318"/>
                  </a:lnTo>
                  <a:lnTo>
                    <a:pt x="264" y="305"/>
                  </a:lnTo>
                  <a:lnTo>
                    <a:pt x="253" y="289"/>
                  </a:lnTo>
                  <a:lnTo>
                    <a:pt x="260" y="283"/>
                  </a:lnTo>
                  <a:lnTo>
                    <a:pt x="268" y="281"/>
                  </a:lnTo>
                  <a:lnTo>
                    <a:pt x="275" y="279"/>
                  </a:lnTo>
                  <a:lnTo>
                    <a:pt x="283" y="279"/>
                  </a:lnTo>
                  <a:lnTo>
                    <a:pt x="297" y="276"/>
                  </a:lnTo>
                  <a:lnTo>
                    <a:pt x="310" y="274"/>
                  </a:lnTo>
                  <a:lnTo>
                    <a:pt x="325" y="272"/>
                  </a:lnTo>
                  <a:lnTo>
                    <a:pt x="342" y="272"/>
                  </a:lnTo>
                  <a:lnTo>
                    <a:pt x="360" y="254"/>
                  </a:lnTo>
                  <a:lnTo>
                    <a:pt x="373" y="237"/>
                  </a:lnTo>
                  <a:lnTo>
                    <a:pt x="382" y="237"/>
                  </a:lnTo>
                  <a:lnTo>
                    <a:pt x="393" y="241"/>
                  </a:lnTo>
                  <a:lnTo>
                    <a:pt x="399" y="239"/>
                  </a:lnTo>
                  <a:lnTo>
                    <a:pt x="405" y="235"/>
                  </a:lnTo>
                  <a:lnTo>
                    <a:pt x="410" y="231"/>
                  </a:lnTo>
                  <a:lnTo>
                    <a:pt x="414" y="228"/>
                  </a:lnTo>
                  <a:lnTo>
                    <a:pt x="417" y="217"/>
                  </a:lnTo>
                  <a:lnTo>
                    <a:pt x="421" y="207"/>
                  </a:lnTo>
                  <a:lnTo>
                    <a:pt x="432" y="207"/>
                  </a:lnTo>
                  <a:lnTo>
                    <a:pt x="441" y="209"/>
                  </a:lnTo>
                  <a:lnTo>
                    <a:pt x="441" y="207"/>
                  </a:lnTo>
                  <a:lnTo>
                    <a:pt x="440" y="206"/>
                  </a:lnTo>
                  <a:lnTo>
                    <a:pt x="434" y="200"/>
                  </a:lnTo>
                  <a:lnTo>
                    <a:pt x="429" y="191"/>
                  </a:lnTo>
                  <a:lnTo>
                    <a:pt x="434" y="180"/>
                  </a:lnTo>
                  <a:lnTo>
                    <a:pt x="440" y="174"/>
                  </a:lnTo>
                  <a:lnTo>
                    <a:pt x="432" y="167"/>
                  </a:lnTo>
                  <a:lnTo>
                    <a:pt x="427" y="159"/>
                  </a:lnTo>
                  <a:lnTo>
                    <a:pt x="436" y="154"/>
                  </a:lnTo>
                  <a:lnTo>
                    <a:pt x="445" y="148"/>
                  </a:lnTo>
                  <a:lnTo>
                    <a:pt x="436" y="141"/>
                  </a:lnTo>
                  <a:lnTo>
                    <a:pt x="425" y="132"/>
                  </a:lnTo>
                  <a:lnTo>
                    <a:pt x="425" y="122"/>
                  </a:lnTo>
                  <a:lnTo>
                    <a:pt x="425" y="111"/>
                  </a:lnTo>
                  <a:lnTo>
                    <a:pt x="416" y="106"/>
                  </a:lnTo>
                  <a:lnTo>
                    <a:pt x="408" y="98"/>
                  </a:lnTo>
                  <a:lnTo>
                    <a:pt x="405" y="82"/>
                  </a:lnTo>
                  <a:lnTo>
                    <a:pt x="397" y="69"/>
                  </a:lnTo>
                  <a:lnTo>
                    <a:pt x="388" y="61"/>
                  </a:lnTo>
                  <a:lnTo>
                    <a:pt x="379" y="54"/>
                  </a:lnTo>
                  <a:lnTo>
                    <a:pt x="373" y="47"/>
                  </a:lnTo>
                  <a:lnTo>
                    <a:pt x="368" y="39"/>
                  </a:lnTo>
                  <a:lnTo>
                    <a:pt x="366" y="37"/>
                  </a:lnTo>
                  <a:lnTo>
                    <a:pt x="366" y="36"/>
                  </a:lnTo>
                  <a:lnTo>
                    <a:pt x="364" y="36"/>
                  </a:lnTo>
                  <a:lnTo>
                    <a:pt x="360" y="37"/>
                  </a:lnTo>
                  <a:lnTo>
                    <a:pt x="356" y="43"/>
                  </a:lnTo>
                  <a:lnTo>
                    <a:pt x="349" y="47"/>
                  </a:lnTo>
                  <a:lnTo>
                    <a:pt x="344" y="50"/>
                  </a:lnTo>
                  <a:lnTo>
                    <a:pt x="336" y="54"/>
                  </a:lnTo>
                  <a:lnTo>
                    <a:pt x="325" y="54"/>
                  </a:lnTo>
                  <a:lnTo>
                    <a:pt x="316" y="56"/>
                  </a:lnTo>
                  <a:lnTo>
                    <a:pt x="305" y="48"/>
                  </a:lnTo>
                  <a:lnTo>
                    <a:pt x="292" y="45"/>
                  </a:lnTo>
                  <a:lnTo>
                    <a:pt x="284" y="48"/>
                  </a:lnTo>
                  <a:lnTo>
                    <a:pt x="275" y="54"/>
                  </a:lnTo>
                  <a:lnTo>
                    <a:pt x="270" y="50"/>
                  </a:lnTo>
                  <a:lnTo>
                    <a:pt x="262" y="48"/>
                  </a:lnTo>
                  <a:lnTo>
                    <a:pt x="259" y="56"/>
                  </a:lnTo>
                  <a:lnTo>
                    <a:pt x="253" y="65"/>
                  </a:lnTo>
                  <a:lnTo>
                    <a:pt x="247" y="65"/>
                  </a:lnTo>
                  <a:lnTo>
                    <a:pt x="240" y="65"/>
                  </a:lnTo>
                  <a:lnTo>
                    <a:pt x="240" y="71"/>
                  </a:lnTo>
                  <a:lnTo>
                    <a:pt x="238" y="74"/>
                  </a:lnTo>
                  <a:lnTo>
                    <a:pt x="236" y="78"/>
                  </a:lnTo>
                  <a:lnTo>
                    <a:pt x="233" y="82"/>
                  </a:lnTo>
                  <a:lnTo>
                    <a:pt x="225" y="87"/>
                  </a:lnTo>
                  <a:lnTo>
                    <a:pt x="216" y="91"/>
                  </a:lnTo>
                  <a:lnTo>
                    <a:pt x="212" y="84"/>
                  </a:lnTo>
                  <a:lnTo>
                    <a:pt x="209" y="74"/>
                  </a:lnTo>
                  <a:lnTo>
                    <a:pt x="207" y="69"/>
                  </a:lnTo>
                  <a:lnTo>
                    <a:pt x="211" y="65"/>
                  </a:lnTo>
                  <a:lnTo>
                    <a:pt x="214" y="60"/>
                  </a:lnTo>
                  <a:lnTo>
                    <a:pt x="218" y="54"/>
                  </a:lnTo>
                  <a:lnTo>
                    <a:pt x="218" y="48"/>
                  </a:lnTo>
                  <a:lnTo>
                    <a:pt x="216" y="45"/>
                  </a:lnTo>
                  <a:lnTo>
                    <a:pt x="212" y="41"/>
                  </a:lnTo>
                  <a:lnTo>
                    <a:pt x="209" y="39"/>
                  </a:lnTo>
                  <a:lnTo>
                    <a:pt x="196" y="30"/>
                  </a:lnTo>
                  <a:lnTo>
                    <a:pt x="185" y="21"/>
                  </a:lnTo>
                  <a:lnTo>
                    <a:pt x="179" y="10"/>
                  </a:lnTo>
                  <a:lnTo>
                    <a:pt x="177" y="0"/>
                  </a:lnTo>
                  <a:lnTo>
                    <a:pt x="170" y="4"/>
                  </a:lnTo>
                  <a:lnTo>
                    <a:pt x="157" y="12"/>
                  </a:lnTo>
                  <a:lnTo>
                    <a:pt x="142" y="12"/>
                  </a:lnTo>
                  <a:lnTo>
                    <a:pt x="127" y="12"/>
                  </a:lnTo>
                  <a:lnTo>
                    <a:pt x="113" y="17"/>
                  </a:lnTo>
                  <a:lnTo>
                    <a:pt x="96" y="21"/>
                  </a:lnTo>
                  <a:lnTo>
                    <a:pt x="78" y="19"/>
                  </a:lnTo>
                  <a:lnTo>
                    <a:pt x="59" y="17"/>
                  </a:lnTo>
                  <a:lnTo>
                    <a:pt x="44" y="21"/>
                  </a:lnTo>
                  <a:lnTo>
                    <a:pt x="30" y="28"/>
                  </a:lnTo>
                  <a:lnTo>
                    <a:pt x="17" y="19"/>
                  </a:lnTo>
                  <a:lnTo>
                    <a:pt x="9" y="12"/>
                  </a:lnTo>
                  <a:lnTo>
                    <a:pt x="5" y="21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1" name="Freeform 32"/>
            <p:cNvSpPr>
              <a:spLocks/>
            </p:cNvSpPr>
            <p:nvPr/>
          </p:nvSpPr>
          <p:spPr bwMode="auto">
            <a:xfrm>
              <a:off x="5177363" y="1923563"/>
              <a:ext cx="9914" cy="3562"/>
            </a:xfrm>
            <a:custGeom>
              <a:avLst/>
              <a:gdLst>
                <a:gd name="T0" fmla="*/ 0 w 19"/>
                <a:gd name="T1" fmla="*/ 3 h 7"/>
                <a:gd name="T2" fmla="*/ 4 w 19"/>
                <a:gd name="T3" fmla="*/ 2 h 7"/>
                <a:gd name="T4" fmla="*/ 9 w 19"/>
                <a:gd name="T5" fmla="*/ 0 h 7"/>
                <a:gd name="T6" fmla="*/ 15 w 19"/>
                <a:gd name="T7" fmla="*/ 2 h 7"/>
                <a:gd name="T8" fmla="*/ 19 w 19"/>
                <a:gd name="T9" fmla="*/ 3 h 7"/>
                <a:gd name="T10" fmla="*/ 15 w 19"/>
                <a:gd name="T11" fmla="*/ 7 h 7"/>
                <a:gd name="T12" fmla="*/ 8 w 19"/>
                <a:gd name="T13" fmla="*/ 7 h 7"/>
                <a:gd name="T14" fmla="*/ 2 w 19"/>
                <a:gd name="T15" fmla="*/ 5 h 7"/>
                <a:gd name="T16" fmla="*/ 0 w 19"/>
                <a:gd name="T17" fmla="*/ 3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7"/>
                <a:gd name="T29" fmla="*/ 19 w 19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7">
                  <a:moveTo>
                    <a:pt x="0" y="3"/>
                  </a:moveTo>
                  <a:lnTo>
                    <a:pt x="4" y="2"/>
                  </a:lnTo>
                  <a:lnTo>
                    <a:pt x="9" y="0"/>
                  </a:lnTo>
                  <a:lnTo>
                    <a:pt x="15" y="2"/>
                  </a:lnTo>
                  <a:lnTo>
                    <a:pt x="19" y="3"/>
                  </a:lnTo>
                  <a:lnTo>
                    <a:pt x="15" y="7"/>
                  </a:lnTo>
                  <a:lnTo>
                    <a:pt x="8" y="7"/>
                  </a:lnTo>
                  <a:lnTo>
                    <a:pt x="2" y="5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2" name="Freeform 33"/>
            <p:cNvSpPr>
              <a:spLocks noEditPoints="1"/>
            </p:cNvSpPr>
            <p:nvPr/>
          </p:nvSpPr>
          <p:spPr bwMode="auto">
            <a:xfrm>
              <a:off x="4946209" y="1702699"/>
              <a:ext cx="350644" cy="327224"/>
            </a:xfrm>
            <a:custGeom>
              <a:avLst/>
              <a:gdLst>
                <a:gd name="T0" fmla="*/ 140 w 672"/>
                <a:gd name="T1" fmla="*/ 401 h 643"/>
                <a:gd name="T2" fmla="*/ 137 w 672"/>
                <a:gd name="T3" fmla="*/ 434 h 643"/>
                <a:gd name="T4" fmla="*/ 168 w 672"/>
                <a:gd name="T5" fmla="*/ 397 h 643"/>
                <a:gd name="T6" fmla="*/ 157 w 672"/>
                <a:gd name="T7" fmla="*/ 395 h 643"/>
                <a:gd name="T8" fmla="*/ 135 w 672"/>
                <a:gd name="T9" fmla="*/ 552 h 643"/>
                <a:gd name="T10" fmla="*/ 129 w 672"/>
                <a:gd name="T11" fmla="*/ 548 h 643"/>
                <a:gd name="T12" fmla="*/ 155 w 672"/>
                <a:gd name="T13" fmla="*/ 561 h 643"/>
                <a:gd name="T14" fmla="*/ 192 w 672"/>
                <a:gd name="T15" fmla="*/ 558 h 643"/>
                <a:gd name="T16" fmla="*/ 183 w 672"/>
                <a:gd name="T17" fmla="*/ 559 h 643"/>
                <a:gd name="T18" fmla="*/ 192 w 672"/>
                <a:gd name="T19" fmla="*/ 537 h 643"/>
                <a:gd name="T20" fmla="*/ 7 w 672"/>
                <a:gd name="T21" fmla="*/ 602 h 643"/>
                <a:gd name="T22" fmla="*/ 18 w 672"/>
                <a:gd name="T23" fmla="*/ 609 h 643"/>
                <a:gd name="T24" fmla="*/ 4 w 672"/>
                <a:gd name="T25" fmla="*/ 639 h 643"/>
                <a:gd name="T26" fmla="*/ 669 w 672"/>
                <a:gd name="T27" fmla="*/ 334 h 643"/>
                <a:gd name="T28" fmla="*/ 672 w 672"/>
                <a:gd name="T29" fmla="*/ 332 h 643"/>
                <a:gd name="T30" fmla="*/ 648 w 672"/>
                <a:gd name="T31" fmla="*/ 321 h 643"/>
                <a:gd name="T32" fmla="*/ 451 w 672"/>
                <a:gd name="T33" fmla="*/ 426 h 643"/>
                <a:gd name="T34" fmla="*/ 425 w 672"/>
                <a:gd name="T35" fmla="*/ 415 h 643"/>
                <a:gd name="T36" fmla="*/ 425 w 672"/>
                <a:gd name="T37" fmla="*/ 425 h 643"/>
                <a:gd name="T38" fmla="*/ 403 w 672"/>
                <a:gd name="T39" fmla="*/ 419 h 643"/>
                <a:gd name="T40" fmla="*/ 395 w 672"/>
                <a:gd name="T41" fmla="*/ 397 h 643"/>
                <a:gd name="T42" fmla="*/ 421 w 672"/>
                <a:gd name="T43" fmla="*/ 393 h 643"/>
                <a:gd name="T44" fmla="*/ 436 w 672"/>
                <a:gd name="T45" fmla="*/ 384 h 643"/>
                <a:gd name="T46" fmla="*/ 430 w 672"/>
                <a:gd name="T47" fmla="*/ 388 h 643"/>
                <a:gd name="T48" fmla="*/ 452 w 672"/>
                <a:gd name="T49" fmla="*/ 367 h 643"/>
                <a:gd name="T50" fmla="*/ 436 w 672"/>
                <a:gd name="T51" fmla="*/ 345 h 643"/>
                <a:gd name="T52" fmla="*/ 427 w 672"/>
                <a:gd name="T53" fmla="*/ 362 h 643"/>
                <a:gd name="T54" fmla="*/ 301 w 672"/>
                <a:gd name="T55" fmla="*/ 328 h 643"/>
                <a:gd name="T56" fmla="*/ 401 w 672"/>
                <a:gd name="T57" fmla="*/ 57 h 643"/>
                <a:gd name="T58" fmla="*/ 438 w 672"/>
                <a:gd name="T59" fmla="*/ 22 h 643"/>
                <a:gd name="T60" fmla="*/ 464 w 672"/>
                <a:gd name="T61" fmla="*/ 1 h 643"/>
                <a:gd name="T62" fmla="*/ 488 w 672"/>
                <a:gd name="T63" fmla="*/ 48 h 643"/>
                <a:gd name="T64" fmla="*/ 476 w 672"/>
                <a:gd name="T65" fmla="*/ 88 h 643"/>
                <a:gd name="T66" fmla="*/ 415 w 672"/>
                <a:gd name="T67" fmla="*/ 107 h 643"/>
                <a:gd name="T68" fmla="*/ 397 w 672"/>
                <a:gd name="T69" fmla="*/ 81 h 643"/>
                <a:gd name="T70" fmla="*/ 438 w 672"/>
                <a:gd name="T71" fmla="*/ 107 h 643"/>
                <a:gd name="T72" fmla="*/ 482 w 672"/>
                <a:gd name="T73" fmla="*/ 109 h 643"/>
                <a:gd name="T74" fmla="*/ 486 w 672"/>
                <a:gd name="T75" fmla="*/ 121 h 643"/>
                <a:gd name="T76" fmla="*/ 523 w 672"/>
                <a:gd name="T77" fmla="*/ 151 h 643"/>
                <a:gd name="T78" fmla="*/ 510 w 672"/>
                <a:gd name="T79" fmla="*/ 179 h 643"/>
                <a:gd name="T80" fmla="*/ 486 w 672"/>
                <a:gd name="T81" fmla="*/ 218 h 643"/>
                <a:gd name="T82" fmla="*/ 447 w 672"/>
                <a:gd name="T83" fmla="*/ 197 h 643"/>
                <a:gd name="T84" fmla="*/ 417 w 672"/>
                <a:gd name="T85" fmla="*/ 153 h 643"/>
                <a:gd name="T86" fmla="*/ 430 w 672"/>
                <a:gd name="T87" fmla="*/ 125 h 643"/>
                <a:gd name="T88" fmla="*/ 414 w 672"/>
                <a:gd name="T89" fmla="*/ 120 h 643"/>
                <a:gd name="T90" fmla="*/ 384 w 672"/>
                <a:gd name="T91" fmla="*/ 125 h 643"/>
                <a:gd name="T92" fmla="*/ 539 w 672"/>
                <a:gd name="T93" fmla="*/ 199 h 643"/>
                <a:gd name="T94" fmla="*/ 556 w 672"/>
                <a:gd name="T95" fmla="*/ 171 h 643"/>
                <a:gd name="T96" fmla="*/ 578 w 672"/>
                <a:gd name="T97" fmla="*/ 166 h 643"/>
                <a:gd name="T98" fmla="*/ 595 w 672"/>
                <a:gd name="T99" fmla="*/ 182 h 643"/>
                <a:gd name="T100" fmla="*/ 619 w 672"/>
                <a:gd name="T101" fmla="*/ 208 h 643"/>
                <a:gd name="T102" fmla="*/ 608 w 672"/>
                <a:gd name="T103" fmla="*/ 251 h 643"/>
                <a:gd name="T104" fmla="*/ 539 w 672"/>
                <a:gd name="T105" fmla="*/ 275 h 643"/>
                <a:gd name="T106" fmla="*/ 512 w 672"/>
                <a:gd name="T107" fmla="*/ 264 h 643"/>
                <a:gd name="T108" fmla="*/ 367 w 672"/>
                <a:gd name="T109" fmla="*/ 136 h 643"/>
                <a:gd name="T110" fmla="*/ 373 w 672"/>
                <a:gd name="T111" fmla="*/ 146 h 643"/>
                <a:gd name="T112" fmla="*/ 382 w 672"/>
                <a:gd name="T113" fmla="*/ 127 h 643"/>
                <a:gd name="T114" fmla="*/ 384 w 672"/>
                <a:gd name="T115" fmla="*/ 147 h 643"/>
                <a:gd name="T116" fmla="*/ 384 w 672"/>
                <a:gd name="T117" fmla="*/ 147 h 643"/>
                <a:gd name="T118" fmla="*/ 393 w 672"/>
                <a:gd name="T119" fmla="*/ 153 h 643"/>
                <a:gd name="T120" fmla="*/ 488 w 672"/>
                <a:gd name="T121" fmla="*/ 61 h 643"/>
                <a:gd name="T122" fmla="*/ 419 w 672"/>
                <a:gd name="T123" fmla="*/ 7 h 64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2"/>
                <a:gd name="T187" fmla="*/ 0 h 643"/>
                <a:gd name="T188" fmla="*/ 672 w 672"/>
                <a:gd name="T189" fmla="*/ 643 h 64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2" h="643">
                  <a:moveTo>
                    <a:pt x="140" y="395"/>
                  </a:moveTo>
                  <a:lnTo>
                    <a:pt x="142" y="395"/>
                  </a:lnTo>
                  <a:lnTo>
                    <a:pt x="142" y="393"/>
                  </a:lnTo>
                  <a:lnTo>
                    <a:pt x="144" y="393"/>
                  </a:lnTo>
                  <a:lnTo>
                    <a:pt x="146" y="393"/>
                  </a:lnTo>
                  <a:lnTo>
                    <a:pt x="146" y="395"/>
                  </a:lnTo>
                  <a:lnTo>
                    <a:pt x="148" y="395"/>
                  </a:lnTo>
                  <a:lnTo>
                    <a:pt x="148" y="397"/>
                  </a:lnTo>
                  <a:lnTo>
                    <a:pt x="149" y="397"/>
                  </a:lnTo>
                  <a:lnTo>
                    <a:pt x="149" y="401"/>
                  </a:lnTo>
                  <a:lnTo>
                    <a:pt x="151" y="402"/>
                  </a:lnTo>
                  <a:lnTo>
                    <a:pt x="151" y="404"/>
                  </a:lnTo>
                  <a:lnTo>
                    <a:pt x="151" y="406"/>
                  </a:lnTo>
                  <a:lnTo>
                    <a:pt x="151" y="408"/>
                  </a:lnTo>
                  <a:lnTo>
                    <a:pt x="149" y="410"/>
                  </a:lnTo>
                  <a:lnTo>
                    <a:pt x="146" y="408"/>
                  </a:lnTo>
                  <a:lnTo>
                    <a:pt x="144" y="406"/>
                  </a:lnTo>
                  <a:lnTo>
                    <a:pt x="142" y="404"/>
                  </a:lnTo>
                  <a:lnTo>
                    <a:pt x="140" y="402"/>
                  </a:lnTo>
                  <a:lnTo>
                    <a:pt x="140" y="401"/>
                  </a:lnTo>
                  <a:lnTo>
                    <a:pt x="140" y="399"/>
                  </a:lnTo>
                  <a:lnTo>
                    <a:pt x="140" y="397"/>
                  </a:lnTo>
                  <a:lnTo>
                    <a:pt x="140" y="395"/>
                  </a:lnTo>
                  <a:close/>
                  <a:moveTo>
                    <a:pt x="142" y="449"/>
                  </a:moveTo>
                  <a:lnTo>
                    <a:pt x="142" y="450"/>
                  </a:lnTo>
                  <a:lnTo>
                    <a:pt x="140" y="452"/>
                  </a:lnTo>
                  <a:lnTo>
                    <a:pt x="135" y="454"/>
                  </a:lnTo>
                  <a:lnTo>
                    <a:pt x="129" y="454"/>
                  </a:lnTo>
                  <a:lnTo>
                    <a:pt x="127" y="452"/>
                  </a:lnTo>
                  <a:lnTo>
                    <a:pt x="125" y="452"/>
                  </a:lnTo>
                  <a:lnTo>
                    <a:pt x="124" y="452"/>
                  </a:lnTo>
                  <a:lnTo>
                    <a:pt x="124" y="450"/>
                  </a:lnTo>
                  <a:lnTo>
                    <a:pt x="122" y="450"/>
                  </a:lnTo>
                  <a:lnTo>
                    <a:pt x="122" y="449"/>
                  </a:lnTo>
                  <a:lnTo>
                    <a:pt x="122" y="447"/>
                  </a:lnTo>
                  <a:lnTo>
                    <a:pt x="122" y="445"/>
                  </a:lnTo>
                  <a:lnTo>
                    <a:pt x="124" y="443"/>
                  </a:lnTo>
                  <a:lnTo>
                    <a:pt x="124" y="441"/>
                  </a:lnTo>
                  <a:lnTo>
                    <a:pt x="125" y="441"/>
                  </a:lnTo>
                  <a:lnTo>
                    <a:pt x="127" y="439"/>
                  </a:lnTo>
                  <a:lnTo>
                    <a:pt x="129" y="437"/>
                  </a:lnTo>
                  <a:lnTo>
                    <a:pt x="133" y="436"/>
                  </a:lnTo>
                  <a:lnTo>
                    <a:pt x="137" y="434"/>
                  </a:lnTo>
                  <a:lnTo>
                    <a:pt x="138" y="434"/>
                  </a:lnTo>
                  <a:lnTo>
                    <a:pt x="140" y="432"/>
                  </a:lnTo>
                  <a:lnTo>
                    <a:pt x="142" y="432"/>
                  </a:lnTo>
                  <a:lnTo>
                    <a:pt x="144" y="432"/>
                  </a:lnTo>
                  <a:lnTo>
                    <a:pt x="144" y="434"/>
                  </a:lnTo>
                  <a:lnTo>
                    <a:pt x="146" y="434"/>
                  </a:lnTo>
                  <a:lnTo>
                    <a:pt x="146" y="436"/>
                  </a:lnTo>
                  <a:lnTo>
                    <a:pt x="146" y="437"/>
                  </a:lnTo>
                  <a:lnTo>
                    <a:pt x="146" y="439"/>
                  </a:lnTo>
                  <a:lnTo>
                    <a:pt x="146" y="441"/>
                  </a:lnTo>
                  <a:lnTo>
                    <a:pt x="144" y="443"/>
                  </a:lnTo>
                  <a:lnTo>
                    <a:pt x="142" y="445"/>
                  </a:lnTo>
                  <a:lnTo>
                    <a:pt x="142" y="447"/>
                  </a:lnTo>
                  <a:lnTo>
                    <a:pt x="142" y="449"/>
                  </a:lnTo>
                  <a:close/>
                  <a:moveTo>
                    <a:pt x="159" y="391"/>
                  </a:moveTo>
                  <a:lnTo>
                    <a:pt x="161" y="389"/>
                  </a:lnTo>
                  <a:lnTo>
                    <a:pt x="162" y="391"/>
                  </a:lnTo>
                  <a:lnTo>
                    <a:pt x="164" y="391"/>
                  </a:lnTo>
                  <a:lnTo>
                    <a:pt x="166" y="391"/>
                  </a:lnTo>
                  <a:lnTo>
                    <a:pt x="166" y="393"/>
                  </a:lnTo>
                  <a:lnTo>
                    <a:pt x="168" y="395"/>
                  </a:lnTo>
                  <a:lnTo>
                    <a:pt x="168" y="397"/>
                  </a:lnTo>
                  <a:lnTo>
                    <a:pt x="170" y="397"/>
                  </a:lnTo>
                  <a:lnTo>
                    <a:pt x="172" y="397"/>
                  </a:lnTo>
                  <a:lnTo>
                    <a:pt x="173" y="397"/>
                  </a:lnTo>
                  <a:lnTo>
                    <a:pt x="175" y="399"/>
                  </a:lnTo>
                  <a:lnTo>
                    <a:pt x="175" y="401"/>
                  </a:lnTo>
                  <a:lnTo>
                    <a:pt x="177" y="401"/>
                  </a:lnTo>
                  <a:lnTo>
                    <a:pt x="177" y="402"/>
                  </a:lnTo>
                  <a:lnTo>
                    <a:pt x="177" y="404"/>
                  </a:lnTo>
                  <a:lnTo>
                    <a:pt x="177" y="406"/>
                  </a:lnTo>
                  <a:lnTo>
                    <a:pt x="177" y="410"/>
                  </a:lnTo>
                  <a:lnTo>
                    <a:pt x="177" y="412"/>
                  </a:lnTo>
                  <a:lnTo>
                    <a:pt x="175" y="412"/>
                  </a:lnTo>
                  <a:lnTo>
                    <a:pt x="173" y="412"/>
                  </a:lnTo>
                  <a:lnTo>
                    <a:pt x="172" y="410"/>
                  </a:lnTo>
                  <a:lnTo>
                    <a:pt x="170" y="410"/>
                  </a:lnTo>
                  <a:lnTo>
                    <a:pt x="168" y="408"/>
                  </a:lnTo>
                  <a:lnTo>
                    <a:pt x="166" y="408"/>
                  </a:lnTo>
                  <a:lnTo>
                    <a:pt x="166" y="406"/>
                  </a:lnTo>
                  <a:lnTo>
                    <a:pt x="161" y="401"/>
                  </a:lnTo>
                  <a:lnTo>
                    <a:pt x="157" y="395"/>
                  </a:lnTo>
                  <a:lnTo>
                    <a:pt x="155" y="391"/>
                  </a:lnTo>
                  <a:lnTo>
                    <a:pt x="157" y="391"/>
                  </a:lnTo>
                  <a:lnTo>
                    <a:pt x="159" y="391"/>
                  </a:lnTo>
                  <a:close/>
                  <a:moveTo>
                    <a:pt x="137" y="548"/>
                  </a:moveTo>
                  <a:lnTo>
                    <a:pt x="138" y="546"/>
                  </a:lnTo>
                  <a:lnTo>
                    <a:pt x="140" y="546"/>
                  </a:lnTo>
                  <a:lnTo>
                    <a:pt x="142" y="546"/>
                  </a:lnTo>
                  <a:lnTo>
                    <a:pt x="142" y="548"/>
                  </a:lnTo>
                  <a:lnTo>
                    <a:pt x="144" y="548"/>
                  </a:lnTo>
                  <a:lnTo>
                    <a:pt x="146" y="548"/>
                  </a:lnTo>
                  <a:lnTo>
                    <a:pt x="146" y="550"/>
                  </a:lnTo>
                  <a:lnTo>
                    <a:pt x="148" y="550"/>
                  </a:lnTo>
                  <a:lnTo>
                    <a:pt x="148" y="552"/>
                  </a:lnTo>
                  <a:lnTo>
                    <a:pt x="148" y="554"/>
                  </a:lnTo>
                  <a:lnTo>
                    <a:pt x="148" y="556"/>
                  </a:lnTo>
                  <a:lnTo>
                    <a:pt x="149" y="558"/>
                  </a:lnTo>
                  <a:lnTo>
                    <a:pt x="144" y="558"/>
                  </a:lnTo>
                  <a:lnTo>
                    <a:pt x="142" y="558"/>
                  </a:lnTo>
                  <a:lnTo>
                    <a:pt x="138" y="556"/>
                  </a:lnTo>
                  <a:lnTo>
                    <a:pt x="137" y="556"/>
                  </a:lnTo>
                  <a:lnTo>
                    <a:pt x="137" y="554"/>
                  </a:lnTo>
                  <a:lnTo>
                    <a:pt x="135" y="554"/>
                  </a:lnTo>
                  <a:lnTo>
                    <a:pt x="135" y="552"/>
                  </a:lnTo>
                  <a:lnTo>
                    <a:pt x="135" y="550"/>
                  </a:lnTo>
                  <a:lnTo>
                    <a:pt x="137" y="550"/>
                  </a:lnTo>
                  <a:lnTo>
                    <a:pt x="137" y="548"/>
                  </a:lnTo>
                  <a:close/>
                  <a:moveTo>
                    <a:pt x="114" y="550"/>
                  </a:moveTo>
                  <a:lnTo>
                    <a:pt x="114" y="550"/>
                  </a:lnTo>
                  <a:lnTo>
                    <a:pt x="114" y="548"/>
                  </a:lnTo>
                  <a:lnTo>
                    <a:pt x="114" y="546"/>
                  </a:lnTo>
                  <a:lnTo>
                    <a:pt x="116" y="546"/>
                  </a:lnTo>
                  <a:lnTo>
                    <a:pt x="116" y="545"/>
                  </a:lnTo>
                  <a:lnTo>
                    <a:pt x="118" y="545"/>
                  </a:lnTo>
                  <a:lnTo>
                    <a:pt x="120" y="545"/>
                  </a:lnTo>
                  <a:lnTo>
                    <a:pt x="122" y="545"/>
                  </a:lnTo>
                  <a:lnTo>
                    <a:pt x="124" y="546"/>
                  </a:lnTo>
                  <a:lnTo>
                    <a:pt x="125" y="546"/>
                  </a:lnTo>
                  <a:lnTo>
                    <a:pt x="127" y="548"/>
                  </a:lnTo>
                  <a:lnTo>
                    <a:pt x="129" y="548"/>
                  </a:lnTo>
                  <a:lnTo>
                    <a:pt x="131" y="550"/>
                  </a:lnTo>
                  <a:lnTo>
                    <a:pt x="129" y="552"/>
                  </a:lnTo>
                  <a:lnTo>
                    <a:pt x="127" y="554"/>
                  </a:lnTo>
                  <a:lnTo>
                    <a:pt x="125" y="554"/>
                  </a:lnTo>
                  <a:lnTo>
                    <a:pt x="124" y="554"/>
                  </a:lnTo>
                  <a:lnTo>
                    <a:pt x="122" y="554"/>
                  </a:lnTo>
                  <a:lnTo>
                    <a:pt x="120" y="554"/>
                  </a:lnTo>
                  <a:lnTo>
                    <a:pt x="118" y="554"/>
                  </a:lnTo>
                  <a:lnTo>
                    <a:pt x="116" y="554"/>
                  </a:lnTo>
                  <a:lnTo>
                    <a:pt x="116" y="552"/>
                  </a:lnTo>
                  <a:lnTo>
                    <a:pt x="114" y="552"/>
                  </a:lnTo>
                  <a:lnTo>
                    <a:pt x="114" y="550"/>
                  </a:lnTo>
                  <a:close/>
                  <a:moveTo>
                    <a:pt x="153" y="572"/>
                  </a:moveTo>
                  <a:lnTo>
                    <a:pt x="151" y="571"/>
                  </a:lnTo>
                  <a:lnTo>
                    <a:pt x="151" y="569"/>
                  </a:lnTo>
                  <a:lnTo>
                    <a:pt x="151" y="567"/>
                  </a:lnTo>
                  <a:lnTo>
                    <a:pt x="153" y="565"/>
                  </a:lnTo>
                  <a:lnTo>
                    <a:pt x="153" y="563"/>
                  </a:lnTo>
                  <a:lnTo>
                    <a:pt x="155" y="563"/>
                  </a:lnTo>
                  <a:lnTo>
                    <a:pt x="155" y="561"/>
                  </a:lnTo>
                  <a:lnTo>
                    <a:pt x="157" y="561"/>
                  </a:lnTo>
                  <a:lnTo>
                    <a:pt x="159" y="561"/>
                  </a:lnTo>
                  <a:lnTo>
                    <a:pt x="161" y="561"/>
                  </a:lnTo>
                  <a:lnTo>
                    <a:pt x="162" y="563"/>
                  </a:lnTo>
                  <a:lnTo>
                    <a:pt x="162" y="565"/>
                  </a:lnTo>
                  <a:lnTo>
                    <a:pt x="162" y="567"/>
                  </a:lnTo>
                  <a:lnTo>
                    <a:pt x="161" y="569"/>
                  </a:lnTo>
                  <a:lnTo>
                    <a:pt x="161" y="571"/>
                  </a:lnTo>
                  <a:lnTo>
                    <a:pt x="159" y="571"/>
                  </a:lnTo>
                  <a:lnTo>
                    <a:pt x="159" y="572"/>
                  </a:lnTo>
                  <a:lnTo>
                    <a:pt x="157" y="572"/>
                  </a:lnTo>
                  <a:lnTo>
                    <a:pt x="155" y="572"/>
                  </a:lnTo>
                  <a:lnTo>
                    <a:pt x="153" y="572"/>
                  </a:lnTo>
                  <a:close/>
                  <a:moveTo>
                    <a:pt x="188" y="556"/>
                  </a:moveTo>
                  <a:lnTo>
                    <a:pt x="190" y="556"/>
                  </a:lnTo>
                  <a:lnTo>
                    <a:pt x="192" y="556"/>
                  </a:lnTo>
                  <a:lnTo>
                    <a:pt x="192" y="558"/>
                  </a:lnTo>
                  <a:lnTo>
                    <a:pt x="194" y="559"/>
                  </a:lnTo>
                  <a:lnTo>
                    <a:pt x="194" y="561"/>
                  </a:lnTo>
                  <a:lnTo>
                    <a:pt x="194" y="563"/>
                  </a:lnTo>
                  <a:lnTo>
                    <a:pt x="192" y="565"/>
                  </a:lnTo>
                  <a:lnTo>
                    <a:pt x="192" y="567"/>
                  </a:lnTo>
                  <a:lnTo>
                    <a:pt x="190" y="567"/>
                  </a:lnTo>
                  <a:lnTo>
                    <a:pt x="188" y="567"/>
                  </a:lnTo>
                  <a:lnTo>
                    <a:pt x="186" y="567"/>
                  </a:lnTo>
                  <a:lnTo>
                    <a:pt x="185" y="567"/>
                  </a:lnTo>
                  <a:lnTo>
                    <a:pt x="185" y="565"/>
                  </a:lnTo>
                  <a:lnTo>
                    <a:pt x="183" y="565"/>
                  </a:lnTo>
                  <a:lnTo>
                    <a:pt x="183" y="563"/>
                  </a:lnTo>
                  <a:lnTo>
                    <a:pt x="183" y="561"/>
                  </a:lnTo>
                  <a:lnTo>
                    <a:pt x="183" y="559"/>
                  </a:lnTo>
                  <a:lnTo>
                    <a:pt x="183" y="558"/>
                  </a:lnTo>
                  <a:lnTo>
                    <a:pt x="185" y="558"/>
                  </a:lnTo>
                  <a:lnTo>
                    <a:pt x="185" y="556"/>
                  </a:lnTo>
                  <a:lnTo>
                    <a:pt x="186" y="556"/>
                  </a:lnTo>
                  <a:lnTo>
                    <a:pt x="188" y="556"/>
                  </a:lnTo>
                  <a:close/>
                  <a:moveTo>
                    <a:pt x="188" y="528"/>
                  </a:moveTo>
                  <a:lnTo>
                    <a:pt x="190" y="528"/>
                  </a:lnTo>
                  <a:lnTo>
                    <a:pt x="192" y="528"/>
                  </a:lnTo>
                  <a:lnTo>
                    <a:pt x="192" y="530"/>
                  </a:lnTo>
                  <a:lnTo>
                    <a:pt x="194" y="530"/>
                  </a:lnTo>
                  <a:lnTo>
                    <a:pt x="194" y="532"/>
                  </a:lnTo>
                  <a:lnTo>
                    <a:pt x="194" y="534"/>
                  </a:lnTo>
                  <a:lnTo>
                    <a:pt x="194" y="535"/>
                  </a:lnTo>
                  <a:lnTo>
                    <a:pt x="192" y="535"/>
                  </a:lnTo>
                  <a:lnTo>
                    <a:pt x="192" y="537"/>
                  </a:lnTo>
                  <a:lnTo>
                    <a:pt x="190" y="537"/>
                  </a:lnTo>
                  <a:lnTo>
                    <a:pt x="188" y="537"/>
                  </a:lnTo>
                  <a:lnTo>
                    <a:pt x="186" y="537"/>
                  </a:lnTo>
                  <a:lnTo>
                    <a:pt x="186" y="535"/>
                  </a:lnTo>
                  <a:lnTo>
                    <a:pt x="185" y="535"/>
                  </a:lnTo>
                  <a:lnTo>
                    <a:pt x="185" y="534"/>
                  </a:lnTo>
                  <a:lnTo>
                    <a:pt x="185" y="532"/>
                  </a:lnTo>
                  <a:lnTo>
                    <a:pt x="185" y="530"/>
                  </a:lnTo>
                  <a:lnTo>
                    <a:pt x="186" y="528"/>
                  </a:lnTo>
                  <a:lnTo>
                    <a:pt x="188" y="528"/>
                  </a:lnTo>
                  <a:close/>
                  <a:moveTo>
                    <a:pt x="7" y="602"/>
                  </a:moveTo>
                  <a:lnTo>
                    <a:pt x="7" y="602"/>
                  </a:lnTo>
                  <a:lnTo>
                    <a:pt x="7" y="600"/>
                  </a:lnTo>
                  <a:lnTo>
                    <a:pt x="9" y="598"/>
                  </a:lnTo>
                  <a:lnTo>
                    <a:pt x="9" y="596"/>
                  </a:lnTo>
                  <a:lnTo>
                    <a:pt x="9" y="595"/>
                  </a:lnTo>
                  <a:lnTo>
                    <a:pt x="11" y="595"/>
                  </a:lnTo>
                  <a:lnTo>
                    <a:pt x="13" y="593"/>
                  </a:lnTo>
                  <a:lnTo>
                    <a:pt x="15" y="593"/>
                  </a:lnTo>
                  <a:lnTo>
                    <a:pt x="16" y="593"/>
                  </a:lnTo>
                  <a:lnTo>
                    <a:pt x="18" y="593"/>
                  </a:lnTo>
                  <a:lnTo>
                    <a:pt x="20" y="595"/>
                  </a:lnTo>
                  <a:lnTo>
                    <a:pt x="20" y="596"/>
                  </a:lnTo>
                  <a:lnTo>
                    <a:pt x="20" y="598"/>
                  </a:lnTo>
                  <a:lnTo>
                    <a:pt x="20" y="600"/>
                  </a:lnTo>
                  <a:lnTo>
                    <a:pt x="18" y="600"/>
                  </a:lnTo>
                  <a:lnTo>
                    <a:pt x="18" y="602"/>
                  </a:lnTo>
                  <a:lnTo>
                    <a:pt x="16" y="602"/>
                  </a:lnTo>
                  <a:lnTo>
                    <a:pt x="13" y="604"/>
                  </a:lnTo>
                  <a:lnTo>
                    <a:pt x="11" y="604"/>
                  </a:lnTo>
                  <a:lnTo>
                    <a:pt x="7" y="602"/>
                  </a:lnTo>
                  <a:close/>
                  <a:moveTo>
                    <a:pt x="16" y="607"/>
                  </a:moveTo>
                  <a:lnTo>
                    <a:pt x="16" y="607"/>
                  </a:lnTo>
                  <a:lnTo>
                    <a:pt x="18" y="609"/>
                  </a:lnTo>
                  <a:lnTo>
                    <a:pt x="20" y="611"/>
                  </a:lnTo>
                  <a:lnTo>
                    <a:pt x="20" y="613"/>
                  </a:lnTo>
                  <a:lnTo>
                    <a:pt x="20" y="615"/>
                  </a:lnTo>
                  <a:lnTo>
                    <a:pt x="20" y="617"/>
                  </a:lnTo>
                  <a:lnTo>
                    <a:pt x="20" y="619"/>
                  </a:lnTo>
                  <a:lnTo>
                    <a:pt x="20" y="620"/>
                  </a:lnTo>
                  <a:lnTo>
                    <a:pt x="20" y="624"/>
                  </a:lnTo>
                  <a:lnTo>
                    <a:pt x="20" y="628"/>
                  </a:lnTo>
                  <a:lnTo>
                    <a:pt x="20" y="631"/>
                  </a:lnTo>
                  <a:lnTo>
                    <a:pt x="18" y="635"/>
                  </a:lnTo>
                  <a:lnTo>
                    <a:pt x="18" y="639"/>
                  </a:lnTo>
                  <a:lnTo>
                    <a:pt x="16" y="641"/>
                  </a:lnTo>
                  <a:lnTo>
                    <a:pt x="15" y="643"/>
                  </a:lnTo>
                  <a:lnTo>
                    <a:pt x="13" y="643"/>
                  </a:lnTo>
                  <a:lnTo>
                    <a:pt x="11" y="643"/>
                  </a:lnTo>
                  <a:lnTo>
                    <a:pt x="9" y="643"/>
                  </a:lnTo>
                  <a:lnTo>
                    <a:pt x="7" y="643"/>
                  </a:lnTo>
                  <a:lnTo>
                    <a:pt x="7" y="641"/>
                  </a:lnTo>
                  <a:lnTo>
                    <a:pt x="5" y="641"/>
                  </a:lnTo>
                  <a:lnTo>
                    <a:pt x="4" y="639"/>
                  </a:lnTo>
                  <a:lnTo>
                    <a:pt x="2" y="637"/>
                  </a:lnTo>
                  <a:lnTo>
                    <a:pt x="2" y="635"/>
                  </a:lnTo>
                  <a:lnTo>
                    <a:pt x="2" y="633"/>
                  </a:lnTo>
                  <a:lnTo>
                    <a:pt x="0" y="631"/>
                  </a:lnTo>
                  <a:lnTo>
                    <a:pt x="0" y="630"/>
                  </a:lnTo>
                  <a:lnTo>
                    <a:pt x="0" y="628"/>
                  </a:lnTo>
                  <a:lnTo>
                    <a:pt x="0" y="626"/>
                  </a:lnTo>
                  <a:lnTo>
                    <a:pt x="0" y="624"/>
                  </a:lnTo>
                  <a:lnTo>
                    <a:pt x="0" y="622"/>
                  </a:lnTo>
                  <a:lnTo>
                    <a:pt x="2" y="620"/>
                  </a:lnTo>
                  <a:lnTo>
                    <a:pt x="2" y="619"/>
                  </a:lnTo>
                  <a:lnTo>
                    <a:pt x="2" y="617"/>
                  </a:lnTo>
                  <a:lnTo>
                    <a:pt x="4" y="615"/>
                  </a:lnTo>
                  <a:lnTo>
                    <a:pt x="5" y="613"/>
                  </a:lnTo>
                  <a:lnTo>
                    <a:pt x="7" y="611"/>
                  </a:lnTo>
                  <a:lnTo>
                    <a:pt x="9" y="611"/>
                  </a:lnTo>
                  <a:lnTo>
                    <a:pt x="11" y="609"/>
                  </a:lnTo>
                  <a:lnTo>
                    <a:pt x="13" y="609"/>
                  </a:lnTo>
                  <a:lnTo>
                    <a:pt x="13" y="607"/>
                  </a:lnTo>
                  <a:lnTo>
                    <a:pt x="16" y="607"/>
                  </a:lnTo>
                  <a:close/>
                  <a:moveTo>
                    <a:pt x="670" y="332"/>
                  </a:moveTo>
                  <a:lnTo>
                    <a:pt x="670" y="334"/>
                  </a:lnTo>
                  <a:lnTo>
                    <a:pt x="669" y="334"/>
                  </a:lnTo>
                  <a:lnTo>
                    <a:pt x="667" y="334"/>
                  </a:lnTo>
                  <a:lnTo>
                    <a:pt x="665" y="332"/>
                  </a:lnTo>
                  <a:lnTo>
                    <a:pt x="663" y="330"/>
                  </a:lnTo>
                  <a:lnTo>
                    <a:pt x="663" y="328"/>
                  </a:lnTo>
                  <a:lnTo>
                    <a:pt x="663" y="327"/>
                  </a:lnTo>
                  <a:lnTo>
                    <a:pt x="663" y="325"/>
                  </a:lnTo>
                  <a:lnTo>
                    <a:pt x="665" y="325"/>
                  </a:lnTo>
                  <a:lnTo>
                    <a:pt x="667" y="325"/>
                  </a:lnTo>
                  <a:lnTo>
                    <a:pt x="669" y="325"/>
                  </a:lnTo>
                  <a:lnTo>
                    <a:pt x="669" y="327"/>
                  </a:lnTo>
                  <a:lnTo>
                    <a:pt x="670" y="327"/>
                  </a:lnTo>
                  <a:lnTo>
                    <a:pt x="670" y="328"/>
                  </a:lnTo>
                  <a:lnTo>
                    <a:pt x="672" y="328"/>
                  </a:lnTo>
                  <a:lnTo>
                    <a:pt x="672" y="330"/>
                  </a:lnTo>
                  <a:lnTo>
                    <a:pt x="672" y="332"/>
                  </a:lnTo>
                  <a:lnTo>
                    <a:pt x="670" y="332"/>
                  </a:lnTo>
                  <a:close/>
                  <a:moveTo>
                    <a:pt x="654" y="314"/>
                  </a:moveTo>
                  <a:lnTo>
                    <a:pt x="656" y="314"/>
                  </a:lnTo>
                  <a:lnTo>
                    <a:pt x="656" y="316"/>
                  </a:lnTo>
                  <a:lnTo>
                    <a:pt x="657" y="316"/>
                  </a:lnTo>
                  <a:lnTo>
                    <a:pt x="659" y="316"/>
                  </a:lnTo>
                  <a:lnTo>
                    <a:pt x="659" y="317"/>
                  </a:lnTo>
                  <a:lnTo>
                    <a:pt x="661" y="317"/>
                  </a:lnTo>
                  <a:lnTo>
                    <a:pt x="661" y="319"/>
                  </a:lnTo>
                  <a:lnTo>
                    <a:pt x="661" y="321"/>
                  </a:lnTo>
                  <a:lnTo>
                    <a:pt x="659" y="321"/>
                  </a:lnTo>
                  <a:lnTo>
                    <a:pt x="659" y="323"/>
                  </a:lnTo>
                  <a:lnTo>
                    <a:pt x="657" y="323"/>
                  </a:lnTo>
                  <a:lnTo>
                    <a:pt x="656" y="323"/>
                  </a:lnTo>
                  <a:lnTo>
                    <a:pt x="654" y="323"/>
                  </a:lnTo>
                  <a:lnTo>
                    <a:pt x="652" y="323"/>
                  </a:lnTo>
                  <a:lnTo>
                    <a:pt x="650" y="323"/>
                  </a:lnTo>
                  <a:lnTo>
                    <a:pt x="650" y="321"/>
                  </a:lnTo>
                  <a:lnTo>
                    <a:pt x="648" y="321"/>
                  </a:lnTo>
                  <a:lnTo>
                    <a:pt x="648" y="319"/>
                  </a:lnTo>
                  <a:lnTo>
                    <a:pt x="648" y="317"/>
                  </a:lnTo>
                  <a:lnTo>
                    <a:pt x="650" y="316"/>
                  </a:lnTo>
                  <a:lnTo>
                    <a:pt x="652" y="316"/>
                  </a:lnTo>
                  <a:lnTo>
                    <a:pt x="654" y="316"/>
                  </a:lnTo>
                  <a:lnTo>
                    <a:pt x="654" y="314"/>
                  </a:lnTo>
                  <a:close/>
                  <a:moveTo>
                    <a:pt x="441" y="417"/>
                  </a:moveTo>
                  <a:lnTo>
                    <a:pt x="441" y="417"/>
                  </a:lnTo>
                  <a:lnTo>
                    <a:pt x="443" y="417"/>
                  </a:lnTo>
                  <a:lnTo>
                    <a:pt x="443" y="415"/>
                  </a:lnTo>
                  <a:lnTo>
                    <a:pt x="445" y="415"/>
                  </a:lnTo>
                  <a:lnTo>
                    <a:pt x="445" y="417"/>
                  </a:lnTo>
                  <a:lnTo>
                    <a:pt x="447" y="417"/>
                  </a:lnTo>
                  <a:lnTo>
                    <a:pt x="449" y="421"/>
                  </a:lnTo>
                  <a:lnTo>
                    <a:pt x="451" y="426"/>
                  </a:lnTo>
                  <a:lnTo>
                    <a:pt x="451" y="428"/>
                  </a:lnTo>
                  <a:lnTo>
                    <a:pt x="451" y="430"/>
                  </a:lnTo>
                  <a:lnTo>
                    <a:pt x="449" y="432"/>
                  </a:lnTo>
                  <a:lnTo>
                    <a:pt x="447" y="432"/>
                  </a:lnTo>
                  <a:lnTo>
                    <a:pt x="445" y="432"/>
                  </a:lnTo>
                  <a:lnTo>
                    <a:pt x="445" y="430"/>
                  </a:lnTo>
                  <a:lnTo>
                    <a:pt x="443" y="430"/>
                  </a:lnTo>
                  <a:lnTo>
                    <a:pt x="443" y="428"/>
                  </a:lnTo>
                  <a:lnTo>
                    <a:pt x="441" y="428"/>
                  </a:lnTo>
                  <a:lnTo>
                    <a:pt x="441" y="426"/>
                  </a:lnTo>
                  <a:lnTo>
                    <a:pt x="441" y="425"/>
                  </a:lnTo>
                  <a:lnTo>
                    <a:pt x="439" y="425"/>
                  </a:lnTo>
                  <a:lnTo>
                    <a:pt x="439" y="423"/>
                  </a:lnTo>
                  <a:lnTo>
                    <a:pt x="439" y="421"/>
                  </a:lnTo>
                  <a:lnTo>
                    <a:pt x="441" y="419"/>
                  </a:lnTo>
                  <a:lnTo>
                    <a:pt x="441" y="417"/>
                  </a:lnTo>
                  <a:close/>
                  <a:moveTo>
                    <a:pt x="421" y="419"/>
                  </a:moveTo>
                  <a:lnTo>
                    <a:pt x="421" y="417"/>
                  </a:lnTo>
                  <a:lnTo>
                    <a:pt x="423" y="417"/>
                  </a:lnTo>
                  <a:lnTo>
                    <a:pt x="425" y="415"/>
                  </a:lnTo>
                  <a:lnTo>
                    <a:pt x="427" y="415"/>
                  </a:lnTo>
                  <a:lnTo>
                    <a:pt x="428" y="415"/>
                  </a:lnTo>
                  <a:lnTo>
                    <a:pt x="428" y="417"/>
                  </a:lnTo>
                  <a:lnTo>
                    <a:pt x="430" y="417"/>
                  </a:lnTo>
                  <a:lnTo>
                    <a:pt x="432" y="417"/>
                  </a:lnTo>
                  <a:lnTo>
                    <a:pt x="434" y="419"/>
                  </a:lnTo>
                  <a:lnTo>
                    <a:pt x="436" y="421"/>
                  </a:lnTo>
                  <a:lnTo>
                    <a:pt x="436" y="423"/>
                  </a:lnTo>
                  <a:lnTo>
                    <a:pt x="438" y="426"/>
                  </a:lnTo>
                  <a:lnTo>
                    <a:pt x="436" y="426"/>
                  </a:lnTo>
                  <a:lnTo>
                    <a:pt x="436" y="428"/>
                  </a:lnTo>
                  <a:lnTo>
                    <a:pt x="434" y="428"/>
                  </a:lnTo>
                  <a:lnTo>
                    <a:pt x="432" y="428"/>
                  </a:lnTo>
                  <a:lnTo>
                    <a:pt x="430" y="428"/>
                  </a:lnTo>
                  <a:lnTo>
                    <a:pt x="428" y="426"/>
                  </a:lnTo>
                  <a:lnTo>
                    <a:pt x="427" y="426"/>
                  </a:lnTo>
                  <a:lnTo>
                    <a:pt x="425" y="425"/>
                  </a:lnTo>
                  <a:lnTo>
                    <a:pt x="423" y="425"/>
                  </a:lnTo>
                  <a:lnTo>
                    <a:pt x="421" y="423"/>
                  </a:lnTo>
                  <a:lnTo>
                    <a:pt x="421" y="421"/>
                  </a:lnTo>
                  <a:lnTo>
                    <a:pt x="421" y="419"/>
                  </a:lnTo>
                  <a:close/>
                  <a:moveTo>
                    <a:pt x="419" y="421"/>
                  </a:moveTo>
                  <a:lnTo>
                    <a:pt x="419" y="423"/>
                  </a:lnTo>
                  <a:lnTo>
                    <a:pt x="417" y="423"/>
                  </a:lnTo>
                  <a:lnTo>
                    <a:pt x="415" y="425"/>
                  </a:lnTo>
                  <a:lnTo>
                    <a:pt x="412" y="425"/>
                  </a:lnTo>
                  <a:lnTo>
                    <a:pt x="406" y="425"/>
                  </a:lnTo>
                  <a:lnTo>
                    <a:pt x="404" y="425"/>
                  </a:lnTo>
                  <a:lnTo>
                    <a:pt x="403" y="423"/>
                  </a:lnTo>
                  <a:lnTo>
                    <a:pt x="401" y="421"/>
                  </a:lnTo>
                  <a:lnTo>
                    <a:pt x="403" y="419"/>
                  </a:lnTo>
                  <a:lnTo>
                    <a:pt x="403" y="417"/>
                  </a:lnTo>
                  <a:lnTo>
                    <a:pt x="404" y="417"/>
                  </a:lnTo>
                  <a:lnTo>
                    <a:pt x="406" y="417"/>
                  </a:lnTo>
                  <a:lnTo>
                    <a:pt x="406" y="415"/>
                  </a:lnTo>
                  <a:lnTo>
                    <a:pt x="408" y="415"/>
                  </a:lnTo>
                  <a:lnTo>
                    <a:pt x="410" y="415"/>
                  </a:lnTo>
                  <a:lnTo>
                    <a:pt x="412" y="415"/>
                  </a:lnTo>
                  <a:lnTo>
                    <a:pt x="414" y="415"/>
                  </a:lnTo>
                  <a:lnTo>
                    <a:pt x="415" y="417"/>
                  </a:lnTo>
                  <a:lnTo>
                    <a:pt x="417" y="417"/>
                  </a:lnTo>
                  <a:lnTo>
                    <a:pt x="419" y="419"/>
                  </a:lnTo>
                  <a:lnTo>
                    <a:pt x="419" y="421"/>
                  </a:lnTo>
                  <a:close/>
                  <a:moveTo>
                    <a:pt x="408" y="393"/>
                  </a:moveTo>
                  <a:lnTo>
                    <a:pt x="406" y="395"/>
                  </a:lnTo>
                  <a:lnTo>
                    <a:pt x="403" y="397"/>
                  </a:lnTo>
                  <a:lnTo>
                    <a:pt x="399" y="397"/>
                  </a:lnTo>
                  <a:lnTo>
                    <a:pt x="397" y="397"/>
                  </a:lnTo>
                  <a:lnTo>
                    <a:pt x="395" y="397"/>
                  </a:lnTo>
                  <a:lnTo>
                    <a:pt x="395" y="395"/>
                  </a:lnTo>
                  <a:lnTo>
                    <a:pt x="393" y="393"/>
                  </a:lnTo>
                  <a:lnTo>
                    <a:pt x="391" y="393"/>
                  </a:lnTo>
                  <a:lnTo>
                    <a:pt x="393" y="391"/>
                  </a:lnTo>
                  <a:lnTo>
                    <a:pt x="395" y="389"/>
                  </a:lnTo>
                  <a:lnTo>
                    <a:pt x="397" y="388"/>
                  </a:lnTo>
                  <a:lnTo>
                    <a:pt x="399" y="388"/>
                  </a:lnTo>
                  <a:lnTo>
                    <a:pt x="401" y="388"/>
                  </a:lnTo>
                  <a:lnTo>
                    <a:pt x="403" y="388"/>
                  </a:lnTo>
                  <a:lnTo>
                    <a:pt x="404" y="389"/>
                  </a:lnTo>
                  <a:lnTo>
                    <a:pt x="406" y="391"/>
                  </a:lnTo>
                  <a:lnTo>
                    <a:pt x="408" y="393"/>
                  </a:lnTo>
                  <a:close/>
                  <a:moveTo>
                    <a:pt x="419" y="382"/>
                  </a:moveTo>
                  <a:lnTo>
                    <a:pt x="419" y="384"/>
                  </a:lnTo>
                  <a:lnTo>
                    <a:pt x="421" y="384"/>
                  </a:lnTo>
                  <a:lnTo>
                    <a:pt x="421" y="388"/>
                  </a:lnTo>
                  <a:lnTo>
                    <a:pt x="423" y="391"/>
                  </a:lnTo>
                  <a:lnTo>
                    <a:pt x="421" y="393"/>
                  </a:lnTo>
                  <a:lnTo>
                    <a:pt x="419" y="393"/>
                  </a:lnTo>
                  <a:lnTo>
                    <a:pt x="419" y="395"/>
                  </a:lnTo>
                  <a:lnTo>
                    <a:pt x="417" y="395"/>
                  </a:lnTo>
                  <a:lnTo>
                    <a:pt x="417" y="393"/>
                  </a:lnTo>
                  <a:lnTo>
                    <a:pt x="415" y="393"/>
                  </a:lnTo>
                  <a:lnTo>
                    <a:pt x="415" y="391"/>
                  </a:lnTo>
                  <a:lnTo>
                    <a:pt x="414" y="391"/>
                  </a:lnTo>
                  <a:lnTo>
                    <a:pt x="414" y="389"/>
                  </a:lnTo>
                  <a:lnTo>
                    <a:pt x="414" y="388"/>
                  </a:lnTo>
                  <a:lnTo>
                    <a:pt x="414" y="386"/>
                  </a:lnTo>
                  <a:lnTo>
                    <a:pt x="415" y="384"/>
                  </a:lnTo>
                  <a:lnTo>
                    <a:pt x="417" y="384"/>
                  </a:lnTo>
                  <a:lnTo>
                    <a:pt x="419" y="382"/>
                  </a:lnTo>
                  <a:close/>
                  <a:moveTo>
                    <a:pt x="432" y="384"/>
                  </a:moveTo>
                  <a:lnTo>
                    <a:pt x="434" y="384"/>
                  </a:lnTo>
                  <a:lnTo>
                    <a:pt x="436" y="384"/>
                  </a:lnTo>
                  <a:lnTo>
                    <a:pt x="438" y="384"/>
                  </a:lnTo>
                  <a:lnTo>
                    <a:pt x="439" y="384"/>
                  </a:lnTo>
                  <a:lnTo>
                    <a:pt x="441" y="384"/>
                  </a:lnTo>
                  <a:lnTo>
                    <a:pt x="443" y="386"/>
                  </a:lnTo>
                  <a:lnTo>
                    <a:pt x="445" y="386"/>
                  </a:lnTo>
                  <a:lnTo>
                    <a:pt x="445" y="388"/>
                  </a:lnTo>
                  <a:lnTo>
                    <a:pt x="447" y="388"/>
                  </a:lnTo>
                  <a:lnTo>
                    <a:pt x="447" y="389"/>
                  </a:lnTo>
                  <a:lnTo>
                    <a:pt x="449" y="391"/>
                  </a:lnTo>
                  <a:lnTo>
                    <a:pt x="449" y="395"/>
                  </a:lnTo>
                  <a:lnTo>
                    <a:pt x="451" y="397"/>
                  </a:lnTo>
                  <a:lnTo>
                    <a:pt x="445" y="395"/>
                  </a:lnTo>
                  <a:lnTo>
                    <a:pt x="441" y="395"/>
                  </a:lnTo>
                  <a:lnTo>
                    <a:pt x="436" y="393"/>
                  </a:lnTo>
                  <a:lnTo>
                    <a:pt x="434" y="393"/>
                  </a:lnTo>
                  <a:lnTo>
                    <a:pt x="434" y="391"/>
                  </a:lnTo>
                  <a:lnTo>
                    <a:pt x="432" y="391"/>
                  </a:lnTo>
                  <a:lnTo>
                    <a:pt x="430" y="389"/>
                  </a:lnTo>
                  <a:lnTo>
                    <a:pt x="430" y="388"/>
                  </a:lnTo>
                  <a:lnTo>
                    <a:pt x="430" y="386"/>
                  </a:lnTo>
                  <a:lnTo>
                    <a:pt x="432" y="384"/>
                  </a:lnTo>
                  <a:close/>
                  <a:moveTo>
                    <a:pt x="428" y="375"/>
                  </a:moveTo>
                  <a:lnTo>
                    <a:pt x="428" y="375"/>
                  </a:lnTo>
                  <a:lnTo>
                    <a:pt x="428" y="373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32" y="367"/>
                  </a:lnTo>
                  <a:lnTo>
                    <a:pt x="434" y="367"/>
                  </a:lnTo>
                  <a:lnTo>
                    <a:pt x="439" y="365"/>
                  </a:lnTo>
                  <a:lnTo>
                    <a:pt x="445" y="362"/>
                  </a:lnTo>
                  <a:lnTo>
                    <a:pt x="447" y="362"/>
                  </a:lnTo>
                  <a:lnTo>
                    <a:pt x="449" y="362"/>
                  </a:lnTo>
                  <a:lnTo>
                    <a:pt x="451" y="362"/>
                  </a:lnTo>
                  <a:lnTo>
                    <a:pt x="451" y="364"/>
                  </a:lnTo>
                  <a:lnTo>
                    <a:pt x="452" y="364"/>
                  </a:lnTo>
                  <a:lnTo>
                    <a:pt x="452" y="365"/>
                  </a:lnTo>
                  <a:lnTo>
                    <a:pt x="454" y="365"/>
                  </a:lnTo>
                  <a:lnTo>
                    <a:pt x="452" y="367"/>
                  </a:lnTo>
                  <a:lnTo>
                    <a:pt x="452" y="369"/>
                  </a:lnTo>
                  <a:lnTo>
                    <a:pt x="452" y="371"/>
                  </a:lnTo>
                  <a:lnTo>
                    <a:pt x="451" y="371"/>
                  </a:lnTo>
                  <a:lnTo>
                    <a:pt x="447" y="373"/>
                  </a:lnTo>
                  <a:lnTo>
                    <a:pt x="443" y="373"/>
                  </a:lnTo>
                  <a:lnTo>
                    <a:pt x="441" y="373"/>
                  </a:lnTo>
                  <a:lnTo>
                    <a:pt x="439" y="373"/>
                  </a:lnTo>
                  <a:lnTo>
                    <a:pt x="438" y="375"/>
                  </a:lnTo>
                  <a:lnTo>
                    <a:pt x="436" y="375"/>
                  </a:lnTo>
                  <a:lnTo>
                    <a:pt x="432" y="375"/>
                  </a:lnTo>
                  <a:lnTo>
                    <a:pt x="430" y="375"/>
                  </a:lnTo>
                  <a:lnTo>
                    <a:pt x="428" y="375"/>
                  </a:lnTo>
                  <a:close/>
                  <a:moveTo>
                    <a:pt x="425" y="360"/>
                  </a:moveTo>
                  <a:lnTo>
                    <a:pt x="425" y="360"/>
                  </a:lnTo>
                  <a:lnTo>
                    <a:pt x="425" y="358"/>
                  </a:lnTo>
                  <a:lnTo>
                    <a:pt x="425" y="356"/>
                  </a:lnTo>
                  <a:lnTo>
                    <a:pt x="427" y="354"/>
                  </a:lnTo>
                  <a:lnTo>
                    <a:pt x="428" y="354"/>
                  </a:lnTo>
                  <a:lnTo>
                    <a:pt x="430" y="352"/>
                  </a:lnTo>
                  <a:lnTo>
                    <a:pt x="432" y="351"/>
                  </a:lnTo>
                  <a:lnTo>
                    <a:pt x="434" y="349"/>
                  </a:lnTo>
                  <a:lnTo>
                    <a:pt x="436" y="347"/>
                  </a:lnTo>
                  <a:lnTo>
                    <a:pt x="436" y="345"/>
                  </a:lnTo>
                  <a:lnTo>
                    <a:pt x="438" y="343"/>
                  </a:lnTo>
                  <a:lnTo>
                    <a:pt x="439" y="343"/>
                  </a:lnTo>
                  <a:lnTo>
                    <a:pt x="441" y="343"/>
                  </a:lnTo>
                  <a:lnTo>
                    <a:pt x="443" y="343"/>
                  </a:lnTo>
                  <a:lnTo>
                    <a:pt x="445" y="343"/>
                  </a:lnTo>
                  <a:lnTo>
                    <a:pt x="447" y="343"/>
                  </a:lnTo>
                  <a:lnTo>
                    <a:pt x="447" y="345"/>
                  </a:lnTo>
                  <a:lnTo>
                    <a:pt x="449" y="347"/>
                  </a:lnTo>
                  <a:lnTo>
                    <a:pt x="449" y="349"/>
                  </a:lnTo>
                  <a:lnTo>
                    <a:pt x="447" y="351"/>
                  </a:lnTo>
                  <a:lnTo>
                    <a:pt x="445" y="356"/>
                  </a:lnTo>
                  <a:lnTo>
                    <a:pt x="441" y="360"/>
                  </a:lnTo>
                  <a:lnTo>
                    <a:pt x="439" y="362"/>
                  </a:lnTo>
                  <a:lnTo>
                    <a:pt x="438" y="362"/>
                  </a:lnTo>
                  <a:lnTo>
                    <a:pt x="434" y="364"/>
                  </a:lnTo>
                  <a:lnTo>
                    <a:pt x="430" y="364"/>
                  </a:lnTo>
                  <a:lnTo>
                    <a:pt x="428" y="364"/>
                  </a:lnTo>
                  <a:lnTo>
                    <a:pt x="427" y="362"/>
                  </a:lnTo>
                  <a:lnTo>
                    <a:pt x="425" y="360"/>
                  </a:lnTo>
                  <a:close/>
                  <a:moveTo>
                    <a:pt x="318" y="323"/>
                  </a:moveTo>
                  <a:lnTo>
                    <a:pt x="318" y="323"/>
                  </a:lnTo>
                  <a:lnTo>
                    <a:pt x="318" y="325"/>
                  </a:lnTo>
                  <a:lnTo>
                    <a:pt x="318" y="327"/>
                  </a:lnTo>
                  <a:lnTo>
                    <a:pt x="316" y="327"/>
                  </a:lnTo>
                  <a:lnTo>
                    <a:pt x="316" y="328"/>
                  </a:lnTo>
                  <a:lnTo>
                    <a:pt x="314" y="328"/>
                  </a:lnTo>
                  <a:lnTo>
                    <a:pt x="314" y="330"/>
                  </a:lnTo>
                  <a:lnTo>
                    <a:pt x="312" y="330"/>
                  </a:lnTo>
                  <a:lnTo>
                    <a:pt x="310" y="330"/>
                  </a:lnTo>
                  <a:lnTo>
                    <a:pt x="308" y="332"/>
                  </a:lnTo>
                  <a:lnTo>
                    <a:pt x="306" y="332"/>
                  </a:lnTo>
                  <a:lnTo>
                    <a:pt x="305" y="332"/>
                  </a:lnTo>
                  <a:lnTo>
                    <a:pt x="305" y="330"/>
                  </a:lnTo>
                  <a:lnTo>
                    <a:pt x="303" y="330"/>
                  </a:lnTo>
                  <a:lnTo>
                    <a:pt x="301" y="330"/>
                  </a:lnTo>
                  <a:lnTo>
                    <a:pt x="301" y="328"/>
                  </a:lnTo>
                  <a:lnTo>
                    <a:pt x="301" y="327"/>
                  </a:lnTo>
                  <a:lnTo>
                    <a:pt x="301" y="325"/>
                  </a:lnTo>
                  <a:lnTo>
                    <a:pt x="301" y="323"/>
                  </a:lnTo>
                  <a:lnTo>
                    <a:pt x="303" y="323"/>
                  </a:lnTo>
                  <a:lnTo>
                    <a:pt x="303" y="321"/>
                  </a:lnTo>
                  <a:lnTo>
                    <a:pt x="305" y="321"/>
                  </a:lnTo>
                  <a:lnTo>
                    <a:pt x="306" y="319"/>
                  </a:lnTo>
                  <a:lnTo>
                    <a:pt x="308" y="319"/>
                  </a:lnTo>
                  <a:lnTo>
                    <a:pt x="310" y="319"/>
                  </a:lnTo>
                  <a:lnTo>
                    <a:pt x="312" y="319"/>
                  </a:lnTo>
                  <a:lnTo>
                    <a:pt x="314" y="319"/>
                  </a:lnTo>
                  <a:lnTo>
                    <a:pt x="314" y="321"/>
                  </a:lnTo>
                  <a:lnTo>
                    <a:pt x="316" y="321"/>
                  </a:lnTo>
                  <a:lnTo>
                    <a:pt x="318" y="323"/>
                  </a:lnTo>
                  <a:close/>
                  <a:moveTo>
                    <a:pt x="395" y="64"/>
                  </a:moveTo>
                  <a:lnTo>
                    <a:pt x="397" y="62"/>
                  </a:lnTo>
                  <a:lnTo>
                    <a:pt x="399" y="61"/>
                  </a:lnTo>
                  <a:lnTo>
                    <a:pt x="401" y="57"/>
                  </a:lnTo>
                  <a:lnTo>
                    <a:pt x="404" y="55"/>
                  </a:lnTo>
                  <a:lnTo>
                    <a:pt x="406" y="53"/>
                  </a:lnTo>
                  <a:lnTo>
                    <a:pt x="408" y="51"/>
                  </a:lnTo>
                  <a:lnTo>
                    <a:pt x="406" y="48"/>
                  </a:lnTo>
                  <a:lnTo>
                    <a:pt x="404" y="42"/>
                  </a:lnTo>
                  <a:lnTo>
                    <a:pt x="404" y="40"/>
                  </a:lnTo>
                  <a:lnTo>
                    <a:pt x="404" y="38"/>
                  </a:lnTo>
                  <a:lnTo>
                    <a:pt x="404" y="36"/>
                  </a:lnTo>
                  <a:lnTo>
                    <a:pt x="404" y="35"/>
                  </a:lnTo>
                  <a:lnTo>
                    <a:pt x="406" y="35"/>
                  </a:lnTo>
                  <a:lnTo>
                    <a:pt x="408" y="35"/>
                  </a:lnTo>
                  <a:lnTo>
                    <a:pt x="412" y="33"/>
                  </a:lnTo>
                  <a:lnTo>
                    <a:pt x="417" y="31"/>
                  </a:lnTo>
                  <a:lnTo>
                    <a:pt x="419" y="29"/>
                  </a:lnTo>
                  <a:lnTo>
                    <a:pt x="421" y="29"/>
                  </a:lnTo>
                  <a:lnTo>
                    <a:pt x="421" y="27"/>
                  </a:lnTo>
                  <a:lnTo>
                    <a:pt x="423" y="25"/>
                  </a:lnTo>
                  <a:lnTo>
                    <a:pt x="425" y="24"/>
                  </a:lnTo>
                  <a:lnTo>
                    <a:pt x="427" y="24"/>
                  </a:lnTo>
                  <a:lnTo>
                    <a:pt x="427" y="22"/>
                  </a:lnTo>
                  <a:lnTo>
                    <a:pt x="428" y="22"/>
                  </a:lnTo>
                  <a:lnTo>
                    <a:pt x="430" y="22"/>
                  </a:lnTo>
                  <a:lnTo>
                    <a:pt x="434" y="22"/>
                  </a:lnTo>
                  <a:lnTo>
                    <a:pt x="436" y="22"/>
                  </a:lnTo>
                  <a:lnTo>
                    <a:pt x="438" y="22"/>
                  </a:lnTo>
                  <a:lnTo>
                    <a:pt x="443" y="20"/>
                  </a:lnTo>
                  <a:lnTo>
                    <a:pt x="447" y="20"/>
                  </a:lnTo>
                  <a:lnTo>
                    <a:pt x="449" y="18"/>
                  </a:lnTo>
                  <a:lnTo>
                    <a:pt x="449" y="16"/>
                  </a:lnTo>
                  <a:lnTo>
                    <a:pt x="451" y="16"/>
                  </a:lnTo>
                  <a:lnTo>
                    <a:pt x="451" y="14"/>
                  </a:lnTo>
                  <a:lnTo>
                    <a:pt x="451" y="12"/>
                  </a:lnTo>
                  <a:lnTo>
                    <a:pt x="451" y="11"/>
                  </a:lnTo>
                  <a:lnTo>
                    <a:pt x="451" y="9"/>
                  </a:lnTo>
                  <a:lnTo>
                    <a:pt x="451" y="7"/>
                  </a:lnTo>
                  <a:lnTo>
                    <a:pt x="451" y="5"/>
                  </a:lnTo>
                  <a:lnTo>
                    <a:pt x="451" y="3"/>
                  </a:lnTo>
                  <a:lnTo>
                    <a:pt x="452" y="3"/>
                  </a:lnTo>
                  <a:lnTo>
                    <a:pt x="452" y="1"/>
                  </a:lnTo>
                  <a:lnTo>
                    <a:pt x="454" y="1"/>
                  </a:lnTo>
                  <a:lnTo>
                    <a:pt x="458" y="0"/>
                  </a:lnTo>
                  <a:lnTo>
                    <a:pt x="460" y="1"/>
                  </a:lnTo>
                  <a:lnTo>
                    <a:pt x="462" y="1"/>
                  </a:lnTo>
                  <a:lnTo>
                    <a:pt x="464" y="1"/>
                  </a:lnTo>
                  <a:lnTo>
                    <a:pt x="465" y="3"/>
                  </a:lnTo>
                  <a:lnTo>
                    <a:pt x="465" y="5"/>
                  </a:lnTo>
                  <a:lnTo>
                    <a:pt x="467" y="7"/>
                  </a:lnTo>
                  <a:lnTo>
                    <a:pt x="467" y="9"/>
                  </a:lnTo>
                  <a:lnTo>
                    <a:pt x="467" y="11"/>
                  </a:lnTo>
                  <a:lnTo>
                    <a:pt x="469" y="16"/>
                  </a:lnTo>
                  <a:lnTo>
                    <a:pt x="469" y="22"/>
                  </a:lnTo>
                  <a:lnTo>
                    <a:pt x="469" y="24"/>
                  </a:lnTo>
                  <a:lnTo>
                    <a:pt x="469" y="25"/>
                  </a:lnTo>
                  <a:lnTo>
                    <a:pt x="469" y="27"/>
                  </a:lnTo>
                  <a:lnTo>
                    <a:pt x="469" y="29"/>
                  </a:lnTo>
                  <a:lnTo>
                    <a:pt x="471" y="29"/>
                  </a:lnTo>
                  <a:lnTo>
                    <a:pt x="471" y="31"/>
                  </a:lnTo>
                  <a:lnTo>
                    <a:pt x="473" y="33"/>
                  </a:lnTo>
                  <a:lnTo>
                    <a:pt x="475" y="35"/>
                  </a:lnTo>
                  <a:lnTo>
                    <a:pt x="478" y="36"/>
                  </a:lnTo>
                  <a:lnTo>
                    <a:pt x="482" y="40"/>
                  </a:lnTo>
                  <a:lnTo>
                    <a:pt x="484" y="42"/>
                  </a:lnTo>
                  <a:lnTo>
                    <a:pt x="484" y="44"/>
                  </a:lnTo>
                  <a:lnTo>
                    <a:pt x="486" y="46"/>
                  </a:lnTo>
                  <a:lnTo>
                    <a:pt x="488" y="48"/>
                  </a:lnTo>
                  <a:lnTo>
                    <a:pt x="488" y="49"/>
                  </a:lnTo>
                  <a:lnTo>
                    <a:pt x="488" y="51"/>
                  </a:lnTo>
                  <a:lnTo>
                    <a:pt x="488" y="53"/>
                  </a:lnTo>
                  <a:lnTo>
                    <a:pt x="488" y="55"/>
                  </a:lnTo>
                  <a:lnTo>
                    <a:pt x="488" y="57"/>
                  </a:lnTo>
                  <a:lnTo>
                    <a:pt x="486" y="59"/>
                  </a:lnTo>
                  <a:lnTo>
                    <a:pt x="484" y="61"/>
                  </a:lnTo>
                  <a:lnTo>
                    <a:pt x="482" y="62"/>
                  </a:lnTo>
                  <a:lnTo>
                    <a:pt x="480" y="64"/>
                  </a:lnTo>
                  <a:lnTo>
                    <a:pt x="478" y="66"/>
                  </a:lnTo>
                  <a:lnTo>
                    <a:pt x="476" y="68"/>
                  </a:lnTo>
                  <a:lnTo>
                    <a:pt x="476" y="70"/>
                  </a:lnTo>
                  <a:lnTo>
                    <a:pt x="476" y="72"/>
                  </a:lnTo>
                  <a:lnTo>
                    <a:pt x="476" y="75"/>
                  </a:lnTo>
                  <a:lnTo>
                    <a:pt x="478" y="81"/>
                  </a:lnTo>
                  <a:lnTo>
                    <a:pt x="478" y="83"/>
                  </a:lnTo>
                  <a:lnTo>
                    <a:pt x="478" y="85"/>
                  </a:lnTo>
                  <a:lnTo>
                    <a:pt x="478" y="86"/>
                  </a:lnTo>
                  <a:lnTo>
                    <a:pt x="476" y="86"/>
                  </a:lnTo>
                  <a:lnTo>
                    <a:pt x="476" y="88"/>
                  </a:lnTo>
                  <a:lnTo>
                    <a:pt x="475" y="90"/>
                  </a:lnTo>
                  <a:lnTo>
                    <a:pt x="473" y="90"/>
                  </a:lnTo>
                  <a:lnTo>
                    <a:pt x="471" y="90"/>
                  </a:lnTo>
                  <a:lnTo>
                    <a:pt x="469" y="92"/>
                  </a:lnTo>
                  <a:lnTo>
                    <a:pt x="465" y="92"/>
                  </a:lnTo>
                  <a:lnTo>
                    <a:pt x="460" y="92"/>
                  </a:lnTo>
                  <a:lnTo>
                    <a:pt x="458" y="92"/>
                  </a:lnTo>
                  <a:lnTo>
                    <a:pt x="454" y="92"/>
                  </a:lnTo>
                  <a:lnTo>
                    <a:pt x="452" y="92"/>
                  </a:lnTo>
                  <a:lnTo>
                    <a:pt x="451" y="94"/>
                  </a:lnTo>
                  <a:lnTo>
                    <a:pt x="449" y="94"/>
                  </a:lnTo>
                  <a:lnTo>
                    <a:pt x="447" y="94"/>
                  </a:lnTo>
                  <a:lnTo>
                    <a:pt x="447" y="96"/>
                  </a:lnTo>
                  <a:lnTo>
                    <a:pt x="445" y="96"/>
                  </a:lnTo>
                  <a:lnTo>
                    <a:pt x="441" y="97"/>
                  </a:lnTo>
                  <a:lnTo>
                    <a:pt x="438" y="99"/>
                  </a:lnTo>
                  <a:lnTo>
                    <a:pt x="434" y="101"/>
                  </a:lnTo>
                  <a:lnTo>
                    <a:pt x="430" y="103"/>
                  </a:lnTo>
                  <a:lnTo>
                    <a:pt x="427" y="103"/>
                  </a:lnTo>
                  <a:lnTo>
                    <a:pt x="425" y="105"/>
                  </a:lnTo>
                  <a:lnTo>
                    <a:pt x="423" y="105"/>
                  </a:lnTo>
                  <a:lnTo>
                    <a:pt x="421" y="105"/>
                  </a:lnTo>
                  <a:lnTo>
                    <a:pt x="417" y="105"/>
                  </a:lnTo>
                  <a:lnTo>
                    <a:pt x="415" y="107"/>
                  </a:lnTo>
                  <a:lnTo>
                    <a:pt x="414" y="107"/>
                  </a:lnTo>
                  <a:lnTo>
                    <a:pt x="412" y="107"/>
                  </a:lnTo>
                  <a:lnTo>
                    <a:pt x="410" y="107"/>
                  </a:lnTo>
                  <a:lnTo>
                    <a:pt x="408" y="105"/>
                  </a:lnTo>
                  <a:lnTo>
                    <a:pt x="406" y="105"/>
                  </a:lnTo>
                  <a:lnTo>
                    <a:pt x="404" y="105"/>
                  </a:lnTo>
                  <a:lnTo>
                    <a:pt x="403" y="103"/>
                  </a:lnTo>
                  <a:lnTo>
                    <a:pt x="401" y="101"/>
                  </a:lnTo>
                  <a:lnTo>
                    <a:pt x="401" y="99"/>
                  </a:lnTo>
                  <a:lnTo>
                    <a:pt x="401" y="97"/>
                  </a:lnTo>
                  <a:lnTo>
                    <a:pt x="399" y="97"/>
                  </a:lnTo>
                  <a:lnTo>
                    <a:pt x="399" y="96"/>
                  </a:lnTo>
                  <a:lnTo>
                    <a:pt x="401" y="96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403" y="90"/>
                  </a:lnTo>
                  <a:lnTo>
                    <a:pt x="403" y="88"/>
                  </a:lnTo>
                  <a:lnTo>
                    <a:pt x="404" y="85"/>
                  </a:lnTo>
                  <a:lnTo>
                    <a:pt x="406" y="83"/>
                  </a:lnTo>
                  <a:lnTo>
                    <a:pt x="408" y="81"/>
                  </a:lnTo>
                  <a:lnTo>
                    <a:pt x="406" y="81"/>
                  </a:lnTo>
                  <a:lnTo>
                    <a:pt x="404" y="81"/>
                  </a:lnTo>
                  <a:lnTo>
                    <a:pt x="401" y="81"/>
                  </a:lnTo>
                  <a:lnTo>
                    <a:pt x="397" y="81"/>
                  </a:lnTo>
                  <a:lnTo>
                    <a:pt x="395" y="81"/>
                  </a:lnTo>
                  <a:lnTo>
                    <a:pt x="393" y="81"/>
                  </a:lnTo>
                  <a:lnTo>
                    <a:pt x="393" y="79"/>
                  </a:lnTo>
                  <a:lnTo>
                    <a:pt x="391" y="79"/>
                  </a:lnTo>
                  <a:lnTo>
                    <a:pt x="391" y="77"/>
                  </a:lnTo>
                  <a:lnTo>
                    <a:pt x="391" y="75"/>
                  </a:lnTo>
                  <a:lnTo>
                    <a:pt x="391" y="73"/>
                  </a:lnTo>
                  <a:lnTo>
                    <a:pt x="391" y="72"/>
                  </a:lnTo>
                  <a:lnTo>
                    <a:pt x="391" y="70"/>
                  </a:lnTo>
                  <a:lnTo>
                    <a:pt x="393" y="68"/>
                  </a:lnTo>
                  <a:lnTo>
                    <a:pt x="393" y="66"/>
                  </a:lnTo>
                  <a:lnTo>
                    <a:pt x="395" y="64"/>
                  </a:lnTo>
                  <a:close/>
                  <a:moveTo>
                    <a:pt x="432" y="116"/>
                  </a:moveTo>
                  <a:lnTo>
                    <a:pt x="434" y="112"/>
                  </a:lnTo>
                  <a:lnTo>
                    <a:pt x="434" y="110"/>
                  </a:lnTo>
                  <a:lnTo>
                    <a:pt x="436" y="109"/>
                  </a:lnTo>
                  <a:lnTo>
                    <a:pt x="436" y="107"/>
                  </a:lnTo>
                  <a:lnTo>
                    <a:pt x="438" y="107"/>
                  </a:lnTo>
                  <a:lnTo>
                    <a:pt x="439" y="105"/>
                  </a:lnTo>
                  <a:lnTo>
                    <a:pt x="441" y="105"/>
                  </a:lnTo>
                  <a:lnTo>
                    <a:pt x="447" y="105"/>
                  </a:lnTo>
                  <a:lnTo>
                    <a:pt x="451" y="105"/>
                  </a:lnTo>
                  <a:lnTo>
                    <a:pt x="454" y="103"/>
                  </a:lnTo>
                  <a:lnTo>
                    <a:pt x="458" y="101"/>
                  </a:lnTo>
                  <a:lnTo>
                    <a:pt x="460" y="99"/>
                  </a:lnTo>
                  <a:lnTo>
                    <a:pt x="462" y="99"/>
                  </a:lnTo>
                  <a:lnTo>
                    <a:pt x="464" y="99"/>
                  </a:lnTo>
                  <a:lnTo>
                    <a:pt x="465" y="99"/>
                  </a:lnTo>
                  <a:lnTo>
                    <a:pt x="467" y="97"/>
                  </a:lnTo>
                  <a:lnTo>
                    <a:pt x="469" y="97"/>
                  </a:lnTo>
                  <a:lnTo>
                    <a:pt x="471" y="97"/>
                  </a:lnTo>
                  <a:lnTo>
                    <a:pt x="473" y="97"/>
                  </a:lnTo>
                  <a:lnTo>
                    <a:pt x="475" y="99"/>
                  </a:lnTo>
                  <a:lnTo>
                    <a:pt x="476" y="99"/>
                  </a:lnTo>
                  <a:lnTo>
                    <a:pt x="478" y="101"/>
                  </a:lnTo>
                  <a:lnTo>
                    <a:pt x="480" y="101"/>
                  </a:lnTo>
                  <a:lnTo>
                    <a:pt x="482" y="103"/>
                  </a:lnTo>
                  <a:lnTo>
                    <a:pt x="482" y="105"/>
                  </a:lnTo>
                  <a:lnTo>
                    <a:pt x="482" y="107"/>
                  </a:lnTo>
                  <a:lnTo>
                    <a:pt x="482" y="109"/>
                  </a:lnTo>
                  <a:lnTo>
                    <a:pt x="482" y="112"/>
                  </a:lnTo>
                  <a:lnTo>
                    <a:pt x="480" y="114"/>
                  </a:lnTo>
                  <a:lnTo>
                    <a:pt x="478" y="120"/>
                  </a:lnTo>
                  <a:lnTo>
                    <a:pt x="476" y="125"/>
                  </a:lnTo>
                  <a:lnTo>
                    <a:pt x="476" y="127"/>
                  </a:lnTo>
                  <a:lnTo>
                    <a:pt x="475" y="129"/>
                  </a:lnTo>
                  <a:lnTo>
                    <a:pt x="475" y="131"/>
                  </a:lnTo>
                  <a:lnTo>
                    <a:pt x="475" y="133"/>
                  </a:lnTo>
                  <a:lnTo>
                    <a:pt x="475" y="134"/>
                  </a:lnTo>
                  <a:lnTo>
                    <a:pt x="476" y="134"/>
                  </a:lnTo>
                  <a:lnTo>
                    <a:pt x="476" y="136"/>
                  </a:lnTo>
                  <a:lnTo>
                    <a:pt x="478" y="136"/>
                  </a:lnTo>
                  <a:lnTo>
                    <a:pt x="478" y="138"/>
                  </a:lnTo>
                  <a:lnTo>
                    <a:pt x="480" y="138"/>
                  </a:lnTo>
                  <a:lnTo>
                    <a:pt x="480" y="136"/>
                  </a:lnTo>
                  <a:lnTo>
                    <a:pt x="482" y="136"/>
                  </a:lnTo>
                  <a:lnTo>
                    <a:pt x="482" y="134"/>
                  </a:lnTo>
                  <a:lnTo>
                    <a:pt x="484" y="134"/>
                  </a:lnTo>
                  <a:lnTo>
                    <a:pt x="484" y="129"/>
                  </a:lnTo>
                  <a:lnTo>
                    <a:pt x="484" y="125"/>
                  </a:lnTo>
                  <a:lnTo>
                    <a:pt x="484" y="123"/>
                  </a:lnTo>
                  <a:lnTo>
                    <a:pt x="486" y="121"/>
                  </a:lnTo>
                  <a:lnTo>
                    <a:pt x="488" y="120"/>
                  </a:lnTo>
                  <a:lnTo>
                    <a:pt x="489" y="118"/>
                  </a:lnTo>
                  <a:lnTo>
                    <a:pt x="493" y="116"/>
                  </a:lnTo>
                  <a:lnTo>
                    <a:pt x="499" y="112"/>
                  </a:lnTo>
                  <a:lnTo>
                    <a:pt x="500" y="112"/>
                  </a:lnTo>
                  <a:lnTo>
                    <a:pt x="502" y="110"/>
                  </a:lnTo>
                  <a:lnTo>
                    <a:pt x="504" y="112"/>
                  </a:lnTo>
                  <a:lnTo>
                    <a:pt x="508" y="116"/>
                  </a:lnTo>
                  <a:lnTo>
                    <a:pt x="512" y="118"/>
                  </a:lnTo>
                  <a:lnTo>
                    <a:pt x="513" y="120"/>
                  </a:lnTo>
                  <a:lnTo>
                    <a:pt x="515" y="120"/>
                  </a:lnTo>
                  <a:lnTo>
                    <a:pt x="515" y="121"/>
                  </a:lnTo>
                  <a:lnTo>
                    <a:pt x="517" y="121"/>
                  </a:lnTo>
                  <a:lnTo>
                    <a:pt x="517" y="123"/>
                  </a:lnTo>
                  <a:lnTo>
                    <a:pt x="519" y="125"/>
                  </a:lnTo>
                  <a:lnTo>
                    <a:pt x="521" y="127"/>
                  </a:lnTo>
                  <a:lnTo>
                    <a:pt x="521" y="129"/>
                  </a:lnTo>
                  <a:lnTo>
                    <a:pt x="523" y="133"/>
                  </a:lnTo>
                  <a:lnTo>
                    <a:pt x="523" y="134"/>
                  </a:lnTo>
                  <a:lnTo>
                    <a:pt x="523" y="136"/>
                  </a:lnTo>
                  <a:lnTo>
                    <a:pt x="523" y="138"/>
                  </a:lnTo>
                  <a:lnTo>
                    <a:pt x="523" y="140"/>
                  </a:lnTo>
                  <a:lnTo>
                    <a:pt x="523" y="144"/>
                  </a:lnTo>
                  <a:lnTo>
                    <a:pt x="521" y="149"/>
                  </a:lnTo>
                  <a:lnTo>
                    <a:pt x="523" y="151"/>
                  </a:lnTo>
                  <a:lnTo>
                    <a:pt x="523" y="153"/>
                  </a:lnTo>
                  <a:lnTo>
                    <a:pt x="523" y="155"/>
                  </a:lnTo>
                  <a:lnTo>
                    <a:pt x="521" y="157"/>
                  </a:lnTo>
                  <a:lnTo>
                    <a:pt x="521" y="158"/>
                  </a:lnTo>
                  <a:lnTo>
                    <a:pt x="521" y="160"/>
                  </a:lnTo>
                  <a:lnTo>
                    <a:pt x="519" y="162"/>
                  </a:lnTo>
                  <a:lnTo>
                    <a:pt x="519" y="164"/>
                  </a:lnTo>
                  <a:lnTo>
                    <a:pt x="517" y="164"/>
                  </a:lnTo>
                  <a:lnTo>
                    <a:pt x="515" y="166"/>
                  </a:lnTo>
                  <a:lnTo>
                    <a:pt x="513" y="166"/>
                  </a:lnTo>
                  <a:lnTo>
                    <a:pt x="512" y="166"/>
                  </a:lnTo>
                  <a:lnTo>
                    <a:pt x="510" y="168"/>
                  </a:lnTo>
                  <a:lnTo>
                    <a:pt x="508" y="168"/>
                  </a:lnTo>
                  <a:lnTo>
                    <a:pt x="506" y="168"/>
                  </a:lnTo>
                  <a:lnTo>
                    <a:pt x="506" y="170"/>
                  </a:lnTo>
                  <a:lnTo>
                    <a:pt x="506" y="171"/>
                  </a:lnTo>
                  <a:lnTo>
                    <a:pt x="506" y="173"/>
                  </a:lnTo>
                  <a:lnTo>
                    <a:pt x="508" y="175"/>
                  </a:lnTo>
                  <a:lnTo>
                    <a:pt x="508" y="177"/>
                  </a:lnTo>
                  <a:lnTo>
                    <a:pt x="510" y="177"/>
                  </a:lnTo>
                  <a:lnTo>
                    <a:pt x="510" y="179"/>
                  </a:lnTo>
                  <a:lnTo>
                    <a:pt x="512" y="179"/>
                  </a:lnTo>
                  <a:lnTo>
                    <a:pt x="513" y="181"/>
                  </a:lnTo>
                  <a:lnTo>
                    <a:pt x="517" y="182"/>
                  </a:lnTo>
                  <a:lnTo>
                    <a:pt x="519" y="182"/>
                  </a:lnTo>
                  <a:lnTo>
                    <a:pt x="519" y="184"/>
                  </a:lnTo>
                  <a:lnTo>
                    <a:pt x="521" y="184"/>
                  </a:lnTo>
                  <a:lnTo>
                    <a:pt x="521" y="186"/>
                  </a:lnTo>
                  <a:lnTo>
                    <a:pt x="521" y="188"/>
                  </a:lnTo>
                  <a:lnTo>
                    <a:pt x="521" y="190"/>
                  </a:lnTo>
                  <a:lnTo>
                    <a:pt x="521" y="192"/>
                  </a:lnTo>
                  <a:lnTo>
                    <a:pt x="517" y="199"/>
                  </a:lnTo>
                  <a:lnTo>
                    <a:pt x="513" y="206"/>
                  </a:lnTo>
                  <a:lnTo>
                    <a:pt x="512" y="208"/>
                  </a:lnTo>
                  <a:lnTo>
                    <a:pt x="510" y="210"/>
                  </a:lnTo>
                  <a:lnTo>
                    <a:pt x="508" y="212"/>
                  </a:lnTo>
                  <a:lnTo>
                    <a:pt x="508" y="214"/>
                  </a:lnTo>
                  <a:lnTo>
                    <a:pt x="504" y="214"/>
                  </a:lnTo>
                  <a:lnTo>
                    <a:pt x="502" y="214"/>
                  </a:lnTo>
                  <a:lnTo>
                    <a:pt x="500" y="214"/>
                  </a:lnTo>
                  <a:lnTo>
                    <a:pt x="499" y="214"/>
                  </a:lnTo>
                  <a:lnTo>
                    <a:pt x="497" y="214"/>
                  </a:lnTo>
                  <a:lnTo>
                    <a:pt x="493" y="214"/>
                  </a:lnTo>
                  <a:lnTo>
                    <a:pt x="489" y="216"/>
                  </a:lnTo>
                  <a:lnTo>
                    <a:pt x="486" y="218"/>
                  </a:lnTo>
                  <a:lnTo>
                    <a:pt x="484" y="218"/>
                  </a:lnTo>
                  <a:lnTo>
                    <a:pt x="482" y="218"/>
                  </a:lnTo>
                  <a:lnTo>
                    <a:pt x="480" y="218"/>
                  </a:lnTo>
                  <a:lnTo>
                    <a:pt x="478" y="218"/>
                  </a:lnTo>
                  <a:lnTo>
                    <a:pt x="475" y="216"/>
                  </a:lnTo>
                  <a:lnTo>
                    <a:pt x="473" y="214"/>
                  </a:lnTo>
                  <a:lnTo>
                    <a:pt x="471" y="214"/>
                  </a:lnTo>
                  <a:lnTo>
                    <a:pt x="471" y="212"/>
                  </a:lnTo>
                  <a:lnTo>
                    <a:pt x="469" y="212"/>
                  </a:lnTo>
                  <a:lnTo>
                    <a:pt x="469" y="210"/>
                  </a:lnTo>
                  <a:lnTo>
                    <a:pt x="467" y="208"/>
                  </a:lnTo>
                  <a:lnTo>
                    <a:pt x="467" y="205"/>
                  </a:lnTo>
                  <a:lnTo>
                    <a:pt x="465" y="203"/>
                  </a:lnTo>
                  <a:lnTo>
                    <a:pt x="464" y="201"/>
                  </a:lnTo>
                  <a:lnTo>
                    <a:pt x="462" y="201"/>
                  </a:lnTo>
                  <a:lnTo>
                    <a:pt x="462" y="199"/>
                  </a:lnTo>
                  <a:lnTo>
                    <a:pt x="456" y="199"/>
                  </a:lnTo>
                  <a:lnTo>
                    <a:pt x="452" y="199"/>
                  </a:lnTo>
                  <a:lnTo>
                    <a:pt x="451" y="199"/>
                  </a:lnTo>
                  <a:lnTo>
                    <a:pt x="449" y="197"/>
                  </a:lnTo>
                  <a:lnTo>
                    <a:pt x="447" y="197"/>
                  </a:lnTo>
                  <a:lnTo>
                    <a:pt x="445" y="197"/>
                  </a:lnTo>
                  <a:lnTo>
                    <a:pt x="445" y="195"/>
                  </a:lnTo>
                  <a:lnTo>
                    <a:pt x="443" y="195"/>
                  </a:lnTo>
                  <a:lnTo>
                    <a:pt x="441" y="194"/>
                  </a:lnTo>
                  <a:lnTo>
                    <a:pt x="438" y="194"/>
                  </a:lnTo>
                  <a:lnTo>
                    <a:pt x="436" y="192"/>
                  </a:lnTo>
                  <a:lnTo>
                    <a:pt x="434" y="192"/>
                  </a:lnTo>
                  <a:lnTo>
                    <a:pt x="434" y="190"/>
                  </a:lnTo>
                  <a:lnTo>
                    <a:pt x="432" y="190"/>
                  </a:lnTo>
                  <a:lnTo>
                    <a:pt x="430" y="188"/>
                  </a:lnTo>
                  <a:lnTo>
                    <a:pt x="428" y="186"/>
                  </a:lnTo>
                  <a:lnTo>
                    <a:pt x="427" y="184"/>
                  </a:lnTo>
                  <a:lnTo>
                    <a:pt x="427" y="182"/>
                  </a:lnTo>
                  <a:lnTo>
                    <a:pt x="425" y="181"/>
                  </a:lnTo>
                  <a:lnTo>
                    <a:pt x="425" y="179"/>
                  </a:lnTo>
                  <a:lnTo>
                    <a:pt x="423" y="177"/>
                  </a:lnTo>
                  <a:lnTo>
                    <a:pt x="423" y="175"/>
                  </a:lnTo>
                  <a:lnTo>
                    <a:pt x="423" y="173"/>
                  </a:lnTo>
                  <a:lnTo>
                    <a:pt x="421" y="171"/>
                  </a:lnTo>
                  <a:lnTo>
                    <a:pt x="421" y="164"/>
                  </a:lnTo>
                  <a:lnTo>
                    <a:pt x="421" y="155"/>
                  </a:lnTo>
                  <a:lnTo>
                    <a:pt x="419" y="155"/>
                  </a:lnTo>
                  <a:lnTo>
                    <a:pt x="419" y="153"/>
                  </a:lnTo>
                  <a:lnTo>
                    <a:pt x="417" y="153"/>
                  </a:lnTo>
                  <a:lnTo>
                    <a:pt x="414" y="151"/>
                  </a:lnTo>
                  <a:lnTo>
                    <a:pt x="412" y="149"/>
                  </a:lnTo>
                  <a:lnTo>
                    <a:pt x="408" y="147"/>
                  </a:lnTo>
                  <a:lnTo>
                    <a:pt x="406" y="146"/>
                  </a:lnTo>
                  <a:lnTo>
                    <a:pt x="404" y="146"/>
                  </a:lnTo>
                  <a:lnTo>
                    <a:pt x="404" y="144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6" y="138"/>
                  </a:lnTo>
                  <a:lnTo>
                    <a:pt x="408" y="136"/>
                  </a:lnTo>
                  <a:lnTo>
                    <a:pt x="412" y="134"/>
                  </a:lnTo>
                  <a:lnTo>
                    <a:pt x="414" y="133"/>
                  </a:lnTo>
                  <a:lnTo>
                    <a:pt x="414" y="131"/>
                  </a:lnTo>
                  <a:lnTo>
                    <a:pt x="415" y="131"/>
                  </a:lnTo>
                  <a:lnTo>
                    <a:pt x="417" y="129"/>
                  </a:lnTo>
                  <a:lnTo>
                    <a:pt x="419" y="129"/>
                  </a:lnTo>
                  <a:lnTo>
                    <a:pt x="419" y="127"/>
                  </a:lnTo>
                  <a:lnTo>
                    <a:pt x="423" y="127"/>
                  </a:lnTo>
                  <a:lnTo>
                    <a:pt x="425" y="127"/>
                  </a:lnTo>
                  <a:lnTo>
                    <a:pt x="428" y="125"/>
                  </a:lnTo>
                  <a:lnTo>
                    <a:pt x="430" y="125"/>
                  </a:lnTo>
                  <a:lnTo>
                    <a:pt x="432" y="125"/>
                  </a:lnTo>
                  <a:lnTo>
                    <a:pt x="432" y="120"/>
                  </a:lnTo>
                  <a:lnTo>
                    <a:pt x="432" y="116"/>
                  </a:lnTo>
                  <a:close/>
                  <a:moveTo>
                    <a:pt x="373" y="94"/>
                  </a:moveTo>
                  <a:lnTo>
                    <a:pt x="375" y="94"/>
                  </a:lnTo>
                  <a:lnTo>
                    <a:pt x="377" y="92"/>
                  </a:lnTo>
                  <a:lnTo>
                    <a:pt x="379" y="94"/>
                  </a:lnTo>
                  <a:lnTo>
                    <a:pt x="380" y="94"/>
                  </a:lnTo>
                  <a:lnTo>
                    <a:pt x="382" y="94"/>
                  </a:lnTo>
                  <a:lnTo>
                    <a:pt x="384" y="94"/>
                  </a:lnTo>
                  <a:lnTo>
                    <a:pt x="386" y="96"/>
                  </a:lnTo>
                  <a:lnTo>
                    <a:pt x="388" y="96"/>
                  </a:lnTo>
                  <a:lnTo>
                    <a:pt x="390" y="97"/>
                  </a:lnTo>
                  <a:lnTo>
                    <a:pt x="393" y="99"/>
                  </a:lnTo>
                  <a:lnTo>
                    <a:pt x="397" y="101"/>
                  </a:lnTo>
                  <a:lnTo>
                    <a:pt x="399" y="103"/>
                  </a:lnTo>
                  <a:lnTo>
                    <a:pt x="401" y="105"/>
                  </a:lnTo>
                  <a:lnTo>
                    <a:pt x="403" y="107"/>
                  </a:lnTo>
                  <a:lnTo>
                    <a:pt x="406" y="109"/>
                  </a:lnTo>
                  <a:lnTo>
                    <a:pt x="408" y="110"/>
                  </a:lnTo>
                  <a:lnTo>
                    <a:pt x="408" y="112"/>
                  </a:lnTo>
                  <a:lnTo>
                    <a:pt x="410" y="114"/>
                  </a:lnTo>
                  <a:lnTo>
                    <a:pt x="412" y="116"/>
                  </a:lnTo>
                  <a:lnTo>
                    <a:pt x="414" y="118"/>
                  </a:lnTo>
                  <a:lnTo>
                    <a:pt x="414" y="120"/>
                  </a:lnTo>
                  <a:lnTo>
                    <a:pt x="415" y="120"/>
                  </a:lnTo>
                  <a:lnTo>
                    <a:pt x="415" y="121"/>
                  </a:lnTo>
                  <a:lnTo>
                    <a:pt x="414" y="123"/>
                  </a:lnTo>
                  <a:lnTo>
                    <a:pt x="414" y="125"/>
                  </a:lnTo>
                  <a:lnTo>
                    <a:pt x="412" y="125"/>
                  </a:lnTo>
                  <a:lnTo>
                    <a:pt x="412" y="127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10" y="131"/>
                  </a:lnTo>
                  <a:lnTo>
                    <a:pt x="408" y="131"/>
                  </a:lnTo>
                  <a:lnTo>
                    <a:pt x="408" y="133"/>
                  </a:lnTo>
                  <a:lnTo>
                    <a:pt x="406" y="133"/>
                  </a:lnTo>
                  <a:lnTo>
                    <a:pt x="404" y="133"/>
                  </a:lnTo>
                  <a:lnTo>
                    <a:pt x="403" y="133"/>
                  </a:lnTo>
                  <a:lnTo>
                    <a:pt x="401" y="133"/>
                  </a:lnTo>
                  <a:lnTo>
                    <a:pt x="399" y="133"/>
                  </a:lnTo>
                  <a:lnTo>
                    <a:pt x="397" y="133"/>
                  </a:lnTo>
                  <a:lnTo>
                    <a:pt x="393" y="131"/>
                  </a:lnTo>
                  <a:lnTo>
                    <a:pt x="391" y="131"/>
                  </a:lnTo>
                  <a:lnTo>
                    <a:pt x="390" y="129"/>
                  </a:lnTo>
                  <a:lnTo>
                    <a:pt x="388" y="127"/>
                  </a:lnTo>
                  <a:lnTo>
                    <a:pt x="386" y="127"/>
                  </a:lnTo>
                  <a:lnTo>
                    <a:pt x="384" y="125"/>
                  </a:lnTo>
                  <a:lnTo>
                    <a:pt x="382" y="123"/>
                  </a:lnTo>
                  <a:lnTo>
                    <a:pt x="380" y="121"/>
                  </a:lnTo>
                  <a:lnTo>
                    <a:pt x="379" y="118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3" y="110"/>
                  </a:lnTo>
                  <a:lnTo>
                    <a:pt x="371" y="109"/>
                  </a:lnTo>
                  <a:lnTo>
                    <a:pt x="369" y="107"/>
                  </a:lnTo>
                  <a:lnTo>
                    <a:pt x="369" y="105"/>
                  </a:lnTo>
                  <a:lnTo>
                    <a:pt x="369" y="103"/>
                  </a:lnTo>
                  <a:lnTo>
                    <a:pt x="367" y="101"/>
                  </a:lnTo>
                  <a:lnTo>
                    <a:pt x="367" y="99"/>
                  </a:lnTo>
                  <a:lnTo>
                    <a:pt x="367" y="97"/>
                  </a:lnTo>
                  <a:lnTo>
                    <a:pt x="367" y="96"/>
                  </a:lnTo>
                  <a:lnTo>
                    <a:pt x="369" y="94"/>
                  </a:lnTo>
                  <a:lnTo>
                    <a:pt x="371" y="94"/>
                  </a:lnTo>
                  <a:lnTo>
                    <a:pt x="373" y="94"/>
                  </a:lnTo>
                  <a:close/>
                  <a:moveTo>
                    <a:pt x="539" y="203"/>
                  </a:moveTo>
                  <a:lnTo>
                    <a:pt x="539" y="201"/>
                  </a:lnTo>
                  <a:lnTo>
                    <a:pt x="539" y="199"/>
                  </a:lnTo>
                  <a:lnTo>
                    <a:pt x="539" y="197"/>
                  </a:lnTo>
                  <a:lnTo>
                    <a:pt x="541" y="195"/>
                  </a:lnTo>
                  <a:lnTo>
                    <a:pt x="541" y="194"/>
                  </a:lnTo>
                  <a:lnTo>
                    <a:pt x="541" y="192"/>
                  </a:lnTo>
                  <a:lnTo>
                    <a:pt x="543" y="192"/>
                  </a:lnTo>
                  <a:lnTo>
                    <a:pt x="543" y="190"/>
                  </a:lnTo>
                  <a:lnTo>
                    <a:pt x="541" y="184"/>
                  </a:lnTo>
                  <a:lnTo>
                    <a:pt x="541" y="179"/>
                  </a:lnTo>
                  <a:lnTo>
                    <a:pt x="541" y="177"/>
                  </a:lnTo>
                  <a:lnTo>
                    <a:pt x="543" y="175"/>
                  </a:lnTo>
                  <a:lnTo>
                    <a:pt x="543" y="173"/>
                  </a:lnTo>
                  <a:lnTo>
                    <a:pt x="543" y="171"/>
                  </a:lnTo>
                  <a:lnTo>
                    <a:pt x="545" y="170"/>
                  </a:lnTo>
                  <a:lnTo>
                    <a:pt x="545" y="168"/>
                  </a:lnTo>
                  <a:lnTo>
                    <a:pt x="547" y="168"/>
                  </a:lnTo>
                  <a:lnTo>
                    <a:pt x="547" y="166"/>
                  </a:lnTo>
                  <a:lnTo>
                    <a:pt x="548" y="166"/>
                  </a:lnTo>
                  <a:lnTo>
                    <a:pt x="550" y="166"/>
                  </a:lnTo>
                  <a:lnTo>
                    <a:pt x="552" y="166"/>
                  </a:lnTo>
                  <a:lnTo>
                    <a:pt x="552" y="168"/>
                  </a:lnTo>
                  <a:lnTo>
                    <a:pt x="554" y="168"/>
                  </a:lnTo>
                  <a:lnTo>
                    <a:pt x="556" y="170"/>
                  </a:lnTo>
                  <a:lnTo>
                    <a:pt x="556" y="171"/>
                  </a:lnTo>
                  <a:lnTo>
                    <a:pt x="558" y="171"/>
                  </a:lnTo>
                  <a:lnTo>
                    <a:pt x="558" y="173"/>
                  </a:lnTo>
                  <a:lnTo>
                    <a:pt x="558" y="171"/>
                  </a:lnTo>
                  <a:lnTo>
                    <a:pt x="560" y="170"/>
                  </a:lnTo>
                  <a:lnTo>
                    <a:pt x="560" y="168"/>
                  </a:lnTo>
                  <a:lnTo>
                    <a:pt x="561" y="164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3" y="160"/>
                  </a:lnTo>
                  <a:lnTo>
                    <a:pt x="565" y="160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9" y="158"/>
                  </a:lnTo>
                  <a:lnTo>
                    <a:pt x="571" y="158"/>
                  </a:lnTo>
                  <a:lnTo>
                    <a:pt x="572" y="158"/>
                  </a:lnTo>
                  <a:lnTo>
                    <a:pt x="574" y="158"/>
                  </a:lnTo>
                  <a:lnTo>
                    <a:pt x="574" y="160"/>
                  </a:lnTo>
                  <a:lnTo>
                    <a:pt x="576" y="160"/>
                  </a:lnTo>
                  <a:lnTo>
                    <a:pt x="576" y="162"/>
                  </a:lnTo>
                  <a:lnTo>
                    <a:pt x="578" y="164"/>
                  </a:lnTo>
                  <a:lnTo>
                    <a:pt x="578" y="166"/>
                  </a:lnTo>
                  <a:lnTo>
                    <a:pt x="578" y="168"/>
                  </a:lnTo>
                  <a:lnTo>
                    <a:pt x="576" y="171"/>
                  </a:lnTo>
                  <a:lnTo>
                    <a:pt x="576" y="173"/>
                  </a:lnTo>
                  <a:lnTo>
                    <a:pt x="574" y="179"/>
                  </a:lnTo>
                  <a:lnTo>
                    <a:pt x="574" y="184"/>
                  </a:lnTo>
                  <a:lnTo>
                    <a:pt x="574" y="188"/>
                  </a:lnTo>
                  <a:lnTo>
                    <a:pt x="574" y="190"/>
                  </a:lnTo>
                  <a:lnTo>
                    <a:pt x="576" y="190"/>
                  </a:lnTo>
                  <a:lnTo>
                    <a:pt x="578" y="190"/>
                  </a:lnTo>
                  <a:lnTo>
                    <a:pt x="580" y="190"/>
                  </a:lnTo>
                  <a:lnTo>
                    <a:pt x="582" y="188"/>
                  </a:lnTo>
                  <a:lnTo>
                    <a:pt x="584" y="186"/>
                  </a:lnTo>
                  <a:lnTo>
                    <a:pt x="585" y="184"/>
                  </a:lnTo>
                  <a:lnTo>
                    <a:pt x="587" y="184"/>
                  </a:lnTo>
                  <a:lnTo>
                    <a:pt x="589" y="182"/>
                  </a:lnTo>
                  <a:lnTo>
                    <a:pt x="591" y="182"/>
                  </a:lnTo>
                  <a:lnTo>
                    <a:pt x="593" y="182"/>
                  </a:lnTo>
                  <a:lnTo>
                    <a:pt x="595" y="182"/>
                  </a:lnTo>
                  <a:lnTo>
                    <a:pt x="597" y="182"/>
                  </a:lnTo>
                  <a:lnTo>
                    <a:pt x="597" y="184"/>
                  </a:lnTo>
                  <a:lnTo>
                    <a:pt x="598" y="184"/>
                  </a:lnTo>
                  <a:lnTo>
                    <a:pt x="600" y="186"/>
                  </a:lnTo>
                  <a:lnTo>
                    <a:pt x="602" y="190"/>
                  </a:lnTo>
                  <a:lnTo>
                    <a:pt x="604" y="192"/>
                  </a:lnTo>
                  <a:lnTo>
                    <a:pt x="606" y="194"/>
                  </a:lnTo>
                  <a:lnTo>
                    <a:pt x="606" y="195"/>
                  </a:lnTo>
                  <a:lnTo>
                    <a:pt x="606" y="197"/>
                  </a:lnTo>
                  <a:lnTo>
                    <a:pt x="604" y="199"/>
                  </a:lnTo>
                  <a:lnTo>
                    <a:pt x="604" y="201"/>
                  </a:lnTo>
                  <a:lnTo>
                    <a:pt x="604" y="203"/>
                  </a:lnTo>
                  <a:lnTo>
                    <a:pt x="602" y="205"/>
                  </a:lnTo>
                  <a:lnTo>
                    <a:pt x="602" y="206"/>
                  </a:lnTo>
                  <a:lnTo>
                    <a:pt x="604" y="206"/>
                  </a:lnTo>
                  <a:lnTo>
                    <a:pt x="606" y="208"/>
                  </a:lnTo>
                  <a:lnTo>
                    <a:pt x="608" y="208"/>
                  </a:lnTo>
                  <a:lnTo>
                    <a:pt x="611" y="208"/>
                  </a:lnTo>
                  <a:lnTo>
                    <a:pt x="615" y="208"/>
                  </a:lnTo>
                  <a:lnTo>
                    <a:pt x="617" y="208"/>
                  </a:lnTo>
                  <a:lnTo>
                    <a:pt x="619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4" y="208"/>
                  </a:lnTo>
                  <a:lnTo>
                    <a:pt x="624" y="210"/>
                  </a:lnTo>
                  <a:lnTo>
                    <a:pt x="626" y="210"/>
                  </a:lnTo>
                  <a:lnTo>
                    <a:pt x="626" y="214"/>
                  </a:lnTo>
                  <a:lnTo>
                    <a:pt x="626" y="218"/>
                  </a:lnTo>
                  <a:lnTo>
                    <a:pt x="626" y="219"/>
                  </a:lnTo>
                  <a:lnTo>
                    <a:pt x="626" y="223"/>
                  </a:lnTo>
                  <a:lnTo>
                    <a:pt x="626" y="225"/>
                  </a:lnTo>
                  <a:lnTo>
                    <a:pt x="626" y="227"/>
                  </a:lnTo>
                  <a:lnTo>
                    <a:pt x="626" y="231"/>
                  </a:lnTo>
                  <a:lnTo>
                    <a:pt x="624" y="232"/>
                  </a:lnTo>
                  <a:lnTo>
                    <a:pt x="624" y="234"/>
                  </a:lnTo>
                  <a:lnTo>
                    <a:pt x="624" y="236"/>
                  </a:lnTo>
                  <a:lnTo>
                    <a:pt x="622" y="238"/>
                  </a:lnTo>
                  <a:lnTo>
                    <a:pt x="622" y="240"/>
                  </a:lnTo>
                  <a:lnTo>
                    <a:pt x="621" y="242"/>
                  </a:lnTo>
                  <a:lnTo>
                    <a:pt x="619" y="243"/>
                  </a:lnTo>
                  <a:lnTo>
                    <a:pt x="619" y="245"/>
                  </a:lnTo>
                  <a:lnTo>
                    <a:pt x="617" y="245"/>
                  </a:lnTo>
                  <a:lnTo>
                    <a:pt x="615" y="247"/>
                  </a:lnTo>
                  <a:lnTo>
                    <a:pt x="613" y="249"/>
                  </a:lnTo>
                  <a:lnTo>
                    <a:pt x="611" y="251"/>
                  </a:lnTo>
                  <a:lnTo>
                    <a:pt x="609" y="251"/>
                  </a:lnTo>
                  <a:lnTo>
                    <a:pt x="608" y="251"/>
                  </a:lnTo>
                  <a:lnTo>
                    <a:pt x="606" y="253"/>
                  </a:lnTo>
                  <a:lnTo>
                    <a:pt x="604" y="253"/>
                  </a:lnTo>
                  <a:lnTo>
                    <a:pt x="602" y="253"/>
                  </a:lnTo>
                  <a:lnTo>
                    <a:pt x="600" y="253"/>
                  </a:lnTo>
                  <a:lnTo>
                    <a:pt x="598" y="253"/>
                  </a:lnTo>
                  <a:lnTo>
                    <a:pt x="597" y="253"/>
                  </a:lnTo>
                  <a:lnTo>
                    <a:pt x="595" y="253"/>
                  </a:lnTo>
                  <a:lnTo>
                    <a:pt x="593" y="253"/>
                  </a:lnTo>
                  <a:lnTo>
                    <a:pt x="591" y="253"/>
                  </a:lnTo>
                  <a:lnTo>
                    <a:pt x="589" y="255"/>
                  </a:lnTo>
                  <a:lnTo>
                    <a:pt x="587" y="255"/>
                  </a:lnTo>
                  <a:lnTo>
                    <a:pt x="582" y="256"/>
                  </a:lnTo>
                  <a:lnTo>
                    <a:pt x="576" y="258"/>
                  </a:lnTo>
                  <a:lnTo>
                    <a:pt x="574" y="260"/>
                  </a:lnTo>
                  <a:lnTo>
                    <a:pt x="571" y="260"/>
                  </a:lnTo>
                  <a:lnTo>
                    <a:pt x="569" y="260"/>
                  </a:lnTo>
                  <a:lnTo>
                    <a:pt x="565" y="260"/>
                  </a:lnTo>
                  <a:lnTo>
                    <a:pt x="563" y="262"/>
                  </a:lnTo>
                  <a:lnTo>
                    <a:pt x="561" y="262"/>
                  </a:lnTo>
                  <a:lnTo>
                    <a:pt x="558" y="262"/>
                  </a:lnTo>
                  <a:lnTo>
                    <a:pt x="556" y="262"/>
                  </a:lnTo>
                  <a:lnTo>
                    <a:pt x="552" y="264"/>
                  </a:lnTo>
                  <a:lnTo>
                    <a:pt x="550" y="266"/>
                  </a:lnTo>
                  <a:lnTo>
                    <a:pt x="545" y="269"/>
                  </a:lnTo>
                  <a:lnTo>
                    <a:pt x="541" y="273"/>
                  </a:lnTo>
                  <a:lnTo>
                    <a:pt x="539" y="275"/>
                  </a:lnTo>
                  <a:lnTo>
                    <a:pt x="537" y="275"/>
                  </a:lnTo>
                  <a:lnTo>
                    <a:pt x="536" y="277"/>
                  </a:lnTo>
                  <a:lnTo>
                    <a:pt x="534" y="277"/>
                  </a:lnTo>
                  <a:lnTo>
                    <a:pt x="530" y="277"/>
                  </a:lnTo>
                  <a:lnTo>
                    <a:pt x="530" y="279"/>
                  </a:lnTo>
                  <a:lnTo>
                    <a:pt x="528" y="279"/>
                  </a:lnTo>
                  <a:lnTo>
                    <a:pt x="526" y="277"/>
                  </a:lnTo>
                  <a:lnTo>
                    <a:pt x="524" y="277"/>
                  </a:lnTo>
                  <a:lnTo>
                    <a:pt x="523" y="277"/>
                  </a:lnTo>
                  <a:lnTo>
                    <a:pt x="519" y="277"/>
                  </a:lnTo>
                  <a:lnTo>
                    <a:pt x="517" y="277"/>
                  </a:lnTo>
                  <a:lnTo>
                    <a:pt x="515" y="275"/>
                  </a:lnTo>
                  <a:lnTo>
                    <a:pt x="513" y="275"/>
                  </a:lnTo>
                  <a:lnTo>
                    <a:pt x="512" y="273"/>
                  </a:lnTo>
                  <a:lnTo>
                    <a:pt x="510" y="271"/>
                  </a:lnTo>
                  <a:lnTo>
                    <a:pt x="510" y="269"/>
                  </a:lnTo>
                  <a:lnTo>
                    <a:pt x="510" y="267"/>
                  </a:lnTo>
                  <a:lnTo>
                    <a:pt x="510" y="266"/>
                  </a:lnTo>
                  <a:lnTo>
                    <a:pt x="512" y="266"/>
                  </a:lnTo>
                  <a:lnTo>
                    <a:pt x="512" y="264"/>
                  </a:lnTo>
                  <a:lnTo>
                    <a:pt x="513" y="262"/>
                  </a:lnTo>
                  <a:lnTo>
                    <a:pt x="513" y="260"/>
                  </a:lnTo>
                  <a:lnTo>
                    <a:pt x="515" y="258"/>
                  </a:lnTo>
                  <a:lnTo>
                    <a:pt x="517" y="255"/>
                  </a:lnTo>
                  <a:lnTo>
                    <a:pt x="519" y="255"/>
                  </a:lnTo>
                  <a:lnTo>
                    <a:pt x="519" y="253"/>
                  </a:lnTo>
                  <a:lnTo>
                    <a:pt x="519" y="249"/>
                  </a:lnTo>
                  <a:lnTo>
                    <a:pt x="519" y="245"/>
                  </a:lnTo>
                  <a:lnTo>
                    <a:pt x="521" y="242"/>
                  </a:lnTo>
                  <a:lnTo>
                    <a:pt x="521" y="240"/>
                  </a:lnTo>
                  <a:lnTo>
                    <a:pt x="523" y="236"/>
                  </a:lnTo>
                  <a:lnTo>
                    <a:pt x="523" y="234"/>
                  </a:lnTo>
                  <a:lnTo>
                    <a:pt x="524" y="231"/>
                  </a:lnTo>
                  <a:lnTo>
                    <a:pt x="526" y="229"/>
                  </a:lnTo>
                  <a:lnTo>
                    <a:pt x="528" y="227"/>
                  </a:lnTo>
                  <a:lnTo>
                    <a:pt x="530" y="225"/>
                  </a:lnTo>
                  <a:lnTo>
                    <a:pt x="532" y="223"/>
                  </a:lnTo>
                  <a:lnTo>
                    <a:pt x="534" y="221"/>
                  </a:lnTo>
                  <a:lnTo>
                    <a:pt x="537" y="219"/>
                  </a:lnTo>
                  <a:lnTo>
                    <a:pt x="541" y="218"/>
                  </a:lnTo>
                  <a:lnTo>
                    <a:pt x="541" y="212"/>
                  </a:lnTo>
                  <a:lnTo>
                    <a:pt x="539" y="206"/>
                  </a:lnTo>
                  <a:lnTo>
                    <a:pt x="539" y="205"/>
                  </a:lnTo>
                  <a:lnTo>
                    <a:pt x="539" y="203"/>
                  </a:lnTo>
                  <a:close/>
                  <a:moveTo>
                    <a:pt x="366" y="136"/>
                  </a:moveTo>
                  <a:lnTo>
                    <a:pt x="367" y="136"/>
                  </a:lnTo>
                  <a:lnTo>
                    <a:pt x="369" y="136"/>
                  </a:lnTo>
                  <a:lnTo>
                    <a:pt x="369" y="140"/>
                  </a:lnTo>
                  <a:lnTo>
                    <a:pt x="369" y="142"/>
                  </a:lnTo>
                  <a:lnTo>
                    <a:pt x="369" y="144"/>
                  </a:lnTo>
                  <a:lnTo>
                    <a:pt x="367" y="144"/>
                  </a:lnTo>
                  <a:lnTo>
                    <a:pt x="367" y="146"/>
                  </a:lnTo>
                  <a:lnTo>
                    <a:pt x="366" y="146"/>
                  </a:lnTo>
                  <a:lnTo>
                    <a:pt x="364" y="144"/>
                  </a:lnTo>
                  <a:lnTo>
                    <a:pt x="364" y="140"/>
                  </a:lnTo>
                  <a:lnTo>
                    <a:pt x="364" y="138"/>
                  </a:lnTo>
                  <a:lnTo>
                    <a:pt x="364" y="136"/>
                  </a:lnTo>
                  <a:lnTo>
                    <a:pt x="366" y="136"/>
                  </a:lnTo>
                  <a:close/>
                  <a:moveTo>
                    <a:pt x="373" y="146"/>
                  </a:moveTo>
                  <a:lnTo>
                    <a:pt x="373" y="146"/>
                  </a:lnTo>
                  <a:lnTo>
                    <a:pt x="375" y="146"/>
                  </a:lnTo>
                  <a:lnTo>
                    <a:pt x="377" y="147"/>
                  </a:lnTo>
                  <a:lnTo>
                    <a:pt x="377" y="149"/>
                  </a:lnTo>
                  <a:lnTo>
                    <a:pt x="377" y="151"/>
                  </a:lnTo>
                  <a:lnTo>
                    <a:pt x="375" y="151"/>
                  </a:lnTo>
                  <a:lnTo>
                    <a:pt x="373" y="151"/>
                  </a:lnTo>
                  <a:lnTo>
                    <a:pt x="371" y="151"/>
                  </a:lnTo>
                  <a:lnTo>
                    <a:pt x="369" y="151"/>
                  </a:lnTo>
                  <a:lnTo>
                    <a:pt x="369" y="149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6"/>
                  </a:lnTo>
                  <a:close/>
                  <a:moveTo>
                    <a:pt x="379" y="127"/>
                  </a:moveTo>
                  <a:lnTo>
                    <a:pt x="380" y="127"/>
                  </a:lnTo>
                  <a:lnTo>
                    <a:pt x="382" y="127"/>
                  </a:lnTo>
                  <a:lnTo>
                    <a:pt x="384" y="129"/>
                  </a:lnTo>
                  <a:lnTo>
                    <a:pt x="384" y="131"/>
                  </a:lnTo>
                  <a:lnTo>
                    <a:pt x="384" y="133"/>
                  </a:lnTo>
                  <a:lnTo>
                    <a:pt x="382" y="133"/>
                  </a:lnTo>
                  <a:lnTo>
                    <a:pt x="380" y="133"/>
                  </a:lnTo>
                  <a:lnTo>
                    <a:pt x="379" y="133"/>
                  </a:lnTo>
                  <a:lnTo>
                    <a:pt x="375" y="133"/>
                  </a:lnTo>
                  <a:lnTo>
                    <a:pt x="373" y="133"/>
                  </a:lnTo>
                  <a:lnTo>
                    <a:pt x="371" y="133"/>
                  </a:lnTo>
                  <a:lnTo>
                    <a:pt x="371" y="131"/>
                  </a:lnTo>
                  <a:lnTo>
                    <a:pt x="371" y="129"/>
                  </a:lnTo>
                  <a:lnTo>
                    <a:pt x="373" y="127"/>
                  </a:lnTo>
                  <a:lnTo>
                    <a:pt x="375" y="127"/>
                  </a:lnTo>
                  <a:lnTo>
                    <a:pt x="379" y="127"/>
                  </a:lnTo>
                  <a:close/>
                  <a:moveTo>
                    <a:pt x="384" y="147"/>
                  </a:moveTo>
                  <a:lnTo>
                    <a:pt x="386" y="147"/>
                  </a:lnTo>
                  <a:lnTo>
                    <a:pt x="386" y="149"/>
                  </a:lnTo>
                  <a:lnTo>
                    <a:pt x="388" y="149"/>
                  </a:lnTo>
                  <a:lnTo>
                    <a:pt x="388" y="151"/>
                  </a:lnTo>
                  <a:lnTo>
                    <a:pt x="388" y="153"/>
                  </a:lnTo>
                  <a:lnTo>
                    <a:pt x="386" y="153"/>
                  </a:lnTo>
                  <a:lnTo>
                    <a:pt x="384" y="155"/>
                  </a:lnTo>
                  <a:lnTo>
                    <a:pt x="382" y="155"/>
                  </a:lnTo>
                  <a:lnTo>
                    <a:pt x="380" y="153"/>
                  </a:lnTo>
                  <a:lnTo>
                    <a:pt x="380" y="151"/>
                  </a:lnTo>
                  <a:lnTo>
                    <a:pt x="380" y="149"/>
                  </a:lnTo>
                  <a:lnTo>
                    <a:pt x="382" y="149"/>
                  </a:lnTo>
                  <a:lnTo>
                    <a:pt x="382" y="147"/>
                  </a:lnTo>
                  <a:lnTo>
                    <a:pt x="384" y="147"/>
                  </a:lnTo>
                  <a:close/>
                  <a:moveTo>
                    <a:pt x="397" y="149"/>
                  </a:moveTo>
                  <a:lnTo>
                    <a:pt x="397" y="149"/>
                  </a:lnTo>
                  <a:lnTo>
                    <a:pt x="399" y="149"/>
                  </a:lnTo>
                  <a:lnTo>
                    <a:pt x="399" y="151"/>
                  </a:lnTo>
                  <a:lnTo>
                    <a:pt x="401" y="151"/>
                  </a:lnTo>
                  <a:lnTo>
                    <a:pt x="401" y="153"/>
                  </a:lnTo>
                  <a:lnTo>
                    <a:pt x="401" y="155"/>
                  </a:lnTo>
                  <a:lnTo>
                    <a:pt x="401" y="157"/>
                  </a:lnTo>
                  <a:lnTo>
                    <a:pt x="401" y="158"/>
                  </a:lnTo>
                  <a:lnTo>
                    <a:pt x="399" y="158"/>
                  </a:lnTo>
                  <a:lnTo>
                    <a:pt x="397" y="160"/>
                  </a:lnTo>
                  <a:lnTo>
                    <a:pt x="395" y="160"/>
                  </a:lnTo>
                  <a:lnTo>
                    <a:pt x="395" y="158"/>
                  </a:lnTo>
                  <a:lnTo>
                    <a:pt x="393" y="158"/>
                  </a:lnTo>
                  <a:lnTo>
                    <a:pt x="393" y="157"/>
                  </a:lnTo>
                  <a:lnTo>
                    <a:pt x="393" y="155"/>
                  </a:lnTo>
                  <a:lnTo>
                    <a:pt x="393" y="153"/>
                  </a:lnTo>
                  <a:lnTo>
                    <a:pt x="393" y="151"/>
                  </a:lnTo>
                  <a:lnTo>
                    <a:pt x="395" y="151"/>
                  </a:lnTo>
                  <a:lnTo>
                    <a:pt x="395" y="149"/>
                  </a:lnTo>
                  <a:lnTo>
                    <a:pt x="397" y="149"/>
                  </a:lnTo>
                  <a:close/>
                  <a:moveTo>
                    <a:pt x="489" y="59"/>
                  </a:moveTo>
                  <a:lnTo>
                    <a:pt x="491" y="59"/>
                  </a:lnTo>
                  <a:lnTo>
                    <a:pt x="493" y="59"/>
                  </a:lnTo>
                  <a:lnTo>
                    <a:pt x="493" y="61"/>
                  </a:lnTo>
                  <a:lnTo>
                    <a:pt x="493" y="62"/>
                  </a:lnTo>
                  <a:lnTo>
                    <a:pt x="493" y="64"/>
                  </a:lnTo>
                  <a:lnTo>
                    <a:pt x="493" y="66"/>
                  </a:lnTo>
                  <a:lnTo>
                    <a:pt x="491" y="66"/>
                  </a:lnTo>
                  <a:lnTo>
                    <a:pt x="489" y="66"/>
                  </a:lnTo>
                  <a:lnTo>
                    <a:pt x="488" y="66"/>
                  </a:lnTo>
                  <a:lnTo>
                    <a:pt x="488" y="64"/>
                  </a:lnTo>
                  <a:lnTo>
                    <a:pt x="488" y="62"/>
                  </a:lnTo>
                  <a:lnTo>
                    <a:pt x="488" y="61"/>
                  </a:lnTo>
                  <a:lnTo>
                    <a:pt x="488" y="59"/>
                  </a:lnTo>
                  <a:lnTo>
                    <a:pt x="489" y="59"/>
                  </a:lnTo>
                  <a:close/>
                  <a:moveTo>
                    <a:pt x="421" y="7"/>
                  </a:moveTo>
                  <a:lnTo>
                    <a:pt x="421" y="7"/>
                  </a:lnTo>
                  <a:lnTo>
                    <a:pt x="423" y="7"/>
                  </a:lnTo>
                  <a:lnTo>
                    <a:pt x="423" y="9"/>
                  </a:lnTo>
                  <a:lnTo>
                    <a:pt x="425" y="11"/>
                  </a:lnTo>
                  <a:lnTo>
                    <a:pt x="425" y="12"/>
                  </a:lnTo>
                  <a:lnTo>
                    <a:pt x="423" y="12"/>
                  </a:lnTo>
                  <a:lnTo>
                    <a:pt x="423" y="14"/>
                  </a:lnTo>
                  <a:lnTo>
                    <a:pt x="421" y="14"/>
                  </a:lnTo>
                  <a:lnTo>
                    <a:pt x="419" y="14"/>
                  </a:lnTo>
                  <a:lnTo>
                    <a:pt x="417" y="14"/>
                  </a:lnTo>
                  <a:lnTo>
                    <a:pt x="417" y="12"/>
                  </a:lnTo>
                  <a:lnTo>
                    <a:pt x="417" y="11"/>
                  </a:lnTo>
                  <a:lnTo>
                    <a:pt x="417" y="9"/>
                  </a:lnTo>
                  <a:lnTo>
                    <a:pt x="419" y="7"/>
                  </a:lnTo>
                  <a:lnTo>
                    <a:pt x="421" y="7"/>
                  </a:lnTo>
                  <a:close/>
                  <a:moveTo>
                    <a:pt x="379" y="1"/>
                  </a:moveTo>
                  <a:lnTo>
                    <a:pt x="382" y="1"/>
                  </a:lnTo>
                  <a:lnTo>
                    <a:pt x="384" y="1"/>
                  </a:lnTo>
                  <a:lnTo>
                    <a:pt x="386" y="3"/>
                  </a:lnTo>
                  <a:lnTo>
                    <a:pt x="386" y="5"/>
                  </a:lnTo>
                  <a:lnTo>
                    <a:pt x="386" y="7"/>
                  </a:lnTo>
                  <a:lnTo>
                    <a:pt x="384" y="9"/>
                  </a:lnTo>
                  <a:lnTo>
                    <a:pt x="380" y="9"/>
                  </a:lnTo>
                  <a:lnTo>
                    <a:pt x="377" y="9"/>
                  </a:lnTo>
                  <a:lnTo>
                    <a:pt x="375" y="9"/>
                  </a:lnTo>
                  <a:lnTo>
                    <a:pt x="373" y="7"/>
                  </a:lnTo>
                  <a:lnTo>
                    <a:pt x="371" y="7"/>
                  </a:lnTo>
                  <a:lnTo>
                    <a:pt x="371" y="5"/>
                  </a:lnTo>
                  <a:lnTo>
                    <a:pt x="371" y="3"/>
                  </a:lnTo>
                  <a:lnTo>
                    <a:pt x="373" y="3"/>
                  </a:lnTo>
                  <a:lnTo>
                    <a:pt x="377" y="1"/>
                  </a:lnTo>
                  <a:lnTo>
                    <a:pt x="379" y="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3" name="Freeform 34"/>
            <p:cNvSpPr>
              <a:spLocks/>
            </p:cNvSpPr>
            <p:nvPr/>
          </p:nvSpPr>
          <p:spPr bwMode="auto">
            <a:xfrm>
              <a:off x="4905509" y="1853843"/>
              <a:ext cx="493615" cy="422389"/>
            </a:xfrm>
            <a:custGeom>
              <a:avLst/>
              <a:gdLst>
                <a:gd name="T0" fmla="*/ 841 w 946"/>
                <a:gd name="T1" fmla="*/ 299 h 830"/>
                <a:gd name="T2" fmla="*/ 863 w 946"/>
                <a:gd name="T3" fmla="*/ 310 h 830"/>
                <a:gd name="T4" fmla="*/ 813 w 946"/>
                <a:gd name="T5" fmla="*/ 357 h 830"/>
                <a:gd name="T6" fmla="*/ 741 w 946"/>
                <a:gd name="T7" fmla="*/ 408 h 830"/>
                <a:gd name="T8" fmla="*/ 759 w 946"/>
                <a:gd name="T9" fmla="*/ 364 h 830"/>
                <a:gd name="T10" fmla="*/ 830 w 946"/>
                <a:gd name="T11" fmla="*/ 283 h 830"/>
                <a:gd name="T12" fmla="*/ 863 w 946"/>
                <a:gd name="T13" fmla="*/ 242 h 830"/>
                <a:gd name="T14" fmla="*/ 891 w 946"/>
                <a:gd name="T15" fmla="*/ 207 h 830"/>
                <a:gd name="T16" fmla="*/ 891 w 946"/>
                <a:gd name="T17" fmla="*/ 163 h 830"/>
                <a:gd name="T18" fmla="*/ 887 w 946"/>
                <a:gd name="T19" fmla="*/ 146 h 830"/>
                <a:gd name="T20" fmla="*/ 883 w 946"/>
                <a:gd name="T21" fmla="*/ 102 h 830"/>
                <a:gd name="T22" fmla="*/ 863 w 946"/>
                <a:gd name="T23" fmla="*/ 92 h 830"/>
                <a:gd name="T24" fmla="*/ 828 w 946"/>
                <a:gd name="T25" fmla="*/ 65 h 830"/>
                <a:gd name="T26" fmla="*/ 765 w 946"/>
                <a:gd name="T27" fmla="*/ 92 h 830"/>
                <a:gd name="T28" fmla="*/ 747 w 946"/>
                <a:gd name="T29" fmla="*/ 55 h 830"/>
                <a:gd name="T30" fmla="*/ 697 w 946"/>
                <a:gd name="T31" fmla="*/ 54 h 830"/>
                <a:gd name="T32" fmla="*/ 704 w 946"/>
                <a:gd name="T33" fmla="*/ 15 h 830"/>
                <a:gd name="T34" fmla="*/ 669 w 946"/>
                <a:gd name="T35" fmla="*/ 9 h 830"/>
                <a:gd name="T36" fmla="*/ 638 w 946"/>
                <a:gd name="T37" fmla="*/ 33 h 830"/>
                <a:gd name="T38" fmla="*/ 623 w 946"/>
                <a:gd name="T39" fmla="*/ 94 h 830"/>
                <a:gd name="T40" fmla="*/ 615 w 946"/>
                <a:gd name="T41" fmla="*/ 109 h 830"/>
                <a:gd name="T42" fmla="*/ 588 w 946"/>
                <a:gd name="T43" fmla="*/ 137 h 830"/>
                <a:gd name="T44" fmla="*/ 514 w 946"/>
                <a:gd name="T45" fmla="*/ 150 h 830"/>
                <a:gd name="T46" fmla="*/ 453 w 946"/>
                <a:gd name="T47" fmla="*/ 135 h 830"/>
                <a:gd name="T48" fmla="*/ 427 w 946"/>
                <a:gd name="T49" fmla="*/ 161 h 830"/>
                <a:gd name="T50" fmla="*/ 372 w 946"/>
                <a:gd name="T51" fmla="*/ 174 h 830"/>
                <a:gd name="T52" fmla="*/ 325 w 946"/>
                <a:gd name="T53" fmla="*/ 216 h 830"/>
                <a:gd name="T54" fmla="*/ 307 w 946"/>
                <a:gd name="T55" fmla="*/ 238 h 830"/>
                <a:gd name="T56" fmla="*/ 307 w 946"/>
                <a:gd name="T57" fmla="*/ 307 h 830"/>
                <a:gd name="T58" fmla="*/ 285 w 946"/>
                <a:gd name="T59" fmla="*/ 298 h 830"/>
                <a:gd name="T60" fmla="*/ 165 w 946"/>
                <a:gd name="T61" fmla="*/ 286 h 830"/>
                <a:gd name="T62" fmla="*/ 126 w 946"/>
                <a:gd name="T63" fmla="*/ 349 h 830"/>
                <a:gd name="T64" fmla="*/ 159 w 946"/>
                <a:gd name="T65" fmla="*/ 427 h 830"/>
                <a:gd name="T66" fmla="*/ 157 w 946"/>
                <a:gd name="T67" fmla="*/ 525 h 830"/>
                <a:gd name="T68" fmla="*/ 157 w 946"/>
                <a:gd name="T69" fmla="*/ 625 h 830"/>
                <a:gd name="T70" fmla="*/ 122 w 946"/>
                <a:gd name="T71" fmla="*/ 575 h 830"/>
                <a:gd name="T72" fmla="*/ 142 w 946"/>
                <a:gd name="T73" fmla="*/ 508 h 830"/>
                <a:gd name="T74" fmla="*/ 118 w 946"/>
                <a:gd name="T75" fmla="*/ 497 h 830"/>
                <a:gd name="T76" fmla="*/ 150 w 946"/>
                <a:gd name="T77" fmla="*/ 442 h 830"/>
                <a:gd name="T78" fmla="*/ 58 w 946"/>
                <a:gd name="T79" fmla="*/ 364 h 830"/>
                <a:gd name="T80" fmla="*/ 63 w 946"/>
                <a:gd name="T81" fmla="*/ 419 h 830"/>
                <a:gd name="T82" fmla="*/ 74 w 946"/>
                <a:gd name="T83" fmla="*/ 480 h 830"/>
                <a:gd name="T84" fmla="*/ 28 w 946"/>
                <a:gd name="T85" fmla="*/ 547 h 830"/>
                <a:gd name="T86" fmla="*/ 13 w 946"/>
                <a:gd name="T87" fmla="*/ 601 h 830"/>
                <a:gd name="T88" fmla="*/ 82 w 946"/>
                <a:gd name="T89" fmla="*/ 638 h 830"/>
                <a:gd name="T90" fmla="*/ 85 w 946"/>
                <a:gd name="T91" fmla="*/ 721 h 830"/>
                <a:gd name="T92" fmla="*/ 128 w 946"/>
                <a:gd name="T93" fmla="*/ 815 h 830"/>
                <a:gd name="T94" fmla="*/ 191 w 946"/>
                <a:gd name="T95" fmla="*/ 758 h 830"/>
                <a:gd name="T96" fmla="*/ 240 w 946"/>
                <a:gd name="T97" fmla="*/ 826 h 830"/>
                <a:gd name="T98" fmla="*/ 401 w 946"/>
                <a:gd name="T99" fmla="*/ 759 h 830"/>
                <a:gd name="T100" fmla="*/ 444 w 946"/>
                <a:gd name="T101" fmla="*/ 700 h 830"/>
                <a:gd name="T102" fmla="*/ 590 w 946"/>
                <a:gd name="T103" fmla="*/ 638 h 830"/>
                <a:gd name="T104" fmla="*/ 697 w 946"/>
                <a:gd name="T105" fmla="*/ 691 h 830"/>
                <a:gd name="T106" fmla="*/ 758 w 946"/>
                <a:gd name="T107" fmla="*/ 684 h 830"/>
                <a:gd name="T108" fmla="*/ 820 w 946"/>
                <a:gd name="T109" fmla="*/ 650 h 830"/>
                <a:gd name="T110" fmla="*/ 900 w 946"/>
                <a:gd name="T111" fmla="*/ 573 h 830"/>
                <a:gd name="T112" fmla="*/ 922 w 946"/>
                <a:gd name="T113" fmla="*/ 471 h 830"/>
                <a:gd name="T114" fmla="*/ 868 w 946"/>
                <a:gd name="T115" fmla="*/ 384 h 830"/>
                <a:gd name="T116" fmla="*/ 865 w 946"/>
                <a:gd name="T117" fmla="*/ 318 h 8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6"/>
                <a:gd name="T178" fmla="*/ 0 h 830"/>
                <a:gd name="T179" fmla="*/ 946 w 946"/>
                <a:gd name="T180" fmla="*/ 830 h 8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6" h="830">
                  <a:moveTo>
                    <a:pt x="874" y="303"/>
                  </a:moveTo>
                  <a:lnTo>
                    <a:pt x="874" y="303"/>
                  </a:lnTo>
                  <a:lnTo>
                    <a:pt x="872" y="301"/>
                  </a:lnTo>
                  <a:lnTo>
                    <a:pt x="872" y="294"/>
                  </a:lnTo>
                  <a:lnTo>
                    <a:pt x="867" y="286"/>
                  </a:lnTo>
                  <a:lnTo>
                    <a:pt x="861" y="294"/>
                  </a:lnTo>
                  <a:lnTo>
                    <a:pt x="854" y="299"/>
                  </a:lnTo>
                  <a:lnTo>
                    <a:pt x="850" y="296"/>
                  </a:lnTo>
                  <a:lnTo>
                    <a:pt x="844" y="294"/>
                  </a:lnTo>
                  <a:lnTo>
                    <a:pt x="841" y="299"/>
                  </a:lnTo>
                  <a:lnTo>
                    <a:pt x="833" y="305"/>
                  </a:lnTo>
                  <a:lnTo>
                    <a:pt x="830" y="312"/>
                  </a:lnTo>
                  <a:lnTo>
                    <a:pt x="828" y="318"/>
                  </a:lnTo>
                  <a:lnTo>
                    <a:pt x="833" y="320"/>
                  </a:lnTo>
                  <a:lnTo>
                    <a:pt x="839" y="318"/>
                  </a:lnTo>
                  <a:lnTo>
                    <a:pt x="846" y="314"/>
                  </a:lnTo>
                  <a:lnTo>
                    <a:pt x="854" y="309"/>
                  </a:lnTo>
                  <a:lnTo>
                    <a:pt x="859" y="309"/>
                  </a:lnTo>
                  <a:lnTo>
                    <a:pt x="863" y="309"/>
                  </a:lnTo>
                  <a:lnTo>
                    <a:pt x="863" y="310"/>
                  </a:lnTo>
                  <a:lnTo>
                    <a:pt x="865" y="312"/>
                  </a:lnTo>
                  <a:lnTo>
                    <a:pt x="861" y="320"/>
                  </a:lnTo>
                  <a:lnTo>
                    <a:pt x="856" y="329"/>
                  </a:lnTo>
                  <a:lnTo>
                    <a:pt x="850" y="334"/>
                  </a:lnTo>
                  <a:lnTo>
                    <a:pt x="844" y="344"/>
                  </a:lnTo>
                  <a:lnTo>
                    <a:pt x="832" y="338"/>
                  </a:lnTo>
                  <a:lnTo>
                    <a:pt x="822" y="333"/>
                  </a:lnTo>
                  <a:lnTo>
                    <a:pt x="820" y="344"/>
                  </a:lnTo>
                  <a:lnTo>
                    <a:pt x="820" y="355"/>
                  </a:lnTo>
                  <a:lnTo>
                    <a:pt x="813" y="357"/>
                  </a:lnTo>
                  <a:lnTo>
                    <a:pt x="806" y="357"/>
                  </a:lnTo>
                  <a:lnTo>
                    <a:pt x="804" y="366"/>
                  </a:lnTo>
                  <a:lnTo>
                    <a:pt x="800" y="375"/>
                  </a:lnTo>
                  <a:lnTo>
                    <a:pt x="780" y="375"/>
                  </a:lnTo>
                  <a:lnTo>
                    <a:pt x="765" y="375"/>
                  </a:lnTo>
                  <a:lnTo>
                    <a:pt x="759" y="384"/>
                  </a:lnTo>
                  <a:lnTo>
                    <a:pt x="754" y="395"/>
                  </a:lnTo>
                  <a:lnTo>
                    <a:pt x="752" y="401"/>
                  </a:lnTo>
                  <a:lnTo>
                    <a:pt x="747" y="405"/>
                  </a:lnTo>
                  <a:lnTo>
                    <a:pt x="741" y="408"/>
                  </a:lnTo>
                  <a:lnTo>
                    <a:pt x="734" y="410"/>
                  </a:lnTo>
                  <a:lnTo>
                    <a:pt x="732" y="408"/>
                  </a:lnTo>
                  <a:lnTo>
                    <a:pt x="730" y="407"/>
                  </a:lnTo>
                  <a:lnTo>
                    <a:pt x="732" y="403"/>
                  </a:lnTo>
                  <a:lnTo>
                    <a:pt x="735" y="399"/>
                  </a:lnTo>
                  <a:lnTo>
                    <a:pt x="743" y="390"/>
                  </a:lnTo>
                  <a:lnTo>
                    <a:pt x="748" y="386"/>
                  </a:lnTo>
                  <a:lnTo>
                    <a:pt x="748" y="381"/>
                  </a:lnTo>
                  <a:lnTo>
                    <a:pt x="747" y="375"/>
                  </a:lnTo>
                  <a:lnTo>
                    <a:pt x="759" y="364"/>
                  </a:lnTo>
                  <a:lnTo>
                    <a:pt x="774" y="355"/>
                  </a:lnTo>
                  <a:lnTo>
                    <a:pt x="774" y="346"/>
                  </a:lnTo>
                  <a:lnTo>
                    <a:pt x="774" y="336"/>
                  </a:lnTo>
                  <a:lnTo>
                    <a:pt x="787" y="333"/>
                  </a:lnTo>
                  <a:lnTo>
                    <a:pt x="802" y="329"/>
                  </a:lnTo>
                  <a:lnTo>
                    <a:pt x="806" y="318"/>
                  </a:lnTo>
                  <a:lnTo>
                    <a:pt x="809" y="307"/>
                  </a:lnTo>
                  <a:lnTo>
                    <a:pt x="820" y="299"/>
                  </a:lnTo>
                  <a:lnTo>
                    <a:pt x="832" y="292"/>
                  </a:lnTo>
                  <a:lnTo>
                    <a:pt x="830" y="283"/>
                  </a:lnTo>
                  <a:lnTo>
                    <a:pt x="826" y="270"/>
                  </a:lnTo>
                  <a:lnTo>
                    <a:pt x="830" y="266"/>
                  </a:lnTo>
                  <a:lnTo>
                    <a:pt x="835" y="266"/>
                  </a:lnTo>
                  <a:lnTo>
                    <a:pt x="841" y="262"/>
                  </a:lnTo>
                  <a:lnTo>
                    <a:pt x="846" y="253"/>
                  </a:lnTo>
                  <a:lnTo>
                    <a:pt x="850" y="251"/>
                  </a:lnTo>
                  <a:lnTo>
                    <a:pt x="856" y="251"/>
                  </a:lnTo>
                  <a:lnTo>
                    <a:pt x="857" y="249"/>
                  </a:lnTo>
                  <a:lnTo>
                    <a:pt x="859" y="248"/>
                  </a:lnTo>
                  <a:lnTo>
                    <a:pt x="863" y="242"/>
                  </a:lnTo>
                  <a:lnTo>
                    <a:pt x="863" y="233"/>
                  </a:lnTo>
                  <a:lnTo>
                    <a:pt x="868" y="231"/>
                  </a:lnTo>
                  <a:lnTo>
                    <a:pt x="874" y="229"/>
                  </a:lnTo>
                  <a:lnTo>
                    <a:pt x="878" y="227"/>
                  </a:lnTo>
                  <a:lnTo>
                    <a:pt x="880" y="225"/>
                  </a:lnTo>
                  <a:lnTo>
                    <a:pt x="881" y="222"/>
                  </a:lnTo>
                  <a:lnTo>
                    <a:pt x="881" y="214"/>
                  </a:lnTo>
                  <a:lnTo>
                    <a:pt x="883" y="211"/>
                  </a:lnTo>
                  <a:lnTo>
                    <a:pt x="887" y="209"/>
                  </a:lnTo>
                  <a:lnTo>
                    <a:pt x="891" y="207"/>
                  </a:lnTo>
                  <a:lnTo>
                    <a:pt x="894" y="207"/>
                  </a:lnTo>
                  <a:lnTo>
                    <a:pt x="896" y="205"/>
                  </a:lnTo>
                  <a:lnTo>
                    <a:pt x="900" y="200"/>
                  </a:lnTo>
                  <a:lnTo>
                    <a:pt x="902" y="192"/>
                  </a:lnTo>
                  <a:lnTo>
                    <a:pt x="904" y="179"/>
                  </a:lnTo>
                  <a:lnTo>
                    <a:pt x="904" y="174"/>
                  </a:lnTo>
                  <a:lnTo>
                    <a:pt x="902" y="168"/>
                  </a:lnTo>
                  <a:lnTo>
                    <a:pt x="900" y="164"/>
                  </a:lnTo>
                  <a:lnTo>
                    <a:pt x="896" y="163"/>
                  </a:lnTo>
                  <a:lnTo>
                    <a:pt x="891" y="163"/>
                  </a:lnTo>
                  <a:lnTo>
                    <a:pt x="883" y="161"/>
                  </a:lnTo>
                  <a:lnTo>
                    <a:pt x="876" y="155"/>
                  </a:lnTo>
                  <a:lnTo>
                    <a:pt x="870" y="148"/>
                  </a:lnTo>
                  <a:lnTo>
                    <a:pt x="870" y="144"/>
                  </a:lnTo>
                  <a:lnTo>
                    <a:pt x="868" y="142"/>
                  </a:lnTo>
                  <a:lnTo>
                    <a:pt x="868" y="139"/>
                  </a:lnTo>
                  <a:lnTo>
                    <a:pt x="870" y="137"/>
                  </a:lnTo>
                  <a:lnTo>
                    <a:pt x="878" y="139"/>
                  </a:lnTo>
                  <a:lnTo>
                    <a:pt x="885" y="140"/>
                  </a:lnTo>
                  <a:lnTo>
                    <a:pt x="887" y="146"/>
                  </a:lnTo>
                  <a:lnTo>
                    <a:pt x="889" y="150"/>
                  </a:lnTo>
                  <a:lnTo>
                    <a:pt x="891" y="150"/>
                  </a:lnTo>
                  <a:lnTo>
                    <a:pt x="894" y="150"/>
                  </a:lnTo>
                  <a:lnTo>
                    <a:pt x="894" y="139"/>
                  </a:lnTo>
                  <a:lnTo>
                    <a:pt x="894" y="133"/>
                  </a:lnTo>
                  <a:lnTo>
                    <a:pt x="892" y="128"/>
                  </a:lnTo>
                  <a:lnTo>
                    <a:pt x="887" y="124"/>
                  </a:lnTo>
                  <a:lnTo>
                    <a:pt x="887" y="116"/>
                  </a:lnTo>
                  <a:lnTo>
                    <a:pt x="885" y="109"/>
                  </a:lnTo>
                  <a:lnTo>
                    <a:pt x="883" y="102"/>
                  </a:lnTo>
                  <a:lnTo>
                    <a:pt x="878" y="100"/>
                  </a:lnTo>
                  <a:lnTo>
                    <a:pt x="874" y="107"/>
                  </a:lnTo>
                  <a:lnTo>
                    <a:pt x="872" y="115"/>
                  </a:lnTo>
                  <a:lnTo>
                    <a:pt x="867" y="111"/>
                  </a:lnTo>
                  <a:lnTo>
                    <a:pt x="865" y="107"/>
                  </a:lnTo>
                  <a:lnTo>
                    <a:pt x="863" y="105"/>
                  </a:lnTo>
                  <a:lnTo>
                    <a:pt x="865" y="102"/>
                  </a:lnTo>
                  <a:lnTo>
                    <a:pt x="865" y="96"/>
                  </a:lnTo>
                  <a:lnTo>
                    <a:pt x="865" y="92"/>
                  </a:lnTo>
                  <a:lnTo>
                    <a:pt x="863" y="92"/>
                  </a:lnTo>
                  <a:lnTo>
                    <a:pt x="859" y="92"/>
                  </a:lnTo>
                  <a:lnTo>
                    <a:pt x="850" y="96"/>
                  </a:lnTo>
                  <a:lnTo>
                    <a:pt x="844" y="96"/>
                  </a:lnTo>
                  <a:lnTo>
                    <a:pt x="843" y="91"/>
                  </a:lnTo>
                  <a:lnTo>
                    <a:pt x="844" y="83"/>
                  </a:lnTo>
                  <a:lnTo>
                    <a:pt x="839" y="78"/>
                  </a:lnTo>
                  <a:lnTo>
                    <a:pt x="835" y="74"/>
                  </a:lnTo>
                  <a:lnTo>
                    <a:pt x="833" y="70"/>
                  </a:lnTo>
                  <a:lnTo>
                    <a:pt x="832" y="67"/>
                  </a:lnTo>
                  <a:lnTo>
                    <a:pt x="828" y="65"/>
                  </a:lnTo>
                  <a:lnTo>
                    <a:pt x="822" y="67"/>
                  </a:lnTo>
                  <a:lnTo>
                    <a:pt x="809" y="72"/>
                  </a:lnTo>
                  <a:lnTo>
                    <a:pt x="795" y="76"/>
                  </a:lnTo>
                  <a:lnTo>
                    <a:pt x="776" y="72"/>
                  </a:lnTo>
                  <a:lnTo>
                    <a:pt x="761" y="72"/>
                  </a:lnTo>
                  <a:lnTo>
                    <a:pt x="759" y="74"/>
                  </a:lnTo>
                  <a:lnTo>
                    <a:pt x="761" y="78"/>
                  </a:lnTo>
                  <a:lnTo>
                    <a:pt x="763" y="81"/>
                  </a:lnTo>
                  <a:lnTo>
                    <a:pt x="767" y="87"/>
                  </a:lnTo>
                  <a:lnTo>
                    <a:pt x="765" y="92"/>
                  </a:lnTo>
                  <a:lnTo>
                    <a:pt x="761" y="94"/>
                  </a:lnTo>
                  <a:lnTo>
                    <a:pt x="758" y="96"/>
                  </a:lnTo>
                  <a:lnTo>
                    <a:pt x="750" y="98"/>
                  </a:lnTo>
                  <a:lnTo>
                    <a:pt x="745" y="96"/>
                  </a:lnTo>
                  <a:lnTo>
                    <a:pt x="741" y="94"/>
                  </a:lnTo>
                  <a:lnTo>
                    <a:pt x="737" y="92"/>
                  </a:lnTo>
                  <a:lnTo>
                    <a:pt x="735" y="89"/>
                  </a:lnTo>
                  <a:lnTo>
                    <a:pt x="745" y="74"/>
                  </a:lnTo>
                  <a:lnTo>
                    <a:pt x="750" y="57"/>
                  </a:lnTo>
                  <a:lnTo>
                    <a:pt x="747" y="55"/>
                  </a:lnTo>
                  <a:lnTo>
                    <a:pt x="743" y="54"/>
                  </a:lnTo>
                  <a:lnTo>
                    <a:pt x="739" y="55"/>
                  </a:lnTo>
                  <a:lnTo>
                    <a:pt x="735" y="55"/>
                  </a:lnTo>
                  <a:lnTo>
                    <a:pt x="724" y="57"/>
                  </a:lnTo>
                  <a:lnTo>
                    <a:pt x="715" y="59"/>
                  </a:lnTo>
                  <a:lnTo>
                    <a:pt x="711" y="55"/>
                  </a:lnTo>
                  <a:lnTo>
                    <a:pt x="710" y="52"/>
                  </a:lnTo>
                  <a:lnTo>
                    <a:pt x="704" y="52"/>
                  </a:lnTo>
                  <a:lnTo>
                    <a:pt x="700" y="54"/>
                  </a:lnTo>
                  <a:lnTo>
                    <a:pt x="697" y="54"/>
                  </a:lnTo>
                  <a:lnTo>
                    <a:pt x="695" y="52"/>
                  </a:lnTo>
                  <a:lnTo>
                    <a:pt x="693" y="50"/>
                  </a:lnTo>
                  <a:lnTo>
                    <a:pt x="693" y="46"/>
                  </a:lnTo>
                  <a:lnTo>
                    <a:pt x="695" y="41"/>
                  </a:lnTo>
                  <a:lnTo>
                    <a:pt x="702" y="35"/>
                  </a:lnTo>
                  <a:lnTo>
                    <a:pt x="711" y="31"/>
                  </a:lnTo>
                  <a:lnTo>
                    <a:pt x="719" y="28"/>
                  </a:lnTo>
                  <a:lnTo>
                    <a:pt x="715" y="20"/>
                  </a:lnTo>
                  <a:lnTo>
                    <a:pt x="708" y="15"/>
                  </a:lnTo>
                  <a:lnTo>
                    <a:pt x="704" y="15"/>
                  </a:lnTo>
                  <a:lnTo>
                    <a:pt x="702" y="15"/>
                  </a:lnTo>
                  <a:lnTo>
                    <a:pt x="699" y="15"/>
                  </a:lnTo>
                  <a:lnTo>
                    <a:pt x="695" y="11"/>
                  </a:lnTo>
                  <a:lnTo>
                    <a:pt x="693" y="6"/>
                  </a:lnTo>
                  <a:lnTo>
                    <a:pt x="689" y="2"/>
                  </a:lnTo>
                  <a:lnTo>
                    <a:pt x="686" y="0"/>
                  </a:lnTo>
                  <a:lnTo>
                    <a:pt x="680" y="0"/>
                  </a:lnTo>
                  <a:lnTo>
                    <a:pt x="675" y="0"/>
                  </a:lnTo>
                  <a:lnTo>
                    <a:pt x="671" y="4"/>
                  </a:lnTo>
                  <a:lnTo>
                    <a:pt x="669" y="9"/>
                  </a:lnTo>
                  <a:lnTo>
                    <a:pt x="665" y="13"/>
                  </a:lnTo>
                  <a:lnTo>
                    <a:pt x="662" y="15"/>
                  </a:lnTo>
                  <a:lnTo>
                    <a:pt x="658" y="17"/>
                  </a:lnTo>
                  <a:lnTo>
                    <a:pt x="656" y="19"/>
                  </a:lnTo>
                  <a:lnTo>
                    <a:pt x="656" y="20"/>
                  </a:lnTo>
                  <a:lnTo>
                    <a:pt x="654" y="26"/>
                  </a:lnTo>
                  <a:lnTo>
                    <a:pt x="652" y="31"/>
                  </a:lnTo>
                  <a:lnTo>
                    <a:pt x="647" y="33"/>
                  </a:lnTo>
                  <a:lnTo>
                    <a:pt x="641" y="33"/>
                  </a:lnTo>
                  <a:lnTo>
                    <a:pt x="638" y="33"/>
                  </a:lnTo>
                  <a:lnTo>
                    <a:pt x="634" y="37"/>
                  </a:lnTo>
                  <a:lnTo>
                    <a:pt x="632" y="43"/>
                  </a:lnTo>
                  <a:lnTo>
                    <a:pt x="630" y="50"/>
                  </a:lnTo>
                  <a:lnTo>
                    <a:pt x="626" y="61"/>
                  </a:lnTo>
                  <a:lnTo>
                    <a:pt x="625" y="72"/>
                  </a:lnTo>
                  <a:lnTo>
                    <a:pt x="619" y="76"/>
                  </a:lnTo>
                  <a:lnTo>
                    <a:pt x="619" y="79"/>
                  </a:lnTo>
                  <a:lnTo>
                    <a:pt x="623" y="85"/>
                  </a:lnTo>
                  <a:lnTo>
                    <a:pt x="625" y="91"/>
                  </a:lnTo>
                  <a:lnTo>
                    <a:pt x="623" y="94"/>
                  </a:lnTo>
                  <a:lnTo>
                    <a:pt x="623" y="100"/>
                  </a:lnTo>
                  <a:lnTo>
                    <a:pt x="630" y="104"/>
                  </a:lnTo>
                  <a:lnTo>
                    <a:pt x="639" y="109"/>
                  </a:lnTo>
                  <a:lnTo>
                    <a:pt x="641" y="111"/>
                  </a:lnTo>
                  <a:lnTo>
                    <a:pt x="643" y="115"/>
                  </a:lnTo>
                  <a:lnTo>
                    <a:pt x="643" y="116"/>
                  </a:lnTo>
                  <a:lnTo>
                    <a:pt x="641" y="120"/>
                  </a:lnTo>
                  <a:lnTo>
                    <a:pt x="634" y="116"/>
                  </a:lnTo>
                  <a:lnTo>
                    <a:pt x="623" y="111"/>
                  </a:lnTo>
                  <a:lnTo>
                    <a:pt x="615" y="109"/>
                  </a:lnTo>
                  <a:lnTo>
                    <a:pt x="604" y="105"/>
                  </a:lnTo>
                  <a:lnTo>
                    <a:pt x="591" y="105"/>
                  </a:lnTo>
                  <a:lnTo>
                    <a:pt x="575" y="105"/>
                  </a:lnTo>
                  <a:lnTo>
                    <a:pt x="578" y="115"/>
                  </a:lnTo>
                  <a:lnTo>
                    <a:pt x="586" y="122"/>
                  </a:lnTo>
                  <a:lnTo>
                    <a:pt x="590" y="128"/>
                  </a:lnTo>
                  <a:lnTo>
                    <a:pt x="593" y="131"/>
                  </a:lnTo>
                  <a:lnTo>
                    <a:pt x="593" y="137"/>
                  </a:lnTo>
                  <a:lnTo>
                    <a:pt x="593" y="140"/>
                  </a:lnTo>
                  <a:lnTo>
                    <a:pt x="588" y="137"/>
                  </a:lnTo>
                  <a:lnTo>
                    <a:pt x="582" y="131"/>
                  </a:lnTo>
                  <a:lnTo>
                    <a:pt x="575" y="129"/>
                  </a:lnTo>
                  <a:lnTo>
                    <a:pt x="569" y="128"/>
                  </a:lnTo>
                  <a:lnTo>
                    <a:pt x="564" y="128"/>
                  </a:lnTo>
                  <a:lnTo>
                    <a:pt x="558" y="131"/>
                  </a:lnTo>
                  <a:lnTo>
                    <a:pt x="553" y="137"/>
                  </a:lnTo>
                  <a:lnTo>
                    <a:pt x="549" y="144"/>
                  </a:lnTo>
                  <a:lnTo>
                    <a:pt x="540" y="148"/>
                  </a:lnTo>
                  <a:lnTo>
                    <a:pt x="529" y="153"/>
                  </a:lnTo>
                  <a:lnTo>
                    <a:pt x="514" y="150"/>
                  </a:lnTo>
                  <a:lnTo>
                    <a:pt x="505" y="150"/>
                  </a:lnTo>
                  <a:lnTo>
                    <a:pt x="508" y="144"/>
                  </a:lnTo>
                  <a:lnTo>
                    <a:pt x="510" y="137"/>
                  </a:lnTo>
                  <a:lnTo>
                    <a:pt x="490" y="133"/>
                  </a:lnTo>
                  <a:lnTo>
                    <a:pt x="469" y="129"/>
                  </a:lnTo>
                  <a:lnTo>
                    <a:pt x="466" y="135"/>
                  </a:lnTo>
                  <a:lnTo>
                    <a:pt x="462" y="139"/>
                  </a:lnTo>
                  <a:lnTo>
                    <a:pt x="458" y="137"/>
                  </a:lnTo>
                  <a:lnTo>
                    <a:pt x="457" y="135"/>
                  </a:lnTo>
                  <a:lnTo>
                    <a:pt x="453" y="135"/>
                  </a:lnTo>
                  <a:lnTo>
                    <a:pt x="449" y="137"/>
                  </a:lnTo>
                  <a:lnTo>
                    <a:pt x="449" y="140"/>
                  </a:lnTo>
                  <a:lnTo>
                    <a:pt x="449" y="142"/>
                  </a:lnTo>
                  <a:lnTo>
                    <a:pt x="453" y="142"/>
                  </a:lnTo>
                  <a:lnTo>
                    <a:pt x="455" y="144"/>
                  </a:lnTo>
                  <a:lnTo>
                    <a:pt x="460" y="146"/>
                  </a:lnTo>
                  <a:lnTo>
                    <a:pt x="462" y="148"/>
                  </a:lnTo>
                  <a:lnTo>
                    <a:pt x="451" y="155"/>
                  </a:lnTo>
                  <a:lnTo>
                    <a:pt x="433" y="164"/>
                  </a:lnTo>
                  <a:lnTo>
                    <a:pt x="427" y="161"/>
                  </a:lnTo>
                  <a:lnTo>
                    <a:pt x="423" y="161"/>
                  </a:lnTo>
                  <a:lnTo>
                    <a:pt x="418" y="163"/>
                  </a:lnTo>
                  <a:lnTo>
                    <a:pt x="412" y="166"/>
                  </a:lnTo>
                  <a:lnTo>
                    <a:pt x="405" y="166"/>
                  </a:lnTo>
                  <a:lnTo>
                    <a:pt x="399" y="163"/>
                  </a:lnTo>
                  <a:lnTo>
                    <a:pt x="396" y="163"/>
                  </a:lnTo>
                  <a:lnTo>
                    <a:pt x="392" y="163"/>
                  </a:lnTo>
                  <a:lnTo>
                    <a:pt x="386" y="166"/>
                  </a:lnTo>
                  <a:lnTo>
                    <a:pt x="381" y="172"/>
                  </a:lnTo>
                  <a:lnTo>
                    <a:pt x="372" y="174"/>
                  </a:lnTo>
                  <a:lnTo>
                    <a:pt x="362" y="170"/>
                  </a:lnTo>
                  <a:lnTo>
                    <a:pt x="359" y="172"/>
                  </a:lnTo>
                  <a:lnTo>
                    <a:pt x="351" y="174"/>
                  </a:lnTo>
                  <a:lnTo>
                    <a:pt x="346" y="181"/>
                  </a:lnTo>
                  <a:lnTo>
                    <a:pt x="336" y="192"/>
                  </a:lnTo>
                  <a:lnTo>
                    <a:pt x="327" y="192"/>
                  </a:lnTo>
                  <a:lnTo>
                    <a:pt x="322" y="194"/>
                  </a:lnTo>
                  <a:lnTo>
                    <a:pt x="325" y="205"/>
                  </a:lnTo>
                  <a:lnTo>
                    <a:pt x="327" y="214"/>
                  </a:lnTo>
                  <a:lnTo>
                    <a:pt x="325" y="216"/>
                  </a:lnTo>
                  <a:lnTo>
                    <a:pt x="320" y="220"/>
                  </a:lnTo>
                  <a:lnTo>
                    <a:pt x="316" y="224"/>
                  </a:lnTo>
                  <a:lnTo>
                    <a:pt x="311" y="224"/>
                  </a:lnTo>
                  <a:lnTo>
                    <a:pt x="305" y="216"/>
                  </a:lnTo>
                  <a:lnTo>
                    <a:pt x="300" y="211"/>
                  </a:lnTo>
                  <a:lnTo>
                    <a:pt x="298" y="214"/>
                  </a:lnTo>
                  <a:lnTo>
                    <a:pt x="298" y="218"/>
                  </a:lnTo>
                  <a:lnTo>
                    <a:pt x="300" y="224"/>
                  </a:lnTo>
                  <a:lnTo>
                    <a:pt x="301" y="227"/>
                  </a:lnTo>
                  <a:lnTo>
                    <a:pt x="307" y="238"/>
                  </a:lnTo>
                  <a:lnTo>
                    <a:pt x="311" y="249"/>
                  </a:lnTo>
                  <a:lnTo>
                    <a:pt x="307" y="257"/>
                  </a:lnTo>
                  <a:lnTo>
                    <a:pt x="305" y="26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7"/>
                  </a:lnTo>
                  <a:lnTo>
                    <a:pt x="305" y="283"/>
                  </a:lnTo>
                  <a:lnTo>
                    <a:pt x="309" y="292"/>
                  </a:lnTo>
                  <a:lnTo>
                    <a:pt x="312" y="299"/>
                  </a:lnTo>
                  <a:lnTo>
                    <a:pt x="307" y="307"/>
                  </a:lnTo>
                  <a:lnTo>
                    <a:pt x="301" y="312"/>
                  </a:lnTo>
                  <a:lnTo>
                    <a:pt x="294" y="316"/>
                  </a:lnTo>
                  <a:lnTo>
                    <a:pt x="288" y="316"/>
                  </a:lnTo>
                  <a:lnTo>
                    <a:pt x="283" y="316"/>
                  </a:lnTo>
                  <a:lnTo>
                    <a:pt x="281" y="316"/>
                  </a:lnTo>
                  <a:lnTo>
                    <a:pt x="277" y="312"/>
                  </a:lnTo>
                  <a:lnTo>
                    <a:pt x="279" y="309"/>
                  </a:lnTo>
                  <a:lnTo>
                    <a:pt x="283" y="303"/>
                  </a:lnTo>
                  <a:lnTo>
                    <a:pt x="285" y="299"/>
                  </a:lnTo>
                  <a:lnTo>
                    <a:pt x="285" y="298"/>
                  </a:lnTo>
                  <a:lnTo>
                    <a:pt x="281" y="294"/>
                  </a:lnTo>
                  <a:lnTo>
                    <a:pt x="268" y="296"/>
                  </a:lnTo>
                  <a:lnTo>
                    <a:pt x="257" y="299"/>
                  </a:lnTo>
                  <a:lnTo>
                    <a:pt x="242" y="296"/>
                  </a:lnTo>
                  <a:lnTo>
                    <a:pt x="227" y="296"/>
                  </a:lnTo>
                  <a:lnTo>
                    <a:pt x="213" y="294"/>
                  </a:lnTo>
                  <a:lnTo>
                    <a:pt x="196" y="294"/>
                  </a:lnTo>
                  <a:lnTo>
                    <a:pt x="185" y="292"/>
                  </a:lnTo>
                  <a:lnTo>
                    <a:pt x="172" y="288"/>
                  </a:lnTo>
                  <a:lnTo>
                    <a:pt x="165" y="286"/>
                  </a:lnTo>
                  <a:lnTo>
                    <a:pt x="157" y="286"/>
                  </a:lnTo>
                  <a:lnTo>
                    <a:pt x="150" y="286"/>
                  </a:lnTo>
                  <a:lnTo>
                    <a:pt x="142" y="288"/>
                  </a:lnTo>
                  <a:lnTo>
                    <a:pt x="137" y="294"/>
                  </a:lnTo>
                  <a:lnTo>
                    <a:pt x="133" y="298"/>
                  </a:lnTo>
                  <a:lnTo>
                    <a:pt x="130" y="305"/>
                  </a:lnTo>
                  <a:lnTo>
                    <a:pt x="130" y="310"/>
                  </a:lnTo>
                  <a:lnTo>
                    <a:pt x="130" y="323"/>
                  </a:lnTo>
                  <a:lnTo>
                    <a:pt x="130" y="336"/>
                  </a:lnTo>
                  <a:lnTo>
                    <a:pt x="126" y="349"/>
                  </a:lnTo>
                  <a:lnTo>
                    <a:pt x="122" y="360"/>
                  </a:lnTo>
                  <a:lnTo>
                    <a:pt x="122" y="366"/>
                  </a:lnTo>
                  <a:lnTo>
                    <a:pt x="122" y="371"/>
                  </a:lnTo>
                  <a:lnTo>
                    <a:pt x="122" y="375"/>
                  </a:lnTo>
                  <a:lnTo>
                    <a:pt x="124" y="377"/>
                  </a:lnTo>
                  <a:lnTo>
                    <a:pt x="141" y="386"/>
                  </a:lnTo>
                  <a:lnTo>
                    <a:pt x="154" y="397"/>
                  </a:lnTo>
                  <a:lnTo>
                    <a:pt x="154" y="410"/>
                  </a:lnTo>
                  <a:lnTo>
                    <a:pt x="154" y="421"/>
                  </a:lnTo>
                  <a:lnTo>
                    <a:pt x="159" y="427"/>
                  </a:lnTo>
                  <a:lnTo>
                    <a:pt x="165" y="432"/>
                  </a:lnTo>
                  <a:lnTo>
                    <a:pt x="168" y="436"/>
                  </a:lnTo>
                  <a:lnTo>
                    <a:pt x="168" y="442"/>
                  </a:lnTo>
                  <a:lnTo>
                    <a:pt x="168" y="447"/>
                  </a:lnTo>
                  <a:lnTo>
                    <a:pt x="168" y="456"/>
                  </a:lnTo>
                  <a:lnTo>
                    <a:pt x="161" y="469"/>
                  </a:lnTo>
                  <a:lnTo>
                    <a:pt x="155" y="482"/>
                  </a:lnTo>
                  <a:lnTo>
                    <a:pt x="155" y="497"/>
                  </a:lnTo>
                  <a:lnTo>
                    <a:pt x="157" y="510"/>
                  </a:lnTo>
                  <a:lnTo>
                    <a:pt x="157" y="525"/>
                  </a:lnTo>
                  <a:lnTo>
                    <a:pt x="157" y="540"/>
                  </a:lnTo>
                  <a:lnTo>
                    <a:pt x="150" y="553"/>
                  </a:lnTo>
                  <a:lnTo>
                    <a:pt x="141" y="565"/>
                  </a:lnTo>
                  <a:lnTo>
                    <a:pt x="139" y="582"/>
                  </a:lnTo>
                  <a:lnTo>
                    <a:pt x="139" y="595"/>
                  </a:lnTo>
                  <a:lnTo>
                    <a:pt x="144" y="602"/>
                  </a:lnTo>
                  <a:lnTo>
                    <a:pt x="154" y="612"/>
                  </a:lnTo>
                  <a:lnTo>
                    <a:pt x="157" y="615"/>
                  </a:lnTo>
                  <a:lnTo>
                    <a:pt x="159" y="621"/>
                  </a:lnTo>
                  <a:lnTo>
                    <a:pt x="157" y="625"/>
                  </a:lnTo>
                  <a:lnTo>
                    <a:pt x="154" y="628"/>
                  </a:lnTo>
                  <a:lnTo>
                    <a:pt x="148" y="628"/>
                  </a:lnTo>
                  <a:lnTo>
                    <a:pt x="144" y="630"/>
                  </a:lnTo>
                  <a:lnTo>
                    <a:pt x="141" y="628"/>
                  </a:lnTo>
                  <a:lnTo>
                    <a:pt x="139" y="626"/>
                  </a:lnTo>
                  <a:lnTo>
                    <a:pt x="133" y="619"/>
                  </a:lnTo>
                  <a:lnTo>
                    <a:pt x="124" y="604"/>
                  </a:lnTo>
                  <a:lnTo>
                    <a:pt x="124" y="589"/>
                  </a:lnTo>
                  <a:lnTo>
                    <a:pt x="126" y="582"/>
                  </a:lnTo>
                  <a:lnTo>
                    <a:pt x="122" y="575"/>
                  </a:lnTo>
                  <a:lnTo>
                    <a:pt x="111" y="565"/>
                  </a:lnTo>
                  <a:lnTo>
                    <a:pt x="111" y="562"/>
                  </a:lnTo>
                  <a:lnTo>
                    <a:pt x="113" y="558"/>
                  </a:lnTo>
                  <a:lnTo>
                    <a:pt x="117" y="554"/>
                  </a:lnTo>
                  <a:lnTo>
                    <a:pt x="124" y="553"/>
                  </a:lnTo>
                  <a:lnTo>
                    <a:pt x="128" y="540"/>
                  </a:lnTo>
                  <a:lnTo>
                    <a:pt x="133" y="527"/>
                  </a:lnTo>
                  <a:lnTo>
                    <a:pt x="141" y="521"/>
                  </a:lnTo>
                  <a:lnTo>
                    <a:pt x="142" y="514"/>
                  </a:lnTo>
                  <a:lnTo>
                    <a:pt x="142" y="508"/>
                  </a:lnTo>
                  <a:lnTo>
                    <a:pt x="139" y="503"/>
                  </a:lnTo>
                  <a:lnTo>
                    <a:pt x="133" y="508"/>
                  </a:lnTo>
                  <a:lnTo>
                    <a:pt x="130" y="516"/>
                  </a:lnTo>
                  <a:lnTo>
                    <a:pt x="126" y="519"/>
                  </a:lnTo>
                  <a:lnTo>
                    <a:pt x="124" y="521"/>
                  </a:lnTo>
                  <a:lnTo>
                    <a:pt x="118" y="523"/>
                  </a:lnTo>
                  <a:lnTo>
                    <a:pt x="113" y="521"/>
                  </a:lnTo>
                  <a:lnTo>
                    <a:pt x="113" y="514"/>
                  </a:lnTo>
                  <a:lnTo>
                    <a:pt x="115" y="506"/>
                  </a:lnTo>
                  <a:lnTo>
                    <a:pt x="118" y="497"/>
                  </a:lnTo>
                  <a:lnTo>
                    <a:pt x="124" y="490"/>
                  </a:lnTo>
                  <a:lnTo>
                    <a:pt x="124" y="480"/>
                  </a:lnTo>
                  <a:lnTo>
                    <a:pt x="126" y="473"/>
                  </a:lnTo>
                  <a:lnTo>
                    <a:pt x="139" y="471"/>
                  </a:lnTo>
                  <a:lnTo>
                    <a:pt x="155" y="464"/>
                  </a:lnTo>
                  <a:lnTo>
                    <a:pt x="157" y="456"/>
                  </a:lnTo>
                  <a:lnTo>
                    <a:pt x="161" y="449"/>
                  </a:lnTo>
                  <a:lnTo>
                    <a:pt x="159" y="445"/>
                  </a:lnTo>
                  <a:lnTo>
                    <a:pt x="155" y="444"/>
                  </a:lnTo>
                  <a:lnTo>
                    <a:pt x="150" y="442"/>
                  </a:lnTo>
                  <a:lnTo>
                    <a:pt x="142" y="440"/>
                  </a:lnTo>
                  <a:lnTo>
                    <a:pt x="128" y="438"/>
                  </a:lnTo>
                  <a:lnTo>
                    <a:pt x="117" y="434"/>
                  </a:lnTo>
                  <a:lnTo>
                    <a:pt x="109" y="412"/>
                  </a:lnTo>
                  <a:lnTo>
                    <a:pt x="102" y="394"/>
                  </a:lnTo>
                  <a:lnTo>
                    <a:pt x="89" y="377"/>
                  </a:lnTo>
                  <a:lnTo>
                    <a:pt x="74" y="360"/>
                  </a:lnTo>
                  <a:lnTo>
                    <a:pt x="67" y="360"/>
                  </a:lnTo>
                  <a:lnTo>
                    <a:pt x="59" y="360"/>
                  </a:lnTo>
                  <a:lnTo>
                    <a:pt x="58" y="364"/>
                  </a:lnTo>
                  <a:lnTo>
                    <a:pt x="59" y="368"/>
                  </a:lnTo>
                  <a:lnTo>
                    <a:pt x="59" y="371"/>
                  </a:lnTo>
                  <a:lnTo>
                    <a:pt x="63" y="375"/>
                  </a:lnTo>
                  <a:lnTo>
                    <a:pt x="70" y="379"/>
                  </a:lnTo>
                  <a:lnTo>
                    <a:pt x="83" y="381"/>
                  </a:lnTo>
                  <a:lnTo>
                    <a:pt x="83" y="397"/>
                  </a:lnTo>
                  <a:lnTo>
                    <a:pt x="80" y="408"/>
                  </a:lnTo>
                  <a:lnTo>
                    <a:pt x="74" y="414"/>
                  </a:lnTo>
                  <a:lnTo>
                    <a:pt x="69" y="418"/>
                  </a:lnTo>
                  <a:lnTo>
                    <a:pt x="63" y="419"/>
                  </a:lnTo>
                  <a:lnTo>
                    <a:pt x="56" y="421"/>
                  </a:lnTo>
                  <a:lnTo>
                    <a:pt x="52" y="423"/>
                  </a:lnTo>
                  <a:lnTo>
                    <a:pt x="50" y="429"/>
                  </a:lnTo>
                  <a:lnTo>
                    <a:pt x="52" y="436"/>
                  </a:lnTo>
                  <a:lnTo>
                    <a:pt x="56" y="442"/>
                  </a:lnTo>
                  <a:lnTo>
                    <a:pt x="61" y="449"/>
                  </a:lnTo>
                  <a:lnTo>
                    <a:pt x="65" y="455"/>
                  </a:lnTo>
                  <a:lnTo>
                    <a:pt x="70" y="462"/>
                  </a:lnTo>
                  <a:lnTo>
                    <a:pt x="72" y="471"/>
                  </a:lnTo>
                  <a:lnTo>
                    <a:pt x="74" y="480"/>
                  </a:lnTo>
                  <a:lnTo>
                    <a:pt x="74" y="493"/>
                  </a:lnTo>
                  <a:lnTo>
                    <a:pt x="74" y="503"/>
                  </a:lnTo>
                  <a:lnTo>
                    <a:pt x="74" y="512"/>
                  </a:lnTo>
                  <a:lnTo>
                    <a:pt x="72" y="519"/>
                  </a:lnTo>
                  <a:lnTo>
                    <a:pt x="69" y="525"/>
                  </a:lnTo>
                  <a:lnTo>
                    <a:pt x="59" y="525"/>
                  </a:lnTo>
                  <a:lnTo>
                    <a:pt x="48" y="525"/>
                  </a:lnTo>
                  <a:lnTo>
                    <a:pt x="41" y="536"/>
                  </a:lnTo>
                  <a:lnTo>
                    <a:pt x="34" y="543"/>
                  </a:lnTo>
                  <a:lnTo>
                    <a:pt x="28" y="547"/>
                  </a:lnTo>
                  <a:lnTo>
                    <a:pt x="21" y="551"/>
                  </a:lnTo>
                  <a:lnTo>
                    <a:pt x="15" y="553"/>
                  </a:lnTo>
                  <a:lnTo>
                    <a:pt x="9" y="554"/>
                  </a:lnTo>
                  <a:lnTo>
                    <a:pt x="6" y="558"/>
                  </a:lnTo>
                  <a:lnTo>
                    <a:pt x="2" y="564"/>
                  </a:lnTo>
                  <a:lnTo>
                    <a:pt x="0" y="571"/>
                  </a:lnTo>
                  <a:lnTo>
                    <a:pt x="2" y="577"/>
                  </a:lnTo>
                  <a:lnTo>
                    <a:pt x="4" y="580"/>
                  </a:lnTo>
                  <a:lnTo>
                    <a:pt x="6" y="586"/>
                  </a:lnTo>
                  <a:lnTo>
                    <a:pt x="13" y="601"/>
                  </a:lnTo>
                  <a:lnTo>
                    <a:pt x="21" y="625"/>
                  </a:lnTo>
                  <a:lnTo>
                    <a:pt x="26" y="628"/>
                  </a:lnTo>
                  <a:lnTo>
                    <a:pt x="35" y="628"/>
                  </a:lnTo>
                  <a:lnTo>
                    <a:pt x="43" y="628"/>
                  </a:lnTo>
                  <a:lnTo>
                    <a:pt x="52" y="626"/>
                  </a:lnTo>
                  <a:lnTo>
                    <a:pt x="59" y="625"/>
                  </a:lnTo>
                  <a:lnTo>
                    <a:pt x="67" y="623"/>
                  </a:lnTo>
                  <a:lnTo>
                    <a:pt x="72" y="623"/>
                  </a:lnTo>
                  <a:lnTo>
                    <a:pt x="76" y="625"/>
                  </a:lnTo>
                  <a:lnTo>
                    <a:pt x="82" y="638"/>
                  </a:lnTo>
                  <a:lnTo>
                    <a:pt x="82" y="649"/>
                  </a:lnTo>
                  <a:lnTo>
                    <a:pt x="82" y="658"/>
                  </a:lnTo>
                  <a:lnTo>
                    <a:pt x="83" y="667"/>
                  </a:lnTo>
                  <a:lnTo>
                    <a:pt x="85" y="678"/>
                  </a:lnTo>
                  <a:lnTo>
                    <a:pt x="87" y="687"/>
                  </a:lnTo>
                  <a:lnTo>
                    <a:pt x="85" y="697"/>
                  </a:lnTo>
                  <a:lnTo>
                    <a:pt x="83" y="704"/>
                  </a:lnTo>
                  <a:lnTo>
                    <a:pt x="80" y="710"/>
                  </a:lnTo>
                  <a:lnTo>
                    <a:pt x="78" y="711"/>
                  </a:lnTo>
                  <a:lnTo>
                    <a:pt x="85" y="721"/>
                  </a:lnTo>
                  <a:lnTo>
                    <a:pt x="93" y="730"/>
                  </a:lnTo>
                  <a:lnTo>
                    <a:pt x="89" y="739"/>
                  </a:lnTo>
                  <a:lnTo>
                    <a:pt x="83" y="754"/>
                  </a:lnTo>
                  <a:lnTo>
                    <a:pt x="96" y="771"/>
                  </a:lnTo>
                  <a:lnTo>
                    <a:pt x="107" y="787"/>
                  </a:lnTo>
                  <a:lnTo>
                    <a:pt x="111" y="798"/>
                  </a:lnTo>
                  <a:lnTo>
                    <a:pt x="113" y="809"/>
                  </a:lnTo>
                  <a:lnTo>
                    <a:pt x="117" y="819"/>
                  </a:lnTo>
                  <a:lnTo>
                    <a:pt x="122" y="822"/>
                  </a:lnTo>
                  <a:lnTo>
                    <a:pt x="128" y="815"/>
                  </a:lnTo>
                  <a:lnTo>
                    <a:pt x="137" y="800"/>
                  </a:lnTo>
                  <a:lnTo>
                    <a:pt x="148" y="784"/>
                  </a:lnTo>
                  <a:lnTo>
                    <a:pt x="155" y="769"/>
                  </a:lnTo>
                  <a:lnTo>
                    <a:pt x="159" y="761"/>
                  </a:lnTo>
                  <a:lnTo>
                    <a:pt x="167" y="756"/>
                  </a:lnTo>
                  <a:lnTo>
                    <a:pt x="174" y="752"/>
                  </a:lnTo>
                  <a:lnTo>
                    <a:pt x="181" y="750"/>
                  </a:lnTo>
                  <a:lnTo>
                    <a:pt x="185" y="752"/>
                  </a:lnTo>
                  <a:lnTo>
                    <a:pt x="187" y="754"/>
                  </a:lnTo>
                  <a:lnTo>
                    <a:pt x="191" y="758"/>
                  </a:lnTo>
                  <a:lnTo>
                    <a:pt x="192" y="763"/>
                  </a:lnTo>
                  <a:lnTo>
                    <a:pt x="196" y="776"/>
                  </a:lnTo>
                  <a:lnTo>
                    <a:pt x="200" y="789"/>
                  </a:lnTo>
                  <a:lnTo>
                    <a:pt x="202" y="804"/>
                  </a:lnTo>
                  <a:lnTo>
                    <a:pt x="207" y="815"/>
                  </a:lnTo>
                  <a:lnTo>
                    <a:pt x="209" y="820"/>
                  </a:lnTo>
                  <a:lnTo>
                    <a:pt x="213" y="826"/>
                  </a:lnTo>
                  <a:lnTo>
                    <a:pt x="216" y="828"/>
                  </a:lnTo>
                  <a:lnTo>
                    <a:pt x="222" y="830"/>
                  </a:lnTo>
                  <a:lnTo>
                    <a:pt x="240" y="826"/>
                  </a:lnTo>
                  <a:lnTo>
                    <a:pt x="263" y="822"/>
                  </a:lnTo>
                  <a:lnTo>
                    <a:pt x="285" y="826"/>
                  </a:lnTo>
                  <a:lnTo>
                    <a:pt x="309" y="830"/>
                  </a:lnTo>
                  <a:lnTo>
                    <a:pt x="322" y="826"/>
                  </a:lnTo>
                  <a:lnTo>
                    <a:pt x="333" y="819"/>
                  </a:lnTo>
                  <a:lnTo>
                    <a:pt x="342" y="809"/>
                  </a:lnTo>
                  <a:lnTo>
                    <a:pt x="351" y="798"/>
                  </a:lnTo>
                  <a:lnTo>
                    <a:pt x="366" y="780"/>
                  </a:lnTo>
                  <a:lnTo>
                    <a:pt x="379" y="765"/>
                  </a:lnTo>
                  <a:lnTo>
                    <a:pt x="401" y="759"/>
                  </a:lnTo>
                  <a:lnTo>
                    <a:pt x="421" y="756"/>
                  </a:lnTo>
                  <a:lnTo>
                    <a:pt x="423" y="747"/>
                  </a:lnTo>
                  <a:lnTo>
                    <a:pt x="427" y="737"/>
                  </a:lnTo>
                  <a:lnTo>
                    <a:pt x="434" y="735"/>
                  </a:lnTo>
                  <a:lnTo>
                    <a:pt x="442" y="732"/>
                  </a:lnTo>
                  <a:lnTo>
                    <a:pt x="442" y="724"/>
                  </a:lnTo>
                  <a:lnTo>
                    <a:pt x="442" y="713"/>
                  </a:lnTo>
                  <a:lnTo>
                    <a:pt x="440" y="710"/>
                  </a:lnTo>
                  <a:lnTo>
                    <a:pt x="442" y="704"/>
                  </a:lnTo>
                  <a:lnTo>
                    <a:pt x="444" y="700"/>
                  </a:lnTo>
                  <a:lnTo>
                    <a:pt x="445" y="697"/>
                  </a:lnTo>
                  <a:lnTo>
                    <a:pt x="471" y="680"/>
                  </a:lnTo>
                  <a:lnTo>
                    <a:pt x="495" y="665"/>
                  </a:lnTo>
                  <a:lnTo>
                    <a:pt x="508" y="660"/>
                  </a:lnTo>
                  <a:lnTo>
                    <a:pt x="523" y="656"/>
                  </a:lnTo>
                  <a:lnTo>
                    <a:pt x="540" y="654"/>
                  </a:lnTo>
                  <a:lnTo>
                    <a:pt x="556" y="654"/>
                  </a:lnTo>
                  <a:lnTo>
                    <a:pt x="571" y="649"/>
                  </a:lnTo>
                  <a:lnTo>
                    <a:pt x="582" y="639"/>
                  </a:lnTo>
                  <a:lnTo>
                    <a:pt x="590" y="638"/>
                  </a:lnTo>
                  <a:lnTo>
                    <a:pt x="597" y="638"/>
                  </a:lnTo>
                  <a:lnTo>
                    <a:pt x="604" y="639"/>
                  </a:lnTo>
                  <a:lnTo>
                    <a:pt x="614" y="645"/>
                  </a:lnTo>
                  <a:lnTo>
                    <a:pt x="612" y="660"/>
                  </a:lnTo>
                  <a:lnTo>
                    <a:pt x="606" y="673"/>
                  </a:lnTo>
                  <a:lnTo>
                    <a:pt x="625" y="671"/>
                  </a:lnTo>
                  <a:lnTo>
                    <a:pt x="654" y="673"/>
                  </a:lnTo>
                  <a:lnTo>
                    <a:pt x="667" y="678"/>
                  </a:lnTo>
                  <a:lnTo>
                    <a:pt x="686" y="687"/>
                  </a:lnTo>
                  <a:lnTo>
                    <a:pt x="697" y="691"/>
                  </a:lnTo>
                  <a:lnTo>
                    <a:pt x="708" y="693"/>
                  </a:lnTo>
                  <a:lnTo>
                    <a:pt x="719" y="691"/>
                  </a:lnTo>
                  <a:lnTo>
                    <a:pt x="730" y="687"/>
                  </a:lnTo>
                  <a:lnTo>
                    <a:pt x="728" y="684"/>
                  </a:lnTo>
                  <a:lnTo>
                    <a:pt x="726" y="680"/>
                  </a:lnTo>
                  <a:lnTo>
                    <a:pt x="735" y="676"/>
                  </a:lnTo>
                  <a:lnTo>
                    <a:pt x="743" y="674"/>
                  </a:lnTo>
                  <a:lnTo>
                    <a:pt x="748" y="678"/>
                  </a:lnTo>
                  <a:lnTo>
                    <a:pt x="752" y="682"/>
                  </a:lnTo>
                  <a:lnTo>
                    <a:pt x="758" y="684"/>
                  </a:lnTo>
                  <a:lnTo>
                    <a:pt x="761" y="682"/>
                  </a:lnTo>
                  <a:lnTo>
                    <a:pt x="763" y="680"/>
                  </a:lnTo>
                  <a:lnTo>
                    <a:pt x="763" y="678"/>
                  </a:lnTo>
                  <a:lnTo>
                    <a:pt x="763" y="674"/>
                  </a:lnTo>
                  <a:lnTo>
                    <a:pt x="763" y="671"/>
                  </a:lnTo>
                  <a:lnTo>
                    <a:pt x="769" y="667"/>
                  </a:lnTo>
                  <a:lnTo>
                    <a:pt x="774" y="667"/>
                  </a:lnTo>
                  <a:lnTo>
                    <a:pt x="785" y="667"/>
                  </a:lnTo>
                  <a:lnTo>
                    <a:pt x="800" y="667"/>
                  </a:lnTo>
                  <a:lnTo>
                    <a:pt x="820" y="650"/>
                  </a:lnTo>
                  <a:lnTo>
                    <a:pt x="837" y="638"/>
                  </a:lnTo>
                  <a:lnTo>
                    <a:pt x="850" y="639"/>
                  </a:lnTo>
                  <a:lnTo>
                    <a:pt x="865" y="641"/>
                  </a:lnTo>
                  <a:lnTo>
                    <a:pt x="868" y="621"/>
                  </a:lnTo>
                  <a:lnTo>
                    <a:pt x="868" y="601"/>
                  </a:lnTo>
                  <a:lnTo>
                    <a:pt x="872" y="595"/>
                  </a:lnTo>
                  <a:lnTo>
                    <a:pt x="876" y="589"/>
                  </a:lnTo>
                  <a:lnTo>
                    <a:pt x="883" y="586"/>
                  </a:lnTo>
                  <a:lnTo>
                    <a:pt x="894" y="580"/>
                  </a:lnTo>
                  <a:lnTo>
                    <a:pt x="900" y="573"/>
                  </a:lnTo>
                  <a:lnTo>
                    <a:pt x="902" y="562"/>
                  </a:lnTo>
                  <a:lnTo>
                    <a:pt x="924" y="540"/>
                  </a:lnTo>
                  <a:lnTo>
                    <a:pt x="946" y="517"/>
                  </a:lnTo>
                  <a:lnTo>
                    <a:pt x="944" y="512"/>
                  </a:lnTo>
                  <a:lnTo>
                    <a:pt x="942" y="508"/>
                  </a:lnTo>
                  <a:lnTo>
                    <a:pt x="941" y="504"/>
                  </a:lnTo>
                  <a:lnTo>
                    <a:pt x="937" y="501"/>
                  </a:lnTo>
                  <a:lnTo>
                    <a:pt x="929" y="493"/>
                  </a:lnTo>
                  <a:lnTo>
                    <a:pt x="924" y="488"/>
                  </a:lnTo>
                  <a:lnTo>
                    <a:pt x="922" y="471"/>
                  </a:lnTo>
                  <a:lnTo>
                    <a:pt x="920" y="455"/>
                  </a:lnTo>
                  <a:lnTo>
                    <a:pt x="917" y="447"/>
                  </a:lnTo>
                  <a:lnTo>
                    <a:pt x="913" y="442"/>
                  </a:lnTo>
                  <a:lnTo>
                    <a:pt x="909" y="436"/>
                  </a:lnTo>
                  <a:lnTo>
                    <a:pt x="904" y="432"/>
                  </a:lnTo>
                  <a:lnTo>
                    <a:pt x="892" y="425"/>
                  </a:lnTo>
                  <a:lnTo>
                    <a:pt x="883" y="418"/>
                  </a:lnTo>
                  <a:lnTo>
                    <a:pt x="878" y="405"/>
                  </a:lnTo>
                  <a:lnTo>
                    <a:pt x="874" y="390"/>
                  </a:lnTo>
                  <a:lnTo>
                    <a:pt x="868" y="384"/>
                  </a:lnTo>
                  <a:lnTo>
                    <a:pt x="867" y="379"/>
                  </a:lnTo>
                  <a:lnTo>
                    <a:pt x="867" y="373"/>
                  </a:lnTo>
                  <a:lnTo>
                    <a:pt x="868" y="368"/>
                  </a:lnTo>
                  <a:lnTo>
                    <a:pt x="870" y="359"/>
                  </a:lnTo>
                  <a:lnTo>
                    <a:pt x="872" y="351"/>
                  </a:lnTo>
                  <a:lnTo>
                    <a:pt x="865" y="346"/>
                  </a:lnTo>
                  <a:lnTo>
                    <a:pt x="861" y="340"/>
                  </a:lnTo>
                  <a:lnTo>
                    <a:pt x="859" y="334"/>
                  </a:lnTo>
                  <a:lnTo>
                    <a:pt x="859" y="329"/>
                  </a:lnTo>
                  <a:lnTo>
                    <a:pt x="865" y="318"/>
                  </a:lnTo>
                  <a:lnTo>
                    <a:pt x="874" y="30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4" name="Freeform 35"/>
            <p:cNvSpPr>
              <a:spLocks/>
            </p:cNvSpPr>
            <p:nvPr/>
          </p:nvSpPr>
          <p:spPr bwMode="auto">
            <a:xfrm>
              <a:off x="5018216" y="2178523"/>
              <a:ext cx="352731" cy="478368"/>
            </a:xfrm>
            <a:custGeom>
              <a:avLst/>
              <a:gdLst>
                <a:gd name="T0" fmla="*/ 514 w 676"/>
                <a:gd name="T1" fmla="*/ 890 h 940"/>
                <a:gd name="T2" fmla="*/ 543 w 676"/>
                <a:gd name="T3" fmla="*/ 920 h 940"/>
                <a:gd name="T4" fmla="*/ 575 w 676"/>
                <a:gd name="T5" fmla="*/ 940 h 940"/>
                <a:gd name="T6" fmla="*/ 606 w 676"/>
                <a:gd name="T7" fmla="*/ 896 h 940"/>
                <a:gd name="T8" fmla="*/ 588 w 676"/>
                <a:gd name="T9" fmla="*/ 864 h 940"/>
                <a:gd name="T10" fmla="*/ 588 w 676"/>
                <a:gd name="T11" fmla="*/ 840 h 940"/>
                <a:gd name="T12" fmla="*/ 595 w 676"/>
                <a:gd name="T13" fmla="*/ 801 h 940"/>
                <a:gd name="T14" fmla="*/ 568 w 676"/>
                <a:gd name="T15" fmla="*/ 733 h 940"/>
                <a:gd name="T16" fmla="*/ 608 w 676"/>
                <a:gd name="T17" fmla="*/ 694 h 940"/>
                <a:gd name="T18" fmla="*/ 625 w 676"/>
                <a:gd name="T19" fmla="*/ 643 h 940"/>
                <a:gd name="T20" fmla="*/ 621 w 676"/>
                <a:gd name="T21" fmla="*/ 552 h 940"/>
                <a:gd name="T22" fmla="*/ 619 w 676"/>
                <a:gd name="T23" fmla="*/ 535 h 940"/>
                <a:gd name="T24" fmla="*/ 623 w 676"/>
                <a:gd name="T25" fmla="*/ 497 h 940"/>
                <a:gd name="T26" fmla="*/ 676 w 676"/>
                <a:gd name="T27" fmla="*/ 476 h 940"/>
                <a:gd name="T28" fmla="*/ 652 w 676"/>
                <a:gd name="T29" fmla="*/ 458 h 940"/>
                <a:gd name="T30" fmla="*/ 606 w 676"/>
                <a:gd name="T31" fmla="*/ 452 h 940"/>
                <a:gd name="T32" fmla="*/ 586 w 676"/>
                <a:gd name="T33" fmla="*/ 437 h 940"/>
                <a:gd name="T34" fmla="*/ 593 w 676"/>
                <a:gd name="T35" fmla="*/ 408 h 940"/>
                <a:gd name="T36" fmla="*/ 606 w 676"/>
                <a:gd name="T37" fmla="*/ 334 h 940"/>
                <a:gd name="T38" fmla="*/ 586 w 676"/>
                <a:gd name="T39" fmla="*/ 258 h 940"/>
                <a:gd name="T40" fmla="*/ 564 w 676"/>
                <a:gd name="T41" fmla="*/ 240 h 940"/>
                <a:gd name="T42" fmla="*/ 595 w 676"/>
                <a:gd name="T43" fmla="*/ 158 h 940"/>
                <a:gd name="T44" fmla="*/ 566 w 676"/>
                <a:gd name="T45" fmla="*/ 53 h 940"/>
                <a:gd name="T46" fmla="*/ 558 w 676"/>
                <a:gd name="T47" fmla="*/ 29 h 940"/>
                <a:gd name="T48" fmla="*/ 545 w 676"/>
                <a:gd name="T49" fmla="*/ 44 h 940"/>
                <a:gd name="T50" fmla="*/ 510 w 676"/>
                <a:gd name="T51" fmla="*/ 42 h 940"/>
                <a:gd name="T52" fmla="*/ 470 w 676"/>
                <a:gd name="T53" fmla="*/ 49 h 940"/>
                <a:gd name="T54" fmla="*/ 398 w 676"/>
                <a:gd name="T55" fmla="*/ 7 h 940"/>
                <a:gd name="T56" fmla="*/ 340 w 676"/>
                <a:gd name="T57" fmla="*/ 16 h 940"/>
                <a:gd name="T58" fmla="*/ 229 w 676"/>
                <a:gd name="T59" fmla="*/ 59 h 940"/>
                <a:gd name="T60" fmla="*/ 226 w 676"/>
                <a:gd name="T61" fmla="*/ 94 h 940"/>
                <a:gd name="T62" fmla="*/ 163 w 676"/>
                <a:gd name="T63" fmla="*/ 127 h 940"/>
                <a:gd name="T64" fmla="*/ 93 w 676"/>
                <a:gd name="T65" fmla="*/ 221 h 940"/>
                <a:gd name="T66" fmla="*/ 23 w 676"/>
                <a:gd name="T67" fmla="*/ 271 h 940"/>
                <a:gd name="T68" fmla="*/ 0 w 676"/>
                <a:gd name="T69" fmla="*/ 341 h 940"/>
                <a:gd name="T70" fmla="*/ 4 w 676"/>
                <a:gd name="T71" fmla="*/ 393 h 940"/>
                <a:gd name="T72" fmla="*/ 19 w 676"/>
                <a:gd name="T73" fmla="*/ 415 h 940"/>
                <a:gd name="T74" fmla="*/ 67 w 676"/>
                <a:gd name="T75" fmla="*/ 445 h 940"/>
                <a:gd name="T76" fmla="*/ 100 w 676"/>
                <a:gd name="T77" fmla="*/ 478 h 940"/>
                <a:gd name="T78" fmla="*/ 93 w 676"/>
                <a:gd name="T79" fmla="*/ 567 h 940"/>
                <a:gd name="T80" fmla="*/ 43 w 676"/>
                <a:gd name="T81" fmla="*/ 587 h 940"/>
                <a:gd name="T82" fmla="*/ 26 w 676"/>
                <a:gd name="T83" fmla="*/ 654 h 940"/>
                <a:gd name="T84" fmla="*/ 39 w 676"/>
                <a:gd name="T85" fmla="*/ 752 h 940"/>
                <a:gd name="T86" fmla="*/ 78 w 676"/>
                <a:gd name="T87" fmla="*/ 753 h 940"/>
                <a:gd name="T88" fmla="*/ 108 w 676"/>
                <a:gd name="T89" fmla="*/ 707 h 940"/>
                <a:gd name="T90" fmla="*/ 120 w 676"/>
                <a:gd name="T91" fmla="*/ 718 h 940"/>
                <a:gd name="T92" fmla="*/ 161 w 676"/>
                <a:gd name="T93" fmla="*/ 733 h 940"/>
                <a:gd name="T94" fmla="*/ 191 w 676"/>
                <a:gd name="T95" fmla="*/ 774 h 940"/>
                <a:gd name="T96" fmla="*/ 174 w 676"/>
                <a:gd name="T97" fmla="*/ 822 h 940"/>
                <a:gd name="T98" fmla="*/ 205 w 676"/>
                <a:gd name="T99" fmla="*/ 866 h 940"/>
                <a:gd name="T100" fmla="*/ 246 w 676"/>
                <a:gd name="T101" fmla="*/ 870 h 940"/>
                <a:gd name="T102" fmla="*/ 263 w 676"/>
                <a:gd name="T103" fmla="*/ 853 h 940"/>
                <a:gd name="T104" fmla="*/ 342 w 676"/>
                <a:gd name="T105" fmla="*/ 851 h 940"/>
                <a:gd name="T106" fmla="*/ 374 w 676"/>
                <a:gd name="T107" fmla="*/ 831 h 940"/>
                <a:gd name="T108" fmla="*/ 459 w 676"/>
                <a:gd name="T109" fmla="*/ 855 h 940"/>
                <a:gd name="T110" fmla="*/ 486 w 676"/>
                <a:gd name="T111" fmla="*/ 874 h 9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76"/>
                <a:gd name="T169" fmla="*/ 0 h 940"/>
                <a:gd name="T170" fmla="*/ 676 w 676"/>
                <a:gd name="T171" fmla="*/ 940 h 94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76" h="940">
                  <a:moveTo>
                    <a:pt x="492" y="901"/>
                  </a:moveTo>
                  <a:lnTo>
                    <a:pt x="495" y="899"/>
                  </a:lnTo>
                  <a:lnTo>
                    <a:pt x="499" y="899"/>
                  </a:lnTo>
                  <a:lnTo>
                    <a:pt x="505" y="890"/>
                  </a:lnTo>
                  <a:lnTo>
                    <a:pt x="510" y="888"/>
                  </a:lnTo>
                  <a:lnTo>
                    <a:pt x="514" y="890"/>
                  </a:lnTo>
                  <a:lnTo>
                    <a:pt x="518" y="896"/>
                  </a:lnTo>
                  <a:lnTo>
                    <a:pt x="523" y="911"/>
                  </a:lnTo>
                  <a:lnTo>
                    <a:pt x="527" y="920"/>
                  </a:lnTo>
                  <a:lnTo>
                    <a:pt x="531" y="920"/>
                  </a:lnTo>
                  <a:lnTo>
                    <a:pt x="538" y="918"/>
                  </a:lnTo>
                  <a:lnTo>
                    <a:pt x="543" y="920"/>
                  </a:lnTo>
                  <a:lnTo>
                    <a:pt x="549" y="923"/>
                  </a:lnTo>
                  <a:lnTo>
                    <a:pt x="551" y="927"/>
                  </a:lnTo>
                  <a:lnTo>
                    <a:pt x="555" y="933"/>
                  </a:lnTo>
                  <a:lnTo>
                    <a:pt x="558" y="935"/>
                  </a:lnTo>
                  <a:lnTo>
                    <a:pt x="564" y="938"/>
                  </a:lnTo>
                  <a:lnTo>
                    <a:pt x="575" y="940"/>
                  </a:lnTo>
                  <a:lnTo>
                    <a:pt x="580" y="938"/>
                  </a:lnTo>
                  <a:lnTo>
                    <a:pt x="584" y="925"/>
                  </a:lnTo>
                  <a:lnTo>
                    <a:pt x="588" y="911"/>
                  </a:lnTo>
                  <a:lnTo>
                    <a:pt x="595" y="905"/>
                  </a:lnTo>
                  <a:lnTo>
                    <a:pt x="601" y="901"/>
                  </a:lnTo>
                  <a:lnTo>
                    <a:pt x="606" y="896"/>
                  </a:lnTo>
                  <a:lnTo>
                    <a:pt x="608" y="890"/>
                  </a:lnTo>
                  <a:lnTo>
                    <a:pt x="606" y="881"/>
                  </a:lnTo>
                  <a:lnTo>
                    <a:pt x="604" y="874"/>
                  </a:lnTo>
                  <a:lnTo>
                    <a:pt x="599" y="870"/>
                  </a:lnTo>
                  <a:lnTo>
                    <a:pt x="593" y="866"/>
                  </a:lnTo>
                  <a:lnTo>
                    <a:pt x="588" y="864"/>
                  </a:lnTo>
                  <a:lnTo>
                    <a:pt x="584" y="861"/>
                  </a:lnTo>
                  <a:lnTo>
                    <a:pt x="580" y="857"/>
                  </a:lnTo>
                  <a:lnTo>
                    <a:pt x="579" y="851"/>
                  </a:lnTo>
                  <a:lnTo>
                    <a:pt x="580" y="848"/>
                  </a:lnTo>
                  <a:lnTo>
                    <a:pt x="584" y="844"/>
                  </a:lnTo>
                  <a:lnTo>
                    <a:pt x="588" y="840"/>
                  </a:lnTo>
                  <a:lnTo>
                    <a:pt x="593" y="837"/>
                  </a:lnTo>
                  <a:lnTo>
                    <a:pt x="599" y="831"/>
                  </a:lnTo>
                  <a:lnTo>
                    <a:pt x="603" y="824"/>
                  </a:lnTo>
                  <a:lnTo>
                    <a:pt x="606" y="814"/>
                  </a:lnTo>
                  <a:lnTo>
                    <a:pt x="606" y="803"/>
                  </a:lnTo>
                  <a:lnTo>
                    <a:pt x="595" y="801"/>
                  </a:lnTo>
                  <a:lnTo>
                    <a:pt x="582" y="798"/>
                  </a:lnTo>
                  <a:lnTo>
                    <a:pt x="575" y="792"/>
                  </a:lnTo>
                  <a:lnTo>
                    <a:pt x="571" y="783"/>
                  </a:lnTo>
                  <a:lnTo>
                    <a:pt x="568" y="772"/>
                  </a:lnTo>
                  <a:lnTo>
                    <a:pt x="566" y="755"/>
                  </a:lnTo>
                  <a:lnTo>
                    <a:pt x="568" y="733"/>
                  </a:lnTo>
                  <a:lnTo>
                    <a:pt x="568" y="718"/>
                  </a:lnTo>
                  <a:lnTo>
                    <a:pt x="577" y="711"/>
                  </a:lnTo>
                  <a:lnTo>
                    <a:pt x="590" y="705"/>
                  </a:lnTo>
                  <a:lnTo>
                    <a:pt x="597" y="702"/>
                  </a:lnTo>
                  <a:lnTo>
                    <a:pt x="603" y="698"/>
                  </a:lnTo>
                  <a:lnTo>
                    <a:pt x="608" y="694"/>
                  </a:lnTo>
                  <a:lnTo>
                    <a:pt x="610" y="689"/>
                  </a:lnTo>
                  <a:lnTo>
                    <a:pt x="606" y="683"/>
                  </a:lnTo>
                  <a:lnTo>
                    <a:pt x="604" y="670"/>
                  </a:lnTo>
                  <a:lnTo>
                    <a:pt x="616" y="661"/>
                  </a:lnTo>
                  <a:lnTo>
                    <a:pt x="625" y="652"/>
                  </a:lnTo>
                  <a:lnTo>
                    <a:pt x="625" y="643"/>
                  </a:lnTo>
                  <a:lnTo>
                    <a:pt x="623" y="631"/>
                  </a:lnTo>
                  <a:lnTo>
                    <a:pt x="627" y="617"/>
                  </a:lnTo>
                  <a:lnTo>
                    <a:pt x="632" y="604"/>
                  </a:lnTo>
                  <a:lnTo>
                    <a:pt x="619" y="576"/>
                  </a:lnTo>
                  <a:lnTo>
                    <a:pt x="612" y="556"/>
                  </a:lnTo>
                  <a:lnTo>
                    <a:pt x="621" y="552"/>
                  </a:lnTo>
                  <a:lnTo>
                    <a:pt x="628" y="548"/>
                  </a:lnTo>
                  <a:lnTo>
                    <a:pt x="628" y="541"/>
                  </a:lnTo>
                  <a:lnTo>
                    <a:pt x="628" y="537"/>
                  </a:lnTo>
                  <a:lnTo>
                    <a:pt x="627" y="535"/>
                  </a:lnTo>
                  <a:lnTo>
                    <a:pt x="625" y="535"/>
                  </a:lnTo>
                  <a:lnTo>
                    <a:pt x="619" y="535"/>
                  </a:lnTo>
                  <a:lnTo>
                    <a:pt x="616" y="535"/>
                  </a:lnTo>
                  <a:lnTo>
                    <a:pt x="616" y="524"/>
                  </a:lnTo>
                  <a:lnTo>
                    <a:pt x="621" y="517"/>
                  </a:lnTo>
                  <a:lnTo>
                    <a:pt x="623" y="511"/>
                  </a:lnTo>
                  <a:lnTo>
                    <a:pt x="623" y="506"/>
                  </a:lnTo>
                  <a:lnTo>
                    <a:pt x="623" y="497"/>
                  </a:lnTo>
                  <a:lnTo>
                    <a:pt x="621" y="484"/>
                  </a:lnTo>
                  <a:lnTo>
                    <a:pt x="636" y="486"/>
                  </a:lnTo>
                  <a:lnTo>
                    <a:pt x="667" y="486"/>
                  </a:lnTo>
                  <a:lnTo>
                    <a:pt x="671" y="484"/>
                  </a:lnTo>
                  <a:lnTo>
                    <a:pt x="675" y="480"/>
                  </a:lnTo>
                  <a:lnTo>
                    <a:pt x="676" y="476"/>
                  </a:lnTo>
                  <a:lnTo>
                    <a:pt x="676" y="474"/>
                  </a:lnTo>
                  <a:lnTo>
                    <a:pt x="675" y="467"/>
                  </a:lnTo>
                  <a:lnTo>
                    <a:pt x="669" y="461"/>
                  </a:lnTo>
                  <a:lnTo>
                    <a:pt x="669" y="463"/>
                  </a:lnTo>
                  <a:lnTo>
                    <a:pt x="662" y="460"/>
                  </a:lnTo>
                  <a:lnTo>
                    <a:pt x="652" y="458"/>
                  </a:lnTo>
                  <a:lnTo>
                    <a:pt x="641" y="458"/>
                  </a:lnTo>
                  <a:lnTo>
                    <a:pt x="632" y="460"/>
                  </a:lnTo>
                  <a:lnTo>
                    <a:pt x="625" y="454"/>
                  </a:lnTo>
                  <a:lnTo>
                    <a:pt x="619" y="449"/>
                  </a:lnTo>
                  <a:lnTo>
                    <a:pt x="612" y="449"/>
                  </a:lnTo>
                  <a:lnTo>
                    <a:pt x="606" y="452"/>
                  </a:lnTo>
                  <a:lnTo>
                    <a:pt x="603" y="452"/>
                  </a:lnTo>
                  <a:lnTo>
                    <a:pt x="599" y="452"/>
                  </a:lnTo>
                  <a:lnTo>
                    <a:pt x="595" y="450"/>
                  </a:lnTo>
                  <a:lnTo>
                    <a:pt x="588" y="445"/>
                  </a:lnTo>
                  <a:lnTo>
                    <a:pt x="586" y="441"/>
                  </a:lnTo>
                  <a:lnTo>
                    <a:pt x="586" y="437"/>
                  </a:lnTo>
                  <a:lnTo>
                    <a:pt x="586" y="434"/>
                  </a:lnTo>
                  <a:lnTo>
                    <a:pt x="590" y="430"/>
                  </a:lnTo>
                  <a:lnTo>
                    <a:pt x="595" y="423"/>
                  </a:lnTo>
                  <a:lnTo>
                    <a:pt x="603" y="419"/>
                  </a:lnTo>
                  <a:lnTo>
                    <a:pt x="597" y="413"/>
                  </a:lnTo>
                  <a:lnTo>
                    <a:pt x="593" y="408"/>
                  </a:lnTo>
                  <a:lnTo>
                    <a:pt x="608" y="389"/>
                  </a:lnTo>
                  <a:lnTo>
                    <a:pt x="625" y="364"/>
                  </a:lnTo>
                  <a:lnTo>
                    <a:pt x="616" y="356"/>
                  </a:lnTo>
                  <a:lnTo>
                    <a:pt x="612" y="347"/>
                  </a:lnTo>
                  <a:lnTo>
                    <a:pt x="608" y="341"/>
                  </a:lnTo>
                  <a:lnTo>
                    <a:pt x="606" y="334"/>
                  </a:lnTo>
                  <a:lnTo>
                    <a:pt x="593" y="321"/>
                  </a:lnTo>
                  <a:lnTo>
                    <a:pt x="580" y="306"/>
                  </a:lnTo>
                  <a:lnTo>
                    <a:pt x="584" y="288"/>
                  </a:lnTo>
                  <a:lnTo>
                    <a:pt x="588" y="271"/>
                  </a:lnTo>
                  <a:lnTo>
                    <a:pt x="588" y="264"/>
                  </a:lnTo>
                  <a:lnTo>
                    <a:pt x="586" y="258"/>
                  </a:lnTo>
                  <a:lnTo>
                    <a:pt x="580" y="255"/>
                  </a:lnTo>
                  <a:lnTo>
                    <a:pt x="577" y="253"/>
                  </a:lnTo>
                  <a:lnTo>
                    <a:pt x="571" y="249"/>
                  </a:lnTo>
                  <a:lnTo>
                    <a:pt x="568" y="247"/>
                  </a:lnTo>
                  <a:lnTo>
                    <a:pt x="566" y="243"/>
                  </a:lnTo>
                  <a:lnTo>
                    <a:pt x="564" y="240"/>
                  </a:lnTo>
                  <a:lnTo>
                    <a:pt x="584" y="232"/>
                  </a:lnTo>
                  <a:lnTo>
                    <a:pt x="603" y="225"/>
                  </a:lnTo>
                  <a:lnTo>
                    <a:pt x="603" y="212"/>
                  </a:lnTo>
                  <a:lnTo>
                    <a:pt x="601" y="195"/>
                  </a:lnTo>
                  <a:lnTo>
                    <a:pt x="597" y="179"/>
                  </a:lnTo>
                  <a:lnTo>
                    <a:pt x="595" y="158"/>
                  </a:lnTo>
                  <a:lnTo>
                    <a:pt x="593" y="131"/>
                  </a:lnTo>
                  <a:lnTo>
                    <a:pt x="592" y="107"/>
                  </a:lnTo>
                  <a:lnTo>
                    <a:pt x="588" y="86"/>
                  </a:lnTo>
                  <a:lnTo>
                    <a:pt x="582" y="70"/>
                  </a:lnTo>
                  <a:lnTo>
                    <a:pt x="575" y="61"/>
                  </a:lnTo>
                  <a:lnTo>
                    <a:pt x="566" y="53"/>
                  </a:lnTo>
                  <a:lnTo>
                    <a:pt x="562" y="48"/>
                  </a:lnTo>
                  <a:lnTo>
                    <a:pt x="558" y="44"/>
                  </a:lnTo>
                  <a:lnTo>
                    <a:pt x="558" y="36"/>
                  </a:lnTo>
                  <a:lnTo>
                    <a:pt x="558" y="29"/>
                  </a:lnTo>
                  <a:lnTo>
                    <a:pt x="553" y="29"/>
                  </a:lnTo>
                  <a:lnTo>
                    <a:pt x="547" y="33"/>
                  </a:lnTo>
                  <a:lnTo>
                    <a:pt x="547" y="36"/>
                  </a:lnTo>
                  <a:lnTo>
                    <a:pt x="547" y="40"/>
                  </a:lnTo>
                  <a:lnTo>
                    <a:pt x="547" y="42"/>
                  </a:lnTo>
                  <a:lnTo>
                    <a:pt x="545" y="44"/>
                  </a:lnTo>
                  <a:lnTo>
                    <a:pt x="542" y="46"/>
                  </a:lnTo>
                  <a:lnTo>
                    <a:pt x="536" y="44"/>
                  </a:lnTo>
                  <a:lnTo>
                    <a:pt x="532" y="40"/>
                  </a:lnTo>
                  <a:lnTo>
                    <a:pt x="527" y="36"/>
                  </a:lnTo>
                  <a:lnTo>
                    <a:pt x="519" y="38"/>
                  </a:lnTo>
                  <a:lnTo>
                    <a:pt x="510" y="42"/>
                  </a:lnTo>
                  <a:lnTo>
                    <a:pt x="512" y="46"/>
                  </a:lnTo>
                  <a:lnTo>
                    <a:pt x="514" y="49"/>
                  </a:lnTo>
                  <a:lnTo>
                    <a:pt x="503" y="53"/>
                  </a:lnTo>
                  <a:lnTo>
                    <a:pt x="492" y="55"/>
                  </a:lnTo>
                  <a:lnTo>
                    <a:pt x="481" y="53"/>
                  </a:lnTo>
                  <a:lnTo>
                    <a:pt x="470" y="49"/>
                  </a:lnTo>
                  <a:lnTo>
                    <a:pt x="451" y="40"/>
                  </a:lnTo>
                  <a:lnTo>
                    <a:pt x="438" y="35"/>
                  </a:lnTo>
                  <a:lnTo>
                    <a:pt x="409" y="33"/>
                  </a:lnTo>
                  <a:lnTo>
                    <a:pt x="390" y="35"/>
                  </a:lnTo>
                  <a:lnTo>
                    <a:pt x="396" y="22"/>
                  </a:lnTo>
                  <a:lnTo>
                    <a:pt x="398" y="7"/>
                  </a:lnTo>
                  <a:lnTo>
                    <a:pt x="388" y="1"/>
                  </a:lnTo>
                  <a:lnTo>
                    <a:pt x="381" y="0"/>
                  </a:lnTo>
                  <a:lnTo>
                    <a:pt x="374" y="0"/>
                  </a:lnTo>
                  <a:lnTo>
                    <a:pt x="366" y="1"/>
                  </a:lnTo>
                  <a:lnTo>
                    <a:pt x="355" y="11"/>
                  </a:lnTo>
                  <a:lnTo>
                    <a:pt x="340" y="16"/>
                  </a:lnTo>
                  <a:lnTo>
                    <a:pt x="324" y="16"/>
                  </a:lnTo>
                  <a:lnTo>
                    <a:pt x="307" y="18"/>
                  </a:lnTo>
                  <a:lnTo>
                    <a:pt x="292" y="22"/>
                  </a:lnTo>
                  <a:lnTo>
                    <a:pt x="279" y="27"/>
                  </a:lnTo>
                  <a:lnTo>
                    <a:pt x="255" y="42"/>
                  </a:lnTo>
                  <a:lnTo>
                    <a:pt x="229" y="59"/>
                  </a:lnTo>
                  <a:lnTo>
                    <a:pt x="228" y="62"/>
                  </a:lnTo>
                  <a:lnTo>
                    <a:pt x="226" y="66"/>
                  </a:lnTo>
                  <a:lnTo>
                    <a:pt x="224" y="72"/>
                  </a:lnTo>
                  <a:lnTo>
                    <a:pt x="226" y="75"/>
                  </a:lnTo>
                  <a:lnTo>
                    <a:pt x="226" y="86"/>
                  </a:lnTo>
                  <a:lnTo>
                    <a:pt x="226" y="94"/>
                  </a:lnTo>
                  <a:lnTo>
                    <a:pt x="218" y="97"/>
                  </a:lnTo>
                  <a:lnTo>
                    <a:pt x="211" y="99"/>
                  </a:lnTo>
                  <a:lnTo>
                    <a:pt x="207" y="109"/>
                  </a:lnTo>
                  <a:lnTo>
                    <a:pt x="205" y="118"/>
                  </a:lnTo>
                  <a:lnTo>
                    <a:pt x="185" y="121"/>
                  </a:lnTo>
                  <a:lnTo>
                    <a:pt x="163" y="127"/>
                  </a:lnTo>
                  <a:lnTo>
                    <a:pt x="143" y="151"/>
                  </a:lnTo>
                  <a:lnTo>
                    <a:pt x="115" y="182"/>
                  </a:lnTo>
                  <a:lnTo>
                    <a:pt x="109" y="195"/>
                  </a:lnTo>
                  <a:lnTo>
                    <a:pt x="104" y="205"/>
                  </a:lnTo>
                  <a:lnTo>
                    <a:pt x="98" y="214"/>
                  </a:lnTo>
                  <a:lnTo>
                    <a:pt x="93" y="221"/>
                  </a:lnTo>
                  <a:lnTo>
                    <a:pt x="82" y="234"/>
                  </a:lnTo>
                  <a:lnTo>
                    <a:pt x="71" y="242"/>
                  </a:lnTo>
                  <a:lnTo>
                    <a:pt x="58" y="247"/>
                  </a:lnTo>
                  <a:lnTo>
                    <a:pt x="45" y="253"/>
                  </a:lnTo>
                  <a:lnTo>
                    <a:pt x="34" y="260"/>
                  </a:lnTo>
                  <a:lnTo>
                    <a:pt x="23" y="271"/>
                  </a:lnTo>
                  <a:lnTo>
                    <a:pt x="17" y="280"/>
                  </a:lnTo>
                  <a:lnTo>
                    <a:pt x="13" y="293"/>
                  </a:lnTo>
                  <a:lnTo>
                    <a:pt x="11" y="306"/>
                  </a:lnTo>
                  <a:lnTo>
                    <a:pt x="8" y="321"/>
                  </a:lnTo>
                  <a:lnTo>
                    <a:pt x="2" y="330"/>
                  </a:lnTo>
                  <a:lnTo>
                    <a:pt x="0" y="341"/>
                  </a:lnTo>
                  <a:lnTo>
                    <a:pt x="10" y="354"/>
                  </a:lnTo>
                  <a:lnTo>
                    <a:pt x="17" y="369"/>
                  </a:lnTo>
                  <a:lnTo>
                    <a:pt x="15" y="376"/>
                  </a:lnTo>
                  <a:lnTo>
                    <a:pt x="8" y="384"/>
                  </a:lnTo>
                  <a:lnTo>
                    <a:pt x="6" y="389"/>
                  </a:lnTo>
                  <a:lnTo>
                    <a:pt x="4" y="393"/>
                  </a:lnTo>
                  <a:lnTo>
                    <a:pt x="2" y="397"/>
                  </a:lnTo>
                  <a:lnTo>
                    <a:pt x="4" y="402"/>
                  </a:lnTo>
                  <a:lnTo>
                    <a:pt x="8" y="408"/>
                  </a:lnTo>
                  <a:lnTo>
                    <a:pt x="11" y="412"/>
                  </a:lnTo>
                  <a:lnTo>
                    <a:pt x="15" y="415"/>
                  </a:lnTo>
                  <a:lnTo>
                    <a:pt x="19" y="415"/>
                  </a:lnTo>
                  <a:lnTo>
                    <a:pt x="26" y="417"/>
                  </a:lnTo>
                  <a:lnTo>
                    <a:pt x="32" y="419"/>
                  </a:lnTo>
                  <a:lnTo>
                    <a:pt x="39" y="428"/>
                  </a:lnTo>
                  <a:lnTo>
                    <a:pt x="48" y="436"/>
                  </a:lnTo>
                  <a:lnTo>
                    <a:pt x="58" y="441"/>
                  </a:lnTo>
                  <a:lnTo>
                    <a:pt x="67" y="445"/>
                  </a:lnTo>
                  <a:lnTo>
                    <a:pt x="74" y="449"/>
                  </a:lnTo>
                  <a:lnTo>
                    <a:pt x="84" y="452"/>
                  </a:lnTo>
                  <a:lnTo>
                    <a:pt x="89" y="456"/>
                  </a:lnTo>
                  <a:lnTo>
                    <a:pt x="96" y="463"/>
                  </a:lnTo>
                  <a:lnTo>
                    <a:pt x="98" y="469"/>
                  </a:lnTo>
                  <a:lnTo>
                    <a:pt x="100" y="478"/>
                  </a:lnTo>
                  <a:lnTo>
                    <a:pt x="100" y="487"/>
                  </a:lnTo>
                  <a:lnTo>
                    <a:pt x="98" y="500"/>
                  </a:lnTo>
                  <a:lnTo>
                    <a:pt x="93" y="524"/>
                  </a:lnTo>
                  <a:lnTo>
                    <a:pt x="89" y="548"/>
                  </a:lnTo>
                  <a:lnTo>
                    <a:pt x="91" y="558"/>
                  </a:lnTo>
                  <a:lnTo>
                    <a:pt x="93" y="567"/>
                  </a:lnTo>
                  <a:lnTo>
                    <a:pt x="93" y="571"/>
                  </a:lnTo>
                  <a:lnTo>
                    <a:pt x="93" y="576"/>
                  </a:lnTo>
                  <a:lnTo>
                    <a:pt x="91" y="580"/>
                  </a:lnTo>
                  <a:lnTo>
                    <a:pt x="89" y="585"/>
                  </a:lnTo>
                  <a:lnTo>
                    <a:pt x="67" y="587"/>
                  </a:lnTo>
                  <a:lnTo>
                    <a:pt x="43" y="587"/>
                  </a:lnTo>
                  <a:lnTo>
                    <a:pt x="32" y="591"/>
                  </a:lnTo>
                  <a:lnTo>
                    <a:pt x="23" y="595"/>
                  </a:lnTo>
                  <a:lnTo>
                    <a:pt x="13" y="600"/>
                  </a:lnTo>
                  <a:lnTo>
                    <a:pt x="8" y="609"/>
                  </a:lnTo>
                  <a:lnTo>
                    <a:pt x="15" y="626"/>
                  </a:lnTo>
                  <a:lnTo>
                    <a:pt x="26" y="654"/>
                  </a:lnTo>
                  <a:lnTo>
                    <a:pt x="23" y="672"/>
                  </a:lnTo>
                  <a:lnTo>
                    <a:pt x="23" y="691"/>
                  </a:lnTo>
                  <a:lnTo>
                    <a:pt x="23" y="707"/>
                  </a:lnTo>
                  <a:lnTo>
                    <a:pt x="26" y="726"/>
                  </a:lnTo>
                  <a:lnTo>
                    <a:pt x="32" y="741"/>
                  </a:lnTo>
                  <a:lnTo>
                    <a:pt x="39" y="752"/>
                  </a:lnTo>
                  <a:lnTo>
                    <a:pt x="43" y="755"/>
                  </a:lnTo>
                  <a:lnTo>
                    <a:pt x="47" y="759"/>
                  </a:lnTo>
                  <a:lnTo>
                    <a:pt x="52" y="763"/>
                  </a:lnTo>
                  <a:lnTo>
                    <a:pt x="56" y="763"/>
                  </a:lnTo>
                  <a:lnTo>
                    <a:pt x="69" y="759"/>
                  </a:lnTo>
                  <a:lnTo>
                    <a:pt x="78" y="753"/>
                  </a:lnTo>
                  <a:lnTo>
                    <a:pt x="85" y="746"/>
                  </a:lnTo>
                  <a:lnTo>
                    <a:pt x="93" y="741"/>
                  </a:lnTo>
                  <a:lnTo>
                    <a:pt x="100" y="726"/>
                  </a:lnTo>
                  <a:lnTo>
                    <a:pt x="104" y="713"/>
                  </a:lnTo>
                  <a:lnTo>
                    <a:pt x="106" y="711"/>
                  </a:lnTo>
                  <a:lnTo>
                    <a:pt x="108" y="707"/>
                  </a:lnTo>
                  <a:lnTo>
                    <a:pt x="109" y="707"/>
                  </a:lnTo>
                  <a:lnTo>
                    <a:pt x="113" y="707"/>
                  </a:lnTo>
                  <a:lnTo>
                    <a:pt x="117" y="709"/>
                  </a:lnTo>
                  <a:lnTo>
                    <a:pt x="119" y="711"/>
                  </a:lnTo>
                  <a:lnTo>
                    <a:pt x="120" y="715"/>
                  </a:lnTo>
                  <a:lnTo>
                    <a:pt x="120" y="718"/>
                  </a:lnTo>
                  <a:lnTo>
                    <a:pt x="120" y="724"/>
                  </a:lnTo>
                  <a:lnTo>
                    <a:pt x="122" y="729"/>
                  </a:lnTo>
                  <a:lnTo>
                    <a:pt x="126" y="733"/>
                  </a:lnTo>
                  <a:lnTo>
                    <a:pt x="133" y="735"/>
                  </a:lnTo>
                  <a:lnTo>
                    <a:pt x="146" y="733"/>
                  </a:lnTo>
                  <a:lnTo>
                    <a:pt x="161" y="733"/>
                  </a:lnTo>
                  <a:lnTo>
                    <a:pt x="170" y="735"/>
                  </a:lnTo>
                  <a:lnTo>
                    <a:pt x="178" y="739"/>
                  </a:lnTo>
                  <a:lnTo>
                    <a:pt x="183" y="746"/>
                  </a:lnTo>
                  <a:lnTo>
                    <a:pt x="189" y="755"/>
                  </a:lnTo>
                  <a:lnTo>
                    <a:pt x="191" y="765"/>
                  </a:lnTo>
                  <a:lnTo>
                    <a:pt x="191" y="774"/>
                  </a:lnTo>
                  <a:lnTo>
                    <a:pt x="189" y="779"/>
                  </a:lnTo>
                  <a:lnTo>
                    <a:pt x="185" y="783"/>
                  </a:lnTo>
                  <a:lnTo>
                    <a:pt x="178" y="790"/>
                  </a:lnTo>
                  <a:lnTo>
                    <a:pt x="170" y="800"/>
                  </a:lnTo>
                  <a:lnTo>
                    <a:pt x="172" y="811"/>
                  </a:lnTo>
                  <a:lnTo>
                    <a:pt x="174" y="822"/>
                  </a:lnTo>
                  <a:lnTo>
                    <a:pt x="176" y="835"/>
                  </a:lnTo>
                  <a:lnTo>
                    <a:pt x="180" y="844"/>
                  </a:lnTo>
                  <a:lnTo>
                    <a:pt x="183" y="853"/>
                  </a:lnTo>
                  <a:lnTo>
                    <a:pt x="191" y="857"/>
                  </a:lnTo>
                  <a:lnTo>
                    <a:pt x="198" y="862"/>
                  </a:lnTo>
                  <a:lnTo>
                    <a:pt x="205" y="866"/>
                  </a:lnTo>
                  <a:lnTo>
                    <a:pt x="217" y="862"/>
                  </a:lnTo>
                  <a:lnTo>
                    <a:pt x="226" y="859"/>
                  </a:lnTo>
                  <a:lnTo>
                    <a:pt x="233" y="861"/>
                  </a:lnTo>
                  <a:lnTo>
                    <a:pt x="237" y="866"/>
                  </a:lnTo>
                  <a:lnTo>
                    <a:pt x="241" y="868"/>
                  </a:lnTo>
                  <a:lnTo>
                    <a:pt x="246" y="870"/>
                  </a:lnTo>
                  <a:lnTo>
                    <a:pt x="253" y="868"/>
                  </a:lnTo>
                  <a:lnTo>
                    <a:pt x="263" y="866"/>
                  </a:lnTo>
                  <a:lnTo>
                    <a:pt x="265" y="862"/>
                  </a:lnTo>
                  <a:lnTo>
                    <a:pt x="263" y="859"/>
                  </a:lnTo>
                  <a:lnTo>
                    <a:pt x="261" y="857"/>
                  </a:lnTo>
                  <a:lnTo>
                    <a:pt x="263" y="853"/>
                  </a:lnTo>
                  <a:lnTo>
                    <a:pt x="263" y="851"/>
                  </a:lnTo>
                  <a:lnTo>
                    <a:pt x="266" y="848"/>
                  </a:lnTo>
                  <a:lnTo>
                    <a:pt x="287" y="848"/>
                  </a:lnTo>
                  <a:lnTo>
                    <a:pt x="309" y="850"/>
                  </a:lnTo>
                  <a:lnTo>
                    <a:pt x="329" y="851"/>
                  </a:lnTo>
                  <a:lnTo>
                    <a:pt x="342" y="851"/>
                  </a:lnTo>
                  <a:lnTo>
                    <a:pt x="348" y="848"/>
                  </a:lnTo>
                  <a:lnTo>
                    <a:pt x="353" y="842"/>
                  </a:lnTo>
                  <a:lnTo>
                    <a:pt x="357" y="838"/>
                  </a:lnTo>
                  <a:lnTo>
                    <a:pt x="361" y="835"/>
                  </a:lnTo>
                  <a:lnTo>
                    <a:pt x="366" y="833"/>
                  </a:lnTo>
                  <a:lnTo>
                    <a:pt x="374" y="831"/>
                  </a:lnTo>
                  <a:lnTo>
                    <a:pt x="392" y="837"/>
                  </a:lnTo>
                  <a:lnTo>
                    <a:pt x="409" y="844"/>
                  </a:lnTo>
                  <a:lnTo>
                    <a:pt x="422" y="846"/>
                  </a:lnTo>
                  <a:lnTo>
                    <a:pt x="434" y="846"/>
                  </a:lnTo>
                  <a:lnTo>
                    <a:pt x="447" y="850"/>
                  </a:lnTo>
                  <a:lnTo>
                    <a:pt x="459" y="855"/>
                  </a:lnTo>
                  <a:lnTo>
                    <a:pt x="468" y="853"/>
                  </a:lnTo>
                  <a:lnTo>
                    <a:pt x="477" y="851"/>
                  </a:lnTo>
                  <a:lnTo>
                    <a:pt x="484" y="857"/>
                  </a:lnTo>
                  <a:lnTo>
                    <a:pt x="486" y="864"/>
                  </a:lnTo>
                  <a:lnTo>
                    <a:pt x="488" y="868"/>
                  </a:lnTo>
                  <a:lnTo>
                    <a:pt x="486" y="874"/>
                  </a:lnTo>
                  <a:lnTo>
                    <a:pt x="483" y="881"/>
                  </a:lnTo>
                  <a:lnTo>
                    <a:pt x="481" y="886"/>
                  </a:lnTo>
                  <a:lnTo>
                    <a:pt x="486" y="894"/>
                  </a:lnTo>
                  <a:lnTo>
                    <a:pt x="492" y="901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5" name="Freeform 36"/>
            <p:cNvSpPr>
              <a:spLocks/>
            </p:cNvSpPr>
            <p:nvPr/>
          </p:nvSpPr>
          <p:spPr bwMode="auto">
            <a:xfrm>
              <a:off x="4892986" y="2215673"/>
              <a:ext cx="381952" cy="721624"/>
            </a:xfrm>
            <a:custGeom>
              <a:avLst/>
              <a:gdLst>
                <a:gd name="T0" fmla="*/ 69 w 732"/>
                <a:gd name="T1" fmla="*/ 58 h 1418"/>
                <a:gd name="T2" fmla="*/ 69 w 732"/>
                <a:gd name="T3" fmla="*/ 141 h 1418"/>
                <a:gd name="T4" fmla="*/ 67 w 732"/>
                <a:gd name="T5" fmla="*/ 198 h 1418"/>
                <a:gd name="T6" fmla="*/ 83 w 732"/>
                <a:gd name="T7" fmla="*/ 287 h 1418"/>
                <a:gd name="T8" fmla="*/ 135 w 732"/>
                <a:gd name="T9" fmla="*/ 316 h 1418"/>
                <a:gd name="T10" fmla="*/ 80 w 732"/>
                <a:gd name="T11" fmla="*/ 398 h 1418"/>
                <a:gd name="T12" fmla="*/ 65 w 732"/>
                <a:gd name="T13" fmla="*/ 483 h 1418"/>
                <a:gd name="T14" fmla="*/ 30 w 732"/>
                <a:gd name="T15" fmla="*/ 536 h 1418"/>
                <a:gd name="T16" fmla="*/ 54 w 732"/>
                <a:gd name="T17" fmla="*/ 599 h 1418"/>
                <a:gd name="T18" fmla="*/ 15 w 732"/>
                <a:gd name="T19" fmla="*/ 669 h 1418"/>
                <a:gd name="T20" fmla="*/ 24 w 732"/>
                <a:gd name="T21" fmla="*/ 712 h 1418"/>
                <a:gd name="T22" fmla="*/ 111 w 732"/>
                <a:gd name="T23" fmla="*/ 741 h 1418"/>
                <a:gd name="T24" fmla="*/ 131 w 732"/>
                <a:gd name="T25" fmla="*/ 780 h 1418"/>
                <a:gd name="T26" fmla="*/ 131 w 732"/>
                <a:gd name="T27" fmla="*/ 808 h 1418"/>
                <a:gd name="T28" fmla="*/ 128 w 732"/>
                <a:gd name="T29" fmla="*/ 891 h 1418"/>
                <a:gd name="T30" fmla="*/ 124 w 732"/>
                <a:gd name="T31" fmla="*/ 948 h 1418"/>
                <a:gd name="T32" fmla="*/ 120 w 732"/>
                <a:gd name="T33" fmla="*/ 1022 h 1418"/>
                <a:gd name="T34" fmla="*/ 141 w 732"/>
                <a:gd name="T35" fmla="*/ 1072 h 1418"/>
                <a:gd name="T36" fmla="*/ 124 w 732"/>
                <a:gd name="T37" fmla="*/ 1141 h 1418"/>
                <a:gd name="T38" fmla="*/ 189 w 732"/>
                <a:gd name="T39" fmla="*/ 1135 h 1418"/>
                <a:gd name="T40" fmla="*/ 218 w 732"/>
                <a:gd name="T41" fmla="*/ 1218 h 1418"/>
                <a:gd name="T42" fmla="*/ 200 w 732"/>
                <a:gd name="T43" fmla="*/ 1307 h 1418"/>
                <a:gd name="T44" fmla="*/ 172 w 732"/>
                <a:gd name="T45" fmla="*/ 1344 h 1418"/>
                <a:gd name="T46" fmla="*/ 202 w 732"/>
                <a:gd name="T47" fmla="*/ 1403 h 1418"/>
                <a:gd name="T48" fmla="*/ 277 w 732"/>
                <a:gd name="T49" fmla="*/ 1396 h 1418"/>
                <a:gd name="T50" fmla="*/ 366 w 732"/>
                <a:gd name="T51" fmla="*/ 1288 h 1418"/>
                <a:gd name="T52" fmla="*/ 445 w 732"/>
                <a:gd name="T53" fmla="*/ 1294 h 1418"/>
                <a:gd name="T54" fmla="*/ 405 w 732"/>
                <a:gd name="T55" fmla="*/ 1220 h 1418"/>
                <a:gd name="T56" fmla="*/ 458 w 732"/>
                <a:gd name="T57" fmla="*/ 1148 h 1418"/>
                <a:gd name="T58" fmla="*/ 486 w 732"/>
                <a:gd name="T59" fmla="*/ 1091 h 1418"/>
                <a:gd name="T60" fmla="*/ 508 w 732"/>
                <a:gd name="T61" fmla="*/ 1011 h 1418"/>
                <a:gd name="T62" fmla="*/ 560 w 732"/>
                <a:gd name="T63" fmla="*/ 943 h 1418"/>
                <a:gd name="T64" fmla="*/ 602 w 732"/>
                <a:gd name="T65" fmla="*/ 924 h 1418"/>
                <a:gd name="T66" fmla="*/ 639 w 732"/>
                <a:gd name="T67" fmla="*/ 954 h 1418"/>
                <a:gd name="T68" fmla="*/ 663 w 732"/>
                <a:gd name="T69" fmla="*/ 956 h 1418"/>
                <a:gd name="T70" fmla="*/ 674 w 732"/>
                <a:gd name="T71" fmla="*/ 906 h 1418"/>
                <a:gd name="T72" fmla="*/ 721 w 732"/>
                <a:gd name="T73" fmla="*/ 813 h 1418"/>
                <a:gd name="T74" fmla="*/ 687 w 732"/>
                <a:gd name="T75" fmla="*/ 777 h 1418"/>
                <a:gd name="T76" fmla="*/ 593 w 732"/>
                <a:gd name="T77" fmla="*/ 769 h 1418"/>
                <a:gd name="T78" fmla="*/ 501 w 732"/>
                <a:gd name="T79" fmla="*/ 784 h 1418"/>
                <a:gd name="T80" fmla="*/ 466 w 732"/>
                <a:gd name="T81" fmla="*/ 786 h 1418"/>
                <a:gd name="T82" fmla="*/ 412 w 732"/>
                <a:gd name="T83" fmla="*/ 738 h 1418"/>
                <a:gd name="T84" fmla="*/ 418 w 732"/>
                <a:gd name="T85" fmla="*/ 666 h 1418"/>
                <a:gd name="T86" fmla="*/ 360 w 732"/>
                <a:gd name="T87" fmla="*/ 642 h 1418"/>
                <a:gd name="T88" fmla="*/ 333 w 732"/>
                <a:gd name="T89" fmla="*/ 668 h 1418"/>
                <a:gd name="T90" fmla="*/ 272 w 732"/>
                <a:gd name="T91" fmla="*/ 668 h 1418"/>
                <a:gd name="T92" fmla="*/ 263 w 732"/>
                <a:gd name="T93" fmla="*/ 522 h 1418"/>
                <a:gd name="T94" fmla="*/ 331 w 732"/>
                <a:gd name="T95" fmla="*/ 485 h 1418"/>
                <a:gd name="T96" fmla="*/ 324 w 732"/>
                <a:gd name="T97" fmla="*/ 379 h 1418"/>
                <a:gd name="T98" fmla="*/ 255 w 732"/>
                <a:gd name="T99" fmla="*/ 342 h 1418"/>
                <a:gd name="T100" fmla="*/ 257 w 732"/>
                <a:gd name="T101" fmla="*/ 296 h 1418"/>
                <a:gd name="T102" fmla="*/ 274 w 732"/>
                <a:gd name="T103" fmla="*/ 187 h 1418"/>
                <a:gd name="T104" fmla="*/ 355 w 732"/>
                <a:gd name="T105" fmla="*/ 109 h 1418"/>
                <a:gd name="T106" fmla="*/ 233 w 732"/>
                <a:gd name="T107" fmla="*/ 109 h 1418"/>
                <a:gd name="T108" fmla="*/ 205 w 732"/>
                <a:gd name="T109" fmla="*/ 39 h 1418"/>
                <a:gd name="T110" fmla="*/ 141 w 732"/>
                <a:gd name="T111" fmla="*/ 108 h 1418"/>
                <a:gd name="T112" fmla="*/ 102 w 732"/>
                <a:gd name="T113" fmla="*/ 0 h 141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32"/>
                <a:gd name="T172" fmla="*/ 0 h 1418"/>
                <a:gd name="T173" fmla="*/ 732 w 732"/>
                <a:gd name="T174" fmla="*/ 1418 h 141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32" h="1418">
                  <a:moveTo>
                    <a:pt x="102" y="0"/>
                  </a:moveTo>
                  <a:lnTo>
                    <a:pt x="94" y="4"/>
                  </a:lnTo>
                  <a:lnTo>
                    <a:pt x="87" y="8"/>
                  </a:lnTo>
                  <a:lnTo>
                    <a:pt x="87" y="17"/>
                  </a:lnTo>
                  <a:lnTo>
                    <a:pt x="85" y="26"/>
                  </a:lnTo>
                  <a:lnTo>
                    <a:pt x="69" y="23"/>
                  </a:lnTo>
                  <a:lnTo>
                    <a:pt x="58" y="19"/>
                  </a:lnTo>
                  <a:lnTo>
                    <a:pt x="63" y="37"/>
                  </a:lnTo>
                  <a:lnTo>
                    <a:pt x="69" y="58"/>
                  </a:lnTo>
                  <a:lnTo>
                    <a:pt x="65" y="71"/>
                  </a:lnTo>
                  <a:lnTo>
                    <a:pt x="59" y="84"/>
                  </a:lnTo>
                  <a:lnTo>
                    <a:pt x="69" y="100"/>
                  </a:lnTo>
                  <a:lnTo>
                    <a:pt x="82" y="119"/>
                  </a:lnTo>
                  <a:lnTo>
                    <a:pt x="82" y="124"/>
                  </a:lnTo>
                  <a:lnTo>
                    <a:pt x="80" y="128"/>
                  </a:lnTo>
                  <a:lnTo>
                    <a:pt x="78" y="132"/>
                  </a:lnTo>
                  <a:lnTo>
                    <a:pt x="74" y="135"/>
                  </a:lnTo>
                  <a:lnTo>
                    <a:pt x="69" y="141"/>
                  </a:lnTo>
                  <a:lnTo>
                    <a:pt x="65" y="146"/>
                  </a:lnTo>
                  <a:lnTo>
                    <a:pt x="69" y="158"/>
                  </a:lnTo>
                  <a:lnTo>
                    <a:pt x="74" y="170"/>
                  </a:lnTo>
                  <a:lnTo>
                    <a:pt x="70" y="176"/>
                  </a:lnTo>
                  <a:lnTo>
                    <a:pt x="67" y="180"/>
                  </a:lnTo>
                  <a:lnTo>
                    <a:pt x="65" y="182"/>
                  </a:lnTo>
                  <a:lnTo>
                    <a:pt x="65" y="185"/>
                  </a:lnTo>
                  <a:lnTo>
                    <a:pt x="65" y="191"/>
                  </a:lnTo>
                  <a:lnTo>
                    <a:pt x="67" y="198"/>
                  </a:lnTo>
                  <a:lnTo>
                    <a:pt x="80" y="215"/>
                  </a:lnTo>
                  <a:lnTo>
                    <a:pt x="91" y="230"/>
                  </a:lnTo>
                  <a:lnTo>
                    <a:pt x="93" y="241"/>
                  </a:lnTo>
                  <a:lnTo>
                    <a:pt x="93" y="252"/>
                  </a:lnTo>
                  <a:lnTo>
                    <a:pt x="91" y="259"/>
                  </a:lnTo>
                  <a:lnTo>
                    <a:pt x="89" y="267"/>
                  </a:lnTo>
                  <a:lnTo>
                    <a:pt x="85" y="272"/>
                  </a:lnTo>
                  <a:lnTo>
                    <a:pt x="83" y="279"/>
                  </a:lnTo>
                  <a:lnTo>
                    <a:pt x="83" y="287"/>
                  </a:lnTo>
                  <a:lnTo>
                    <a:pt x="85" y="294"/>
                  </a:lnTo>
                  <a:lnTo>
                    <a:pt x="91" y="300"/>
                  </a:lnTo>
                  <a:lnTo>
                    <a:pt x="96" y="303"/>
                  </a:lnTo>
                  <a:lnTo>
                    <a:pt x="104" y="305"/>
                  </a:lnTo>
                  <a:lnTo>
                    <a:pt x="111" y="307"/>
                  </a:lnTo>
                  <a:lnTo>
                    <a:pt x="118" y="307"/>
                  </a:lnTo>
                  <a:lnTo>
                    <a:pt x="126" y="309"/>
                  </a:lnTo>
                  <a:lnTo>
                    <a:pt x="131" y="311"/>
                  </a:lnTo>
                  <a:lnTo>
                    <a:pt x="135" y="316"/>
                  </a:lnTo>
                  <a:lnTo>
                    <a:pt x="130" y="331"/>
                  </a:lnTo>
                  <a:lnTo>
                    <a:pt x="122" y="346"/>
                  </a:lnTo>
                  <a:lnTo>
                    <a:pt x="124" y="361"/>
                  </a:lnTo>
                  <a:lnTo>
                    <a:pt x="122" y="374"/>
                  </a:lnTo>
                  <a:lnTo>
                    <a:pt x="107" y="379"/>
                  </a:lnTo>
                  <a:lnTo>
                    <a:pt x="89" y="383"/>
                  </a:lnTo>
                  <a:lnTo>
                    <a:pt x="85" y="398"/>
                  </a:lnTo>
                  <a:lnTo>
                    <a:pt x="83" y="400"/>
                  </a:lnTo>
                  <a:lnTo>
                    <a:pt x="80" y="398"/>
                  </a:lnTo>
                  <a:lnTo>
                    <a:pt x="76" y="400"/>
                  </a:lnTo>
                  <a:lnTo>
                    <a:pt x="85" y="414"/>
                  </a:lnTo>
                  <a:lnTo>
                    <a:pt x="94" y="429"/>
                  </a:lnTo>
                  <a:lnTo>
                    <a:pt x="93" y="437"/>
                  </a:lnTo>
                  <a:lnTo>
                    <a:pt x="89" y="442"/>
                  </a:lnTo>
                  <a:lnTo>
                    <a:pt x="83" y="449"/>
                  </a:lnTo>
                  <a:lnTo>
                    <a:pt x="76" y="455"/>
                  </a:lnTo>
                  <a:lnTo>
                    <a:pt x="72" y="468"/>
                  </a:lnTo>
                  <a:lnTo>
                    <a:pt x="65" y="483"/>
                  </a:lnTo>
                  <a:lnTo>
                    <a:pt x="61" y="488"/>
                  </a:lnTo>
                  <a:lnTo>
                    <a:pt x="58" y="494"/>
                  </a:lnTo>
                  <a:lnTo>
                    <a:pt x="54" y="496"/>
                  </a:lnTo>
                  <a:lnTo>
                    <a:pt x="50" y="499"/>
                  </a:lnTo>
                  <a:lnTo>
                    <a:pt x="43" y="501"/>
                  </a:lnTo>
                  <a:lnTo>
                    <a:pt x="37" y="507"/>
                  </a:lnTo>
                  <a:lnTo>
                    <a:pt x="32" y="518"/>
                  </a:lnTo>
                  <a:lnTo>
                    <a:pt x="30" y="527"/>
                  </a:lnTo>
                  <a:lnTo>
                    <a:pt x="30" y="536"/>
                  </a:lnTo>
                  <a:lnTo>
                    <a:pt x="33" y="547"/>
                  </a:lnTo>
                  <a:lnTo>
                    <a:pt x="43" y="555"/>
                  </a:lnTo>
                  <a:lnTo>
                    <a:pt x="56" y="560"/>
                  </a:lnTo>
                  <a:lnTo>
                    <a:pt x="63" y="564"/>
                  </a:lnTo>
                  <a:lnTo>
                    <a:pt x="67" y="571"/>
                  </a:lnTo>
                  <a:lnTo>
                    <a:pt x="67" y="579"/>
                  </a:lnTo>
                  <a:lnTo>
                    <a:pt x="65" y="590"/>
                  </a:lnTo>
                  <a:lnTo>
                    <a:pt x="61" y="595"/>
                  </a:lnTo>
                  <a:lnTo>
                    <a:pt x="54" y="599"/>
                  </a:lnTo>
                  <a:lnTo>
                    <a:pt x="46" y="601"/>
                  </a:lnTo>
                  <a:lnTo>
                    <a:pt x="35" y="603"/>
                  </a:lnTo>
                  <a:lnTo>
                    <a:pt x="17" y="607"/>
                  </a:lnTo>
                  <a:lnTo>
                    <a:pt x="0" y="610"/>
                  </a:lnTo>
                  <a:lnTo>
                    <a:pt x="6" y="627"/>
                  </a:lnTo>
                  <a:lnTo>
                    <a:pt x="11" y="642"/>
                  </a:lnTo>
                  <a:lnTo>
                    <a:pt x="13" y="653"/>
                  </a:lnTo>
                  <a:lnTo>
                    <a:pt x="15" y="664"/>
                  </a:lnTo>
                  <a:lnTo>
                    <a:pt x="15" y="669"/>
                  </a:lnTo>
                  <a:lnTo>
                    <a:pt x="13" y="673"/>
                  </a:lnTo>
                  <a:lnTo>
                    <a:pt x="9" y="679"/>
                  </a:lnTo>
                  <a:lnTo>
                    <a:pt x="6" y="682"/>
                  </a:lnTo>
                  <a:lnTo>
                    <a:pt x="4" y="686"/>
                  </a:lnTo>
                  <a:lnTo>
                    <a:pt x="2" y="692"/>
                  </a:lnTo>
                  <a:lnTo>
                    <a:pt x="4" y="697"/>
                  </a:lnTo>
                  <a:lnTo>
                    <a:pt x="6" y="703"/>
                  </a:lnTo>
                  <a:lnTo>
                    <a:pt x="15" y="708"/>
                  </a:lnTo>
                  <a:lnTo>
                    <a:pt x="24" y="712"/>
                  </a:lnTo>
                  <a:lnTo>
                    <a:pt x="37" y="712"/>
                  </a:lnTo>
                  <a:lnTo>
                    <a:pt x="50" y="714"/>
                  </a:lnTo>
                  <a:lnTo>
                    <a:pt x="65" y="714"/>
                  </a:lnTo>
                  <a:lnTo>
                    <a:pt x="78" y="716"/>
                  </a:lnTo>
                  <a:lnTo>
                    <a:pt x="89" y="717"/>
                  </a:lnTo>
                  <a:lnTo>
                    <a:pt x="100" y="723"/>
                  </a:lnTo>
                  <a:lnTo>
                    <a:pt x="106" y="730"/>
                  </a:lnTo>
                  <a:lnTo>
                    <a:pt x="109" y="736"/>
                  </a:lnTo>
                  <a:lnTo>
                    <a:pt x="111" y="741"/>
                  </a:lnTo>
                  <a:lnTo>
                    <a:pt x="111" y="749"/>
                  </a:lnTo>
                  <a:lnTo>
                    <a:pt x="111" y="756"/>
                  </a:lnTo>
                  <a:lnTo>
                    <a:pt x="111" y="762"/>
                  </a:lnTo>
                  <a:lnTo>
                    <a:pt x="113" y="769"/>
                  </a:lnTo>
                  <a:lnTo>
                    <a:pt x="117" y="777"/>
                  </a:lnTo>
                  <a:lnTo>
                    <a:pt x="118" y="778"/>
                  </a:lnTo>
                  <a:lnTo>
                    <a:pt x="122" y="780"/>
                  </a:lnTo>
                  <a:lnTo>
                    <a:pt x="126" y="780"/>
                  </a:lnTo>
                  <a:lnTo>
                    <a:pt x="131" y="780"/>
                  </a:lnTo>
                  <a:lnTo>
                    <a:pt x="141" y="778"/>
                  </a:lnTo>
                  <a:lnTo>
                    <a:pt x="152" y="777"/>
                  </a:lnTo>
                  <a:lnTo>
                    <a:pt x="154" y="782"/>
                  </a:lnTo>
                  <a:lnTo>
                    <a:pt x="154" y="791"/>
                  </a:lnTo>
                  <a:lnTo>
                    <a:pt x="154" y="801"/>
                  </a:lnTo>
                  <a:lnTo>
                    <a:pt x="154" y="808"/>
                  </a:lnTo>
                  <a:lnTo>
                    <a:pt x="146" y="806"/>
                  </a:lnTo>
                  <a:lnTo>
                    <a:pt x="135" y="804"/>
                  </a:lnTo>
                  <a:lnTo>
                    <a:pt x="131" y="808"/>
                  </a:lnTo>
                  <a:lnTo>
                    <a:pt x="126" y="812"/>
                  </a:lnTo>
                  <a:lnTo>
                    <a:pt x="118" y="819"/>
                  </a:lnTo>
                  <a:lnTo>
                    <a:pt x="113" y="828"/>
                  </a:lnTo>
                  <a:lnTo>
                    <a:pt x="109" y="841"/>
                  </a:lnTo>
                  <a:lnTo>
                    <a:pt x="107" y="852"/>
                  </a:lnTo>
                  <a:lnTo>
                    <a:pt x="107" y="863"/>
                  </a:lnTo>
                  <a:lnTo>
                    <a:pt x="109" y="874"/>
                  </a:lnTo>
                  <a:lnTo>
                    <a:pt x="118" y="884"/>
                  </a:lnTo>
                  <a:lnTo>
                    <a:pt x="128" y="891"/>
                  </a:lnTo>
                  <a:lnTo>
                    <a:pt x="137" y="895"/>
                  </a:lnTo>
                  <a:lnTo>
                    <a:pt x="144" y="897"/>
                  </a:lnTo>
                  <a:lnTo>
                    <a:pt x="150" y="898"/>
                  </a:lnTo>
                  <a:lnTo>
                    <a:pt x="155" y="902"/>
                  </a:lnTo>
                  <a:lnTo>
                    <a:pt x="157" y="904"/>
                  </a:lnTo>
                  <a:lnTo>
                    <a:pt x="159" y="910"/>
                  </a:lnTo>
                  <a:lnTo>
                    <a:pt x="150" y="923"/>
                  </a:lnTo>
                  <a:lnTo>
                    <a:pt x="139" y="937"/>
                  </a:lnTo>
                  <a:lnTo>
                    <a:pt x="124" y="948"/>
                  </a:lnTo>
                  <a:lnTo>
                    <a:pt x="111" y="958"/>
                  </a:lnTo>
                  <a:lnTo>
                    <a:pt x="115" y="967"/>
                  </a:lnTo>
                  <a:lnTo>
                    <a:pt x="118" y="978"/>
                  </a:lnTo>
                  <a:lnTo>
                    <a:pt x="113" y="985"/>
                  </a:lnTo>
                  <a:lnTo>
                    <a:pt x="109" y="995"/>
                  </a:lnTo>
                  <a:lnTo>
                    <a:pt x="106" y="1004"/>
                  </a:lnTo>
                  <a:lnTo>
                    <a:pt x="106" y="1011"/>
                  </a:lnTo>
                  <a:lnTo>
                    <a:pt x="111" y="1017"/>
                  </a:lnTo>
                  <a:lnTo>
                    <a:pt x="120" y="1022"/>
                  </a:lnTo>
                  <a:lnTo>
                    <a:pt x="126" y="1026"/>
                  </a:lnTo>
                  <a:lnTo>
                    <a:pt x="130" y="1028"/>
                  </a:lnTo>
                  <a:lnTo>
                    <a:pt x="131" y="1033"/>
                  </a:lnTo>
                  <a:lnTo>
                    <a:pt x="133" y="1037"/>
                  </a:lnTo>
                  <a:lnTo>
                    <a:pt x="137" y="1043"/>
                  </a:lnTo>
                  <a:lnTo>
                    <a:pt x="142" y="1050"/>
                  </a:lnTo>
                  <a:lnTo>
                    <a:pt x="146" y="1056"/>
                  </a:lnTo>
                  <a:lnTo>
                    <a:pt x="146" y="1063"/>
                  </a:lnTo>
                  <a:lnTo>
                    <a:pt x="141" y="1072"/>
                  </a:lnTo>
                  <a:lnTo>
                    <a:pt x="133" y="1076"/>
                  </a:lnTo>
                  <a:lnTo>
                    <a:pt x="128" y="1078"/>
                  </a:lnTo>
                  <a:lnTo>
                    <a:pt x="120" y="1083"/>
                  </a:lnTo>
                  <a:lnTo>
                    <a:pt x="109" y="1093"/>
                  </a:lnTo>
                  <a:lnTo>
                    <a:pt x="100" y="1104"/>
                  </a:lnTo>
                  <a:lnTo>
                    <a:pt x="107" y="1122"/>
                  </a:lnTo>
                  <a:lnTo>
                    <a:pt x="117" y="1133"/>
                  </a:lnTo>
                  <a:lnTo>
                    <a:pt x="120" y="1137"/>
                  </a:lnTo>
                  <a:lnTo>
                    <a:pt x="124" y="1141"/>
                  </a:lnTo>
                  <a:lnTo>
                    <a:pt x="128" y="1142"/>
                  </a:lnTo>
                  <a:lnTo>
                    <a:pt x="133" y="1142"/>
                  </a:lnTo>
                  <a:lnTo>
                    <a:pt x="152" y="1129"/>
                  </a:lnTo>
                  <a:lnTo>
                    <a:pt x="161" y="1120"/>
                  </a:lnTo>
                  <a:lnTo>
                    <a:pt x="166" y="1124"/>
                  </a:lnTo>
                  <a:lnTo>
                    <a:pt x="174" y="1133"/>
                  </a:lnTo>
                  <a:lnTo>
                    <a:pt x="179" y="1135"/>
                  </a:lnTo>
                  <a:lnTo>
                    <a:pt x="187" y="1135"/>
                  </a:lnTo>
                  <a:lnTo>
                    <a:pt x="189" y="1135"/>
                  </a:lnTo>
                  <a:lnTo>
                    <a:pt x="192" y="1137"/>
                  </a:lnTo>
                  <a:lnTo>
                    <a:pt x="196" y="1139"/>
                  </a:lnTo>
                  <a:lnTo>
                    <a:pt x="198" y="1142"/>
                  </a:lnTo>
                  <a:lnTo>
                    <a:pt x="202" y="1150"/>
                  </a:lnTo>
                  <a:lnTo>
                    <a:pt x="203" y="1157"/>
                  </a:lnTo>
                  <a:lnTo>
                    <a:pt x="205" y="1168"/>
                  </a:lnTo>
                  <a:lnTo>
                    <a:pt x="207" y="1183"/>
                  </a:lnTo>
                  <a:lnTo>
                    <a:pt x="213" y="1203"/>
                  </a:lnTo>
                  <a:lnTo>
                    <a:pt x="218" y="1218"/>
                  </a:lnTo>
                  <a:lnTo>
                    <a:pt x="216" y="1231"/>
                  </a:lnTo>
                  <a:lnTo>
                    <a:pt x="209" y="1250"/>
                  </a:lnTo>
                  <a:lnTo>
                    <a:pt x="216" y="1274"/>
                  </a:lnTo>
                  <a:lnTo>
                    <a:pt x="224" y="1294"/>
                  </a:lnTo>
                  <a:lnTo>
                    <a:pt x="222" y="1298"/>
                  </a:lnTo>
                  <a:lnTo>
                    <a:pt x="218" y="1301"/>
                  </a:lnTo>
                  <a:lnTo>
                    <a:pt x="213" y="1303"/>
                  </a:lnTo>
                  <a:lnTo>
                    <a:pt x="205" y="1305"/>
                  </a:lnTo>
                  <a:lnTo>
                    <a:pt x="200" y="1307"/>
                  </a:lnTo>
                  <a:lnTo>
                    <a:pt x="196" y="1311"/>
                  </a:lnTo>
                  <a:lnTo>
                    <a:pt x="192" y="1318"/>
                  </a:lnTo>
                  <a:lnTo>
                    <a:pt x="192" y="1329"/>
                  </a:lnTo>
                  <a:lnTo>
                    <a:pt x="189" y="1329"/>
                  </a:lnTo>
                  <a:lnTo>
                    <a:pt x="183" y="1329"/>
                  </a:lnTo>
                  <a:lnTo>
                    <a:pt x="185" y="1336"/>
                  </a:lnTo>
                  <a:lnTo>
                    <a:pt x="187" y="1342"/>
                  </a:lnTo>
                  <a:lnTo>
                    <a:pt x="179" y="1342"/>
                  </a:lnTo>
                  <a:lnTo>
                    <a:pt x="172" y="1344"/>
                  </a:lnTo>
                  <a:lnTo>
                    <a:pt x="166" y="1346"/>
                  </a:lnTo>
                  <a:lnTo>
                    <a:pt x="161" y="1351"/>
                  </a:lnTo>
                  <a:lnTo>
                    <a:pt x="154" y="1362"/>
                  </a:lnTo>
                  <a:lnTo>
                    <a:pt x="146" y="1373"/>
                  </a:lnTo>
                  <a:lnTo>
                    <a:pt x="152" y="1388"/>
                  </a:lnTo>
                  <a:lnTo>
                    <a:pt x="157" y="1403"/>
                  </a:lnTo>
                  <a:lnTo>
                    <a:pt x="172" y="1399"/>
                  </a:lnTo>
                  <a:lnTo>
                    <a:pt x="192" y="1396"/>
                  </a:lnTo>
                  <a:lnTo>
                    <a:pt x="202" y="1403"/>
                  </a:lnTo>
                  <a:lnTo>
                    <a:pt x="209" y="1410"/>
                  </a:lnTo>
                  <a:lnTo>
                    <a:pt x="215" y="1414"/>
                  </a:lnTo>
                  <a:lnTo>
                    <a:pt x="218" y="1416"/>
                  </a:lnTo>
                  <a:lnTo>
                    <a:pt x="226" y="1418"/>
                  </a:lnTo>
                  <a:lnTo>
                    <a:pt x="233" y="1418"/>
                  </a:lnTo>
                  <a:lnTo>
                    <a:pt x="246" y="1414"/>
                  </a:lnTo>
                  <a:lnTo>
                    <a:pt x="257" y="1407"/>
                  </a:lnTo>
                  <a:lnTo>
                    <a:pt x="266" y="1401"/>
                  </a:lnTo>
                  <a:lnTo>
                    <a:pt x="277" y="1396"/>
                  </a:lnTo>
                  <a:lnTo>
                    <a:pt x="296" y="1383"/>
                  </a:lnTo>
                  <a:lnTo>
                    <a:pt x="314" y="1368"/>
                  </a:lnTo>
                  <a:lnTo>
                    <a:pt x="333" y="1353"/>
                  </a:lnTo>
                  <a:lnTo>
                    <a:pt x="349" y="1336"/>
                  </a:lnTo>
                  <a:lnTo>
                    <a:pt x="351" y="1314"/>
                  </a:lnTo>
                  <a:lnTo>
                    <a:pt x="353" y="1294"/>
                  </a:lnTo>
                  <a:lnTo>
                    <a:pt x="359" y="1290"/>
                  </a:lnTo>
                  <a:lnTo>
                    <a:pt x="362" y="1288"/>
                  </a:lnTo>
                  <a:lnTo>
                    <a:pt x="366" y="1288"/>
                  </a:lnTo>
                  <a:lnTo>
                    <a:pt x="370" y="1290"/>
                  </a:lnTo>
                  <a:lnTo>
                    <a:pt x="373" y="1292"/>
                  </a:lnTo>
                  <a:lnTo>
                    <a:pt x="379" y="1294"/>
                  </a:lnTo>
                  <a:lnTo>
                    <a:pt x="386" y="1294"/>
                  </a:lnTo>
                  <a:lnTo>
                    <a:pt x="394" y="1294"/>
                  </a:lnTo>
                  <a:lnTo>
                    <a:pt x="408" y="1294"/>
                  </a:lnTo>
                  <a:lnTo>
                    <a:pt x="423" y="1296"/>
                  </a:lnTo>
                  <a:lnTo>
                    <a:pt x="438" y="1296"/>
                  </a:lnTo>
                  <a:lnTo>
                    <a:pt x="445" y="1294"/>
                  </a:lnTo>
                  <a:lnTo>
                    <a:pt x="445" y="1290"/>
                  </a:lnTo>
                  <a:lnTo>
                    <a:pt x="444" y="1285"/>
                  </a:lnTo>
                  <a:lnTo>
                    <a:pt x="431" y="1266"/>
                  </a:lnTo>
                  <a:lnTo>
                    <a:pt x="416" y="1246"/>
                  </a:lnTo>
                  <a:lnTo>
                    <a:pt x="410" y="1237"/>
                  </a:lnTo>
                  <a:lnTo>
                    <a:pt x="407" y="1227"/>
                  </a:lnTo>
                  <a:lnTo>
                    <a:pt x="405" y="1220"/>
                  </a:lnTo>
                  <a:lnTo>
                    <a:pt x="407" y="1213"/>
                  </a:lnTo>
                  <a:lnTo>
                    <a:pt x="429" y="1203"/>
                  </a:lnTo>
                  <a:lnTo>
                    <a:pt x="449" y="1198"/>
                  </a:lnTo>
                  <a:lnTo>
                    <a:pt x="453" y="1192"/>
                  </a:lnTo>
                  <a:lnTo>
                    <a:pt x="455" y="1183"/>
                  </a:lnTo>
                  <a:lnTo>
                    <a:pt x="455" y="1174"/>
                  </a:lnTo>
                  <a:lnTo>
                    <a:pt x="457" y="1165"/>
                  </a:lnTo>
                  <a:lnTo>
                    <a:pt x="457" y="1157"/>
                  </a:lnTo>
                  <a:lnTo>
                    <a:pt x="458" y="1148"/>
                  </a:lnTo>
                  <a:lnTo>
                    <a:pt x="460" y="1146"/>
                  </a:lnTo>
                  <a:lnTo>
                    <a:pt x="464" y="1142"/>
                  </a:lnTo>
                  <a:lnTo>
                    <a:pt x="466" y="1141"/>
                  </a:lnTo>
                  <a:lnTo>
                    <a:pt x="471" y="1141"/>
                  </a:lnTo>
                  <a:lnTo>
                    <a:pt x="469" y="1124"/>
                  </a:lnTo>
                  <a:lnTo>
                    <a:pt x="473" y="1111"/>
                  </a:lnTo>
                  <a:lnTo>
                    <a:pt x="475" y="1105"/>
                  </a:lnTo>
                  <a:lnTo>
                    <a:pt x="479" y="1098"/>
                  </a:lnTo>
                  <a:lnTo>
                    <a:pt x="486" y="1091"/>
                  </a:lnTo>
                  <a:lnTo>
                    <a:pt x="495" y="1081"/>
                  </a:lnTo>
                  <a:lnTo>
                    <a:pt x="508" y="1070"/>
                  </a:lnTo>
                  <a:lnTo>
                    <a:pt x="516" y="1061"/>
                  </a:lnTo>
                  <a:lnTo>
                    <a:pt x="517" y="1048"/>
                  </a:lnTo>
                  <a:lnTo>
                    <a:pt x="517" y="1030"/>
                  </a:lnTo>
                  <a:lnTo>
                    <a:pt x="510" y="1022"/>
                  </a:lnTo>
                  <a:lnTo>
                    <a:pt x="503" y="1019"/>
                  </a:lnTo>
                  <a:lnTo>
                    <a:pt x="506" y="1015"/>
                  </a:lnTo>
                  <a:lnTo>
                    <a:pt x="508" y="1011"/>
                  </a:lnTo>
                  <a:lnTo>
                    <a:pt x="499" y="1008"/>
                  </a:lnTo>
                  <a:lnTo>
                    <a:pt x="492" y="1002"/>
                  </a:lnTo>
                  <a:lnTo>
                    <a:pt x="497" y="995"/>
                  </a:lnTo>
                  <a:lnTo>
                    <a:pt x="506" y="982"/>
                  </a:lnTo>
                  <a:lnTo>
                    <a:pt x="516" y="963"/>
                  </a:lnTo>
                  <a:lnTo>
                    <a:pt x="525" y="941"/>
                  </a:lnTo>
                  <a:lnTo>
                    <a:pt x="543" y="939"/>
                  </a:lnTo>
                  <a:lnTo>
                    <a:pt x="558" y="941"/>
                  </a:lnTo>
                  <a:lnTo>
                    <a:pt x="560" y="943"/>
                  </a:lnTo>
                  <a:lnTo>
                    <a:pt x="562" y="948"/>
                  </a:lnTo>
                  <a:lnTo>
                    <a:pt x="567" y="952"/>
                  </a:lnTo>
                  <a:lnTo>
                    <a:pt x="575" y="954"/>
                  </a:lnTo>
                  <a:lnTo>
                    <a:pt x="584" y="952"/>
                  </a:lnTo>
                  <a:lnTo>
                    <a:pt x="590" y="948"/>
                  </a:lnTo>
                  <a:lnTo>
                    <a:pt x="593" y="943"/>
                  </a:lnTo>
                  <a:lnTo>
                    <a:pt x="597" y="935"/>
                  </a:lnTo>
                  <a:lnTo>
                    <a:pt x="599" y="930"/>
                  </a:lnTo>
                  <a:lnTo>
                    <a:pt x="602" y="924"/>
                  </a:lnTo>
                  <a:lnTo>
                    <a:pt x="606" y="921"/>
                  </a:lnTo>
                  <a:lnTo>
                    <a:pt x="612" y="919"/>
                  </a:lnTo>
                  <a:lnTo>
                    <a:pt x="615" y="919"/>
                  </a:lnTo>
                  <a:lnTo>
                    <a:pt x="617" y="919"/>
                  </a:lnTo>
                  <a:lnTo>
                    <a:pt x="621" y="921"/>
                  </a:lnTo>
                  <a:lnTo>
                    <a:pt x="623" y="924"/>
                  </a:lnTo>
                  <a:lnTo>
                    <a:pt x="628" y="934"/>
                  </a:lnTo>
                  <a:lnTo>
                    <a:pt x="634" y="943"/>
                  </a:lnTo>
                  <a:lnTo>
                    <a:pt x="639" y="954"/>
                  </a:lnTo>
                  <a:lnTo>
                    <a:pt x="645" y="963"/>
                  </a:lnTo>
                  <a:lnTo>
                    <a:pt x="649" y="967"/>
                  </a:lnTo>
                  <a:lnTo>
                    <a:pt x="652" y="969"/>
                  </a:lnTo>
                  <a:lnTo>
                    <a:pt x="658" y="971"/>
                  </a:lnTo>
                  <a:lnTo>
                    <a:pt x="662" y="971"/>
                  </a:lnTo>
                  <a:lnTo>
                    <a:pt x="663" y="969"/>
                  </a:lnTo>
                  <a:lnTo>
                    <a:pt x="665" y="965"/>
                  </a:lnTo>
                  <a:lnTo>
                    <a:pt x="663" y="961"/>
                  </a:lnTo>
                  <a:lnTo>
                    <a:pt x="663" y="956"/>
                  </a:lnTo>
                  <a:lnTo>
                    <a:pt x="662" y="945"/>
                  </a:lnTo>
                  <a:lnTo>
                    <a:pt x="658" y="932"/>
                  </a:lnTo>
                  <a:lnTo>
                    <a:pt x="658" y="926"/>
                  </a:lnTo>
                  <a:lnTo>
                    <a:pt x="658" y="921"/>
                  </a:lnTo>
                  <a:lnTo>
                    <a:pt x="658" y="915"/>
                  </a:lnTo>
                  <a:lnTo>
                    <a:pt x="660" y="911"/>
                  </a:lnTo>
                  <a:lnTo>
                    <a:pt x="663" y="908"/>
                  </a:lnTo>
                  <a:lnTo>
                    <a:pt x="669" y="906"/>
                  </a:lnTo>
                  <a:lnTo>
                    <a:pt x="674" y="906"/>
                  </a:lnTo>
                  <a:lnTo>
                    <a:pt x="684" y="908"/>
                  </a:lnTo>
                  <a:lnTo>
                    <a:pt x="684" y="897"/>
                  </a:lnTo>
                  <a:lnTo>
                    <a:pt x="687" y="882"/>
                  </a:lnTo>
                  <a:lnTo>
                    <a:pt x="704" y="874"/>
                  </a:lnTo>
                  <a:lnTo>
                    <a:pt x="723" y="867"/>
                  </a:lnTo>
                  <a:lnTo>
                    <a:pt x="726" y="847"/>
                  </a:lnTo>
                  <a:lnTo>
                    <a:pt x="732" y="828"/>
                  </a:lnTo>
                  <a:lnTo>
                    <a:pt x="726" y="821"/>
                  </a:lnTo>
                  <a:lnTo>
                    <a:pt x="721" y="813"/>
                  </a:lnTo>
                  <a:lnTo>
                    <a:pt x="723" y="808"/>
                  </a:lnTo>
                  <a:lnTo>
                    <a:pt x="726" y="801"/>
                  </a:lnTo>
                  <a:lnTo>
                    <a:pt x="728" y="795"/>
                  </a:lnTo>
                  <a:lnTo>
                    <a:pt x="726" y="791"/>
                  </a:lnTo>
                  <a:lnTo>
                    <a:pt x="724" y="784"/>
                  </a:lnTo>
                  <a:lnTo>
                    <a:pt x="717" y="778"/>
                  </a:lnTo>
                  <a:lnTo>
                    <a:pt x="708" y="780"/>
                  </a:lnTo>
                  <a:lnTo>
                    <a:pt x="699" y="782"/>
                  </a:lnTo>
                  <a:lnTo>
                    <a:pt x="687" y="777"/>
                  </a:lnTo>
                  <a:lnTo>
                    <a:pt x="674" y="773"/>
                  </a:lnTo>
                  <a:lnTo>
                    <a:pt x="662" y="773"/>
                  </a:lnTo>
                  <a:lnTo>
                    <a:pt x="649" y="771"/>
                  </a:lnTo>
                  <a:lnTo>
                    <a:pt x="632" y="764"/>
                  </a:lnTo>
                  <a:lnTo>
                    <a:pt x="614" y="758"/>
                  </a:lnTo>
                  <a:lnTo>
                    <a:pt x="606" y="760"/>
                  </a:lnTo>
                  <a:lnTo>
                    <a:pt x="601" y="762"/>
                  </a:lnTo>
                  <a:lnTo>
                    <a:pt x="597" y="765"/>
                  </a:lnTo>
                  <a:lnTo>
                    <a:pt x="593" y="769"/>
                  </a:lnTo>
                  <a:lnTo>
                    <a:pt x="588" y="775"/>
                  </a:lnTo>
                  <a:lnTo>
                    <a:pt x="582" y="778"/>
                  </a:lnTo>
                  <a:lnTo>
                    <a:pt x="569" y="778"/>
                  </a:lnTo>
                  <a:lnTo>
                    <a:pt x="549" y="777"/>
                  </a:lnTo>
                  <a:lnTo>
                    <a:pt x="527" y="775"/>
                  </a:lnTo>
                  <a:lnTo>
                    <a:pt x="506" y="775"/>
                  </a:lnTo>
                  <a:lnTo>
                    <a:pt x="503" y="778"/>
                  </a:lnTo>
                  <a:lnTo>
                    <a:pt x="503" y="780"/>
                  </a:lnTo>
                  <a:lnTo>
                    <a:pt x="501" y="784"/>
                  </a:lnTo>
                  <a:lnTo>
                    <a:pt x="503" y="786"/>
                  </a:lnTo>
                  <a:lnTo>
                    <a:pt x="505" y="789"/>
                  </a:lnTo>
                  <a:lnTo>
                    <a:pt x="503" y="793"/>
                  </a:lnTo>
                  <a:lnTo>
                    <a:pt x="493" y="795"/>
                  </a:lnTo>
                  <a:lnTo>
                    <a:pt x="486" y="797"/>
                  </a:lnTo>
                  <a:lnTo>
                    <a:pt x="481" y="795"/>
                  </a:lnTo>
                  <a:lnTo>
                    <a:pt x="477" y="793"/>
                  </a:lnTo>
                  <a:lnTo>
                    <a:pt x="473" y="788"/>
                  </a:lnTo>
                  <a:lnTo>
                    <a:pt x="466" y="786"/>
                  </a:lnTo>
                  <a:lnTo>
                    <a:pt x="457" y="789"/>
                  </a:lnTo>
                  <a:lnTo>
                    <a:pt x="445" y="793"/>
                  </a:lnTo>
                  <a:lnTo>
                    <a:pt x="438" y="789"/>
                  </a:lnTo>
                  <a:lnTo>
                    <a:pt x="431" y="784"/>
                  </a:lnTo>
                  <a:lnTo>
                    <a:pt x="423" y="780"/>
                  </a:lnTo>
                  <a:lnTo>
                    <a:pt x="420" y="771"/>
                  </a:lnTo>
                  <a:lnTo>
                    <a:pt x="416" y="762"/>
                  </a:lnTo>
                  <a:lnTo>
                    <a:pt x="414" y="749"/>
                  </a:lnTo>
                  <a:lnTo>
                    <a:pt x="412" y="738"/>
                  </a:lnTo>
                  <a:lnTo>
                    <a:pt x="410" y="727"/>
                  </a:lnTo>
                  <a:lnTo>
                    <a:pt x="418" y="717"/>
                  </a:lnTo>
                  <a:lnTo>
                    <a:pt x="425" y="710"/>
                  </a:lnTo>
                  <a:lnTo>
                    <a:pt x="429" y="706"/>
                  </a:lnTo>
                  <a:lnTo>
                    <a:pt x="431" y="701"/>
                  </a:lnTo>
                  <a:lnTo>
                    <a:pt x="431" y="692"/>
                  </a:lnTo>
                  <a:lnTo>
                    <a:pt x="429" y="682"/>
                  </a:lnTo>
                  <a:lnTo>
                    <a:pt x="423" y="673"/>
                  </a:lnTo>
                  <a:lnTo>
                    <a:pt x="418" y="666"/>
                  </a:lnTo>
                  <a:lnTo>
                    <a:pt x="410" y="662"/>
                  </a:lnTo>
                  <a:lnTo>
                    <a:pt x="401" y="660"/>
                  </a:lnTo>
                  <a:lnTo>
                    <a:pt x="386" y="660"/>
                  </a:lnTo>
                  <a:lnTo>
                    <a:pt x="373" y="662"/>
                  </a:lnTo>
                  <a:lnTo>
                    <a:pt x="366" y="660"/>
                  </a:lnTo>
                  <a:lnTo>
                    <a:pt x="362" y="656"/>
                  </a:lnTo>
                  <a:lnTo>
                    <a:pt x="360" y="651"/>
                  </a:lnTo>
                  <a:lnTo>
                    <a:pt x="360" y="645"/>
                  </a:lnTo>
                  <a:lnTo>
                    <a:pt x="360" y="642"/>
                  </a:lnTo>
                  <a:lnTo>
                    <a:pt x="359" y="638"/>
                  </a:lnTo>
                  <a:lnTo>
                    <a:pt x="357" y="636"/>
                  </a:lnTo>
                  <a:lnTo>
                    <a:pt x="353" y="634"/>
                  </a:lnTo>
                  <a:lnTo>
                    <a:pt x="349" y="634"/>
                  </a:lnTo>
                  <a:lnTo>
                    <a:pt x="348" y="634"/>
                  </a:lnTo>
                  <a:lnTo>
                    <a:pt x="346" y="638"/>
                  </a:lnTo>
                  <a:lnTo>
                    <a:pt x="344" y="640"/>
                  </a:lnTo>
                  <a:lnTo>
                    <a:pt x="340" y="653"/>
                  </a:lnTo>
                  <a:lnTo>
                    <a:pt x="333" y="668"/>
                  </a:lnTo>
                  <a:lnTo>
                    <a:pt x="325" y="673"/>
                  </a:lnTo>
                  <a:lnTo>
                    <a:pt x="318" y="680"/>
                  </a:lnTo>
                  <a:lnTo>
                    <a:pt x="309" y="686"/>
                  </a:lnTo>
                  <a:lnTo>
                    <a:pt x="296" y="690"/>
                  </a:lnTo>
                  <a:lnTo>
                    <a:pt x="292" y="690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79" y="679"/>
                  </a:lnTo>
                  <a:lnTo>
                    <a:pt x="272" y="668"/>
                  </a:lnTo>
                  <a:lnTo>
                    <a:pt x="266" y="653"/>
                  </a:lnTo>
                  <a:lnTo>
                    <a:pt x="263" y="634"/>
                  </a:lnTo>
                  <a:lnTo>
                    <a:pt x="263" y="618"/>
                  </a:lnTo>
                  <a:lnTo>
                    <a:pt x="263" y="599"/>
                  </a:lnTo>
                  <a:lnTo>
                    <a:pt x="266" y="581"/>
                  </a:lnTo>
                  <a:lnTo>
                    <a:pt x="255" y="553"/>
                  </a:lnTo>
                  <a:lnTo>
                    <a:pt x="248" y="536"/>
                  </a:lnTo>
                  <a:lnTo>
                    <a:pt x="253" y="527"/>
                  </a:lnTo>
                  <a:lnTo>
                    <a:pt x="263" y="522"/>
                  </a:lnTo>
                  <a:lnTo>
                    <a:pt x="272" y="518"/>
                  </a:lnTo>
                  <a:lnTo>
                    <a:pt x="283" y="514"/>
                  </a:lnTo>
                  <a:lnTo>
                    <a:pt x="307" y="514"/>
                  </a:lnTo>
                  <a:lnTo>
                    <a:pt x="329" y="512"/>
                  </a:lnTo>
                  <a:lnTo>
                    <a:pt x="331" y="507"/>
                  </a:lnTo>
                  <a:lnTo>
                    <a:pt x="333" y="503"/>
                  </a:lnTo>
                  <a:lnTo>
                    <a:pt x="333" y="498"/>
                  </a:lnTo>
                  <a:lnTo>
                    <a:pt x="333" y="494"/>
                  </a:lnTo>
                  <a:lnTo>
                    <a:pt x="331" y="485"/>
                  </a:lnTo>
                  <a:lnTo>
                    <a:pt x="329" y="475"/>
                  </a:lnTo>
                  <a:lnTo>
                    <a:pt x="333" y="451"/>
                  </a:lnTo>
                  <a:lnTo>
                    <a:pt x="338" y="427"/>
                  </a:lnTo>
                  <a:lnTo>
                    <a:pt x="340" y="414"/>
                  </a:lnTo>
                  <a:lnTo>
                    <a:pt x="340" y="405"/>
                  </a:lnTo>
                  <a:lnTo>
                    <a:pt x="338" y="396"/>
                  </a:lnTo>
                  <a:lnTo>
                    <a:pt x="336" y="390"/>
                  </a:lnTo>
                  <a:lnTo>
                    <a:pt x="329" y="383"/>
                  </a:lnTo>
                  <a:lnTo>
                    <a:pt x="324" y="379"/>
                  </a:lnTo>
                  <a:lnTo>
                    <a:pt x="314" y="376"/>
                  </a:lnTo>
                  <a:lnTo>
                    <a:pt x="307" y="372"/>
                  </a:lnTo>
                  <a:lnTo>
                    <a:pt x="298" y="368"/>
                  </a:lnTo>
                  <a:lnTo>
                    <a:pt x="288" y="363"/>
                  </a:lnTo>
                  <a:lnTo>
                    <a:pt x="279" y="355"/>
                  </a:lnTo>
                  <a:lnTo>
                    <a:pt x="272" y="346"/>
                  </a:lnTo>
                  <a:lnTo>
                    <a:pt x="266" y="344"/>
                  </a:lnTo>
                  <a:lnTo>
                    <a:pt x="259" y="342"/>
                  </a:lnTo>
                  <a:lnTo>
                    <a:pt x="255" y="342"/>
                  </a:lnTo>
                  <a:lnTo>
                    <a:pt x="251" y="339"/>
                  </a:lnTo>
                  <a:lnTo>
                    <a:pt x="248" y="335"/>
                  </a:lnTo>
                  <a:lnTo>
                    <a:pt x="244" y="329"/>
                  </a:lnTo>
                  <a:lnTo>
                    <a:pt x="242" y="324"/>
                  </a:lnTo>
                  <a:lnTo>
                    <a:pt x="244" y="320"/>
                  </a:lnTo>
                  <a:lnTo>
                    <a:pt x="246" y="316"/>
                  </a:lnTo>
                  <a:lnTo>
                    <a:pt x="248" y="311"/>
                  </a:lnTo>
                  <a:lnTo>
                    <a:pt x="255" y="303"/>
                  </a:lnTo>
                  <a:lnTo>
                    <a:pt x="257" y="296"/>
                  </a:lnTo>
                  <a:lnTo>
                    <a:pt x="250" y="281"/>
                  </a:lnTo>
                  <a:lnTo>
                    <a:pt x="240" y="268"/>
                  </a:lnTo>
                  <a:lnTo>
                    <a:pt x="242" y="257"/>
                  </a:lnTo>
                  <a:lnTo>
                    <a:pt x="248" y="248"/>
                  </a:lnTo>
                  <a:lnTo>
                    <a:pt x="251" y="233"/>
                  </a:lnTo>
                  <a:lnTo>
                    <a:pt x="253" y="220"/>
                  </a:lnTo>
                  <a:lnTo>
                    <a:pt x="257" y="207"/>
                  </a:lnTo>
                  <a:lnTo>
                    <a:pt x="263" y="198"/>
                  </a:lnTo>
                  <a:lnTo>
                    <a:pt x="274" y="187"/>
                  </a:lnTo>
                  <a:lnTo>
                    <a:pt x="285" y="180"/>
                  </a:lnTo>
                  <a:lnTo>
                    <a:pt x="298" y="174"/>
                  </a:lnTo>
                  <a:lnTo>
                    <a:pt x="311" y="169"/>
                  </a:lnTo>
                  <a:lnTo>
                    <a:pt x="322" y="161"/>
                  </a:lnTo>
                  <a:lnTo>
                    <a:pt x="333" y="148"/>
                  </a:lnTo>
                  <a:lnTo>
                    <a:pt x="338" y="141"/>
                  </a:lnTo>
                  <a:lnTo>
                    <a:pt x="344" y="132"/>
                  </a:lnTo>
                  <a:lnTo>
                    <a:pt x="349" y="122"/>
                  </a:lnTo>
                  <a:lnTo>
                    <a:pt x="355" y="109"/>
                  </a:lnTo>
                  <a:lnTo>
                    <a:pt x="344" y="115"/>
                  </a:lnTo>
                  <a:lnTo>
                    <a:pt x="333" y="119"/>
                  </a:lnTo>
                  <a:lnTo>
                    <a:pt x="309" y="115"/>
                  </a:lnTo>
                  <a:lnTo>
                    <a:pt x="287" y="111"/>
                  </a:lnTo>
                  <a:lnTo>
                    <a:pt x="264" y="115"/>
                  </a:lnTo>
                  <a:lnTo>
                    <a:pt x="246" y="119"/>
                  </a:lnTo>
                  <a:lnTo>
                    <a:pt x="240" y="117"/>
                  </a:lnTo>
                  <a:lnTo>
                    <a:pt x="237" y="115"/>
                  </a:lnTo>
                  <a:lnTo>
                    <a:pt x="233" y="109"/>
                  </a:lnTo>
                  <a:lnTo>
                    <a:pt x="231" y="104"/>
                  </a:lnTo>
                  <a:lnTo>
                    <a:pt x="226" y="93"/>
                  </a:lnTo>
                  <a:lnTo>
                    <a:pt x="224" y="78"/>
                  </a:lnTo>
                  <a:lnTo>
                    <a:pt x="220" y="65"/>
                  </a:lnTo>
                  <a:lnTo>
                    <a:pt x="216" y="52"/>
                  </a:lnTo>
                  <a:lnTo>
                    <a:pt x="215" y="47"/>
                  </a:lnTo>
                  <a:lnTo>
                    <a:pt x="211" y="43"/>
                  </a:lnTo>
                  <a:lnTo>
                    <a:pt x="209" y="41"/>
                  </a:lnTo>
                  <a:lnTo>
                    <a:pt x="205" y="39"/>
                  </a:lnTo>
                  <a:lnTo>
                    <a:pt x="198" y="41"/>
                  </a:lnTo>
                  <a:lnTo>
                    <a:pt x="191" y="45"/>
                  </a:lnTo>
                  <a:lnTo>
                    <a:pt x="183" y="50"/>
                  </a:lnTo>
                  <a:lnTo>
                    <a:pt x="179" y="58"/>
                  </a:lnTo>
                  <a:lnTo>
                    <a:pt x="172" y="73"/>
                  </a:lnTo>
                  <a:lnTo>
                    <a:pt x="161" y="89"/>
                  </a:lnTo>
                  <a:lnTo>
                    <a:pt x="152" y="104"/>
                  </a:lnTo>
                  <a:lnTo>
                    <a:pt x="146" y="111"/>
                  </a:lnTo>
                  <a:lnTo>
                    <a:pt x="141" y="108"/>
                  </a:lnTo>
                  <a:lnTo>
                    <a:pt x="137" y="98"/>
                  </a:lnTo>
                  <a:lnTo>
                    <a:pt x="135" y="87"/>
                  </a:lnTo>
                  <a:lnTo>
                    <a:pt x="131" y="76"/>
                  </a:lnTo>
                  <a:lnTo>
                    <a:pt x="120" y="60"/>
                  </a:lnTo>
                  <a:lnTo>
                    <a:pt x="107" y="43"/>
                  </a:lnTo>
                  <a:lnTo>
                    <a:pt x="113" y="28"/>
                  </a:lnTo>
                  <a:lnTo>
                    <a:pt x="117" y="19"/>
                  </a:lnTo>
                  <a:lnTo>
                    <a:pt x="109" y="10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6" name="Freeform 37"/>
            <p:cNvSpPr>
              <a:spLocks/>
            </p:cNvSpPr>
            <p:nvPr/>
          </p:nvSpPr>
          <p:spPr bwMode="auto">
            <a:xfrm>
              <a:off x="4844981" y="2712362"/>
              <a:ext cx="124187" cy="195419"/>
            </a:xfrm>
            <a:custGeom>
              <a:avLst/>
              <a:gdLst>
                <a:gd name="T0" fmla="*/ 183 w 238"/>
                <a:gd name="T1" fmla="*/ 139 h 384"/>
                <a:gd name="T2" fmla="*/ 181 w 238"/>
                <a:gd name="T3" fmla="*/ 152 h 384"/>
                <a:gd name="T4" fmla="*/ 190 w 238"/>
                <a:gd name="T5" fmla="*/ 174 h 384"/>
                <a:gd name="T6" fmla="*/ 172 w 238"/>
                <a:gd name="T7" fmla="*/ 198 h 384"/>
                <a:gd name="T8" fmla="*/ 175 w 238"/>
                <a:gd name="T9" fmla="*/ 214 h 384"/>
                <a:gd name="T10" fmla="*/ 181 w 238"/>
                <a:gd name="T11" fmla="*/ 214 h 384"/>
                <a:gd name="T12" fmla="*/ 203 w 238"/>
                <a:gd name="T13" fmla="*/ 218 h 384"/>
                <a:gd name="T14" fmla="*/ 188 w 238"/>
                <a:gd name="T15" fmla="*/ 246 h 384"/>
                <a:gd name="T16" fmla="*/ 164 w 238"/>
                <a:gd name="T17" fmla="*/ 266 h 384"/>
                <a:gd name="T18" fmla="*/ 168 w 238"/>
                <a:gd name="T19" fmla="*/ 305 h 384"/>
                <a:gd name="T20" fmla="*/ 177 w 238"/>
                <a:gd name="T21" fmla="*/ 338 h 384"/>
                <a:gd name="T22" fmla="*/ 161 w 238"/>
                <a:gd name="T23" fmla="*/ 366 h 384"/>
                <a:gd name="T24" fmla="*/ 138 w 238"/>
                <a:gd name="T25" fmla="*/ 381 h 384"/>
                <a:gd name="T26" fmla="*/ 129 w 238"/>
                <a:gd name="T27" fmla="*/ 379 h 384"/>
                <a:gd name="T28" fmla="*/ 133 w 238"/>
                <a:gd name="T29" fmla="*/ 364 h 384"/>
                <a:gd name="T30" fmla="*/ 122 w 238"/>
                <a:gd name="T31" fmla="*/ 359 h 384"/>
                <a:gd name="T32" fmla="*/ 103 w 238"/>
                <a:gd name="T33" fmla="*/ 349 h 384"/>
                <a:gd name="T34" fmla="*/ 98 w 238"/>
                <a:gd name="T35" fmla="*/ 359 h 384"/>
                <a:gd name="T36" fmla="*/ 87 w 238"/>
                <a:gd name="T37" fmla="*/ 357 h 384"/>
                <a:gd name="T38" fmla="*/ 77 w 238"/>
                <a:gd name="T39" fmla="*/ 344 h 384"/>
                <a:gd name="T40" fmla="*/ 76 w 238"/>
                <a:gd name="T41" fmla="*/ 335 h 384"/>
                <a:gd name="T42" fmla="*/ 70 w 238"/>
                <a:gd name="T43" fmla="*/ 309 h 384"/>
                <a:gd name="T44" fmla="*/ 63 w 238"/>
                <a:gd name="T45" fmla="*/ 288 h 384"/>
                <a:gd name="T46" fmla="*/ 72 w 238"/>
                <a:gd name="T47" fmla="*/ 270 h 384"/>
                <a:gd name="T48" fmla="*/ 61 w 238"/>
                <a:gd name="T49" fmla="*/ 240 h 384"/>
                <a:gd name="T50" fmla="*/ 41 w 238"/>
                <a:gd name="T51" fmla="*/ 211 h 384"/>
                <a:gd name="T52" fmla="*/ 15 w 238"/>
                <a:gd name="T53" fmla="*/ 183 h 384"/>
                <a:gd name="T54" fmla="*/ 2 w 238"/>
                <a:gd name="T55" fmla="*/ 165 h 384"/>
                <a:gd name="T56" fmla="*/ 5 w 238"/>
                <a:gd name="T57" fmla="*/ 124 h 384"/>
                <a:gd name="T58" fmla="*/ 13 w 238"/>
                <a:gd name="T59" fmla="*/ 80 h 384"/>
                <a:gd name="T60" fmla="*/ 7 w 238"/>
                <a:gd name="T61" fmla="*/ 52 h 384"/>
                <a:gd name="T62" fmla="*/ 9 w 238"/>
                <a:gd name="T63" fmla="*/ 37 h 384"/>
                <a:gd name="T64" fmla="*/ 41 w 238"/>
                <a:gd name="T65" fmla="*/ 26 h 384"/>
                <a:gd name="T66" fmla="*/ 70 w 238"/>
                <a:gd name="T67" fmla="*/ 19 h 384"/>
                <a:gd name="T68" fmla="*/ 100 w 238"/>
                <a:gd name="T69" fmla="*/ 0 h 384"/>
                <a:gd name="T70" fmla="*/ 140 w 238"/>
                <a:gd name="T71" fmla="*/ 6 h 384"/>
                <a:gd name="T72" fmla="*/ 168 w 238"/>
                <a:gd name="T73" fmla="*/ 19 h 384"/>
                <a:gd name="T74" fmla="*/ 203 w 238"/>
                <a:gd name="T75" fmla="*/ 13 h 384"/>
                <a:gd name="T76" fmla="*/ 198 w 238"/>
                <a:gd name="T77" fmla="*/ 35 h 384"/>
                <a:gd name="T78" fmla="*/ 218 w 238"/>
                <a:gd name="T79" fmla="*/ 50 h 384"/>
                <a:gd name="T80" fmla="*/ 225 w 238"/>
                <a:gd name="T81" fmla="*/ 61 h 384"/>
                <a:gd name="T82" fmla="*/ 238 w 238"/>
                <a:gd name="T83" fmla="*/ 80 h 384"/>
                <a:gd name="T84" fmla="*/ 225 w 238"/>
                <a:gd name="T85" fmla="*/ 100 h 384"/>
                <a:gd name="T86" fmla="*/ 201 w 238"/>
                <a:gd name="T87" fmla="*/ 117 h 384"/>
                <a:gd name="T88" fmla="*/ 192 w 238"/>
                <a:gd name="T89" fmla="*/ 128 h 38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8"/>
                <a:gd name="T136" fmla="*/ 0 h 384"/>
                <a:gd name="T137" fmla="*/ 238 w 238"/>
                <a:gd name="T138" fmla="*/ 384 h 38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8" h="384">
                  <a:moveTo>
                    <a:pt x="192" y="128"/>
                  </a:moveTo>
                  <a:lnTo>
                    <a:pt x="186" y="133"/>
                  </a:lnTo>
                  <a:lnTo>
                    <a:pt x="183" y="139"/>
                  </a:lnTo>
                  <a:lnTo>
                    <a:pt x="181" y="142"/>
                  </a:lnTo>
                  <a:lnTo>
                    <a:pt x="181" y="148"/>
                  </a:lnTo>
                  <a:lnTo>
                    <a:pt x="181" y="152"/>
                  </a:lnTo>
                  <a:lnTo>
                    <a:pt x="183" y="157"/>
                  </a:lnTo>
                  <a:lnTo>
                    <a:pt x="188" y="166"/>
                  </a:lnTo>
                  <a:lnTo>
                    <a:pt x="190" y="174"/>
                  </a:lnTo>
                  <a:lnTo>
                    <a:pt x="183" y="183"/>
                  </a:lnTo>
                  <a:lnTo>
                    <a:pt x="174" y="194"/>
                  </a:lnTo>
                  <a:lnTo>
                    <a:pt x="172" y="198"/>
                  </a:lnTo>
                  <a:lnTo>
                    <a:pt x="170" y="203"/>
                  </a:lnTo>
                  <a:lnTo>
                    <a:pt x="172" y="209"/>
                  </a:lnTo>
                  <a:lnTo>
                    <a:pt x="175" y="214"/>
                  </a:lnTo>
                  <a:lnTo>
                    <a:pt x="177" y="216"/>
                  </a:lnTo>
                  <a:lnTo>
                    <a:pt x="179" y="216"/>
                  </a:lnTo>
                  <a:lnTo>
                    <a:pt x="181" y="214"/>
                  </a:lnTo>
                  <a:lnTo>
                    <a:pt x="183" y="211"/>
                  </a:lnTo>
                  <a:lnTo>
                    <a:pt x="188" y="214"/>
                  </a:lnTo>
                  <a:lnTo>
                    <a:pt x="203" y="218"/>
                  </a:lnTo>
                  <a:lnTo>
                    <a:pt x="199" y="224"/>
                  </a:lnTo>
                  <a:lnTo>
                    <a:pt x="192" y="233"/>
                  </a:lnTo>
                  <a:lnTo>
                    <a:pt x="188" y="246"/>
                  </a:lnTo>
                  <a:lnTo>
                    <a:pt x="188" y="253"/>
                  </a:lnTo>
                  <a:lnTo>
                    <a:pt x="177" y="259"/>
                  </a:lnTo>
                  <a:lnTo>
                    <a:pt x="164" y="266"/>
                  </a:lnTo>
                  <a:lnTo>
                    <a:pt x="168" y="279"/>
                  </a:lnTo>
                  <a:lnTo>
                    <a:pt x="175" y="292"/>
                  </a:lnTo>
                  <a:lnTo>
                    <a:pt x="168" y="305"/>
                  </a:lnTo>
                  <a:lnTo>
                    <a:pt x="161" y="318"/>
                  </a:lnTo>
                  <a:lnTo>
                    <a:pt x="170" y="327"/>
                  </a:lnTo>
                  <a:lnTo>
                    <a:pt x="177" y="338"/>
                  </a:lnTo>
                  <a:lnTo>
                    <a:pt x="172" y="349"/>
                  </a:lnTo>
                  <a:lnTo>
                    <a:pt x="168" y="359"/>
                  </a:lnTo>
                  <a:lnTo>
                    <a:pt x="161" y="366"/>
                  </a:lnTo>
                  <a:lnTo>
                    <a:pt x="155" y="372"/>
                  </a:lnTo>
                  <a:lnTo>
                    <a:pt x="148" y="377"/>
                  </a:lnTo>
                  <a:lnTo>
                    <a:pt x="138" y="381"/>
                  </a:lnTo>
                  <a:lnTo>
                    <a:pt x="131" y="383"/>
                  </a:lnTo>
                  <a:lnTo>
                    <a:pt x="122" y="384"/>
                  </a:lnTo>
                  <a:lnTo>
                    <a:pt x="129" y="379"/>
                  </a:lnTo>
                  <a:lnTo>
                    <a:pt x="133" y="373"/>
                  </a:lnTo>
                  <a:lnTo>
                    <a:pt x="133" y="370"/>
                  </a:lnTo>
                  <a:lnTo>
                    <a:pt x="133" y="364"/>
                  </a:lnTo>
                  <a:lnTo>
                    <a:pt x="131" y="360"/>
                  </a:lnTo>
                  <a:lnTo>
                    <a:pt x="125" y="359"/>
                  </a:lnTo>
                  <a:lnTo>
                    <a:pt x="122" y="359"/>
                  </a:lnTo>
                  <a:lnTo>
                    <a:pt x="116" y="357"/>
                  </a:lnTo>
                  <a:lnTo>
                    <a:pt x="109" y="351"/>
                  </a:lnTo>
                  <a:lnTo>
                    <a:pt x="103" y="349"/>
                  </a:lnTo>
                  <a:lnTo>
                    <a:pt x="101" y="351"/>
                  </a:lnTo>
                  <a:lnTo>
                    <a:pt x="100" y="357"/>
                  </a:lnTo>
                  <a:lnTo>
                    <a:pt x="98" y="359"/>
                  </a:lnTo>
                  <a:lnTo>
                    <a:pt x="96" y="359"/>
                  </a:lnTo>
                  <a:lnTo>
                    <a:pt x="92" y="359"/>
                  </a:lnTo>
                  <a:lnTo>
                    <a:pt x="87" y="357"/>
                  </a:lnTo>
                  <a:lnTo>
                    <a:pt x="81" y="353"/>
                  </a:lnTo>
                  <a:lnTo>
                    <a:pt x="79" y="347"/>
                  </a:lnTo>
                  <a:lnTo>
                    <a:pt x="77" y="344"/>
                  </a:lnTo>
                  <a:lnTo>
                    <a:pt x="77" y="338"/>
                  </a:lnTo>
                  <a:lnTo>
                    <a:pt x="77" y="336"/>
                  </a:lnTo>
                  <a:lnTo>
                    <a:pt x="76" y="335"/>
                  </a:lnTo>
                  <a:lnTo>
                    <a:pt x="70" y="329"/>
                  </a:lnTo>
                  <a:lnTo>
                    <a:pt x="65" y="320"/>
                  </a:lnTo>
                  <a:lnTo>
                    <a:pt x="70" y="309"/>
                  </a:lnTo>
                  <a:lnTo>
                    <a:pt x="76" y="303"/>
                  </a:lnTo>
                  <a:lnTo>
                    <a:pt x="68" y="296"/>
                  </a:lnTo>
                  <a:lnTo>
                    <a:pt x="63" y="288"/>
                  </a:lnTo>
                  <a:lnTo>
                    <a:pt x="72" y="283"/>
                  </a:lnTo>
                  <a:lnTo>
                    <a:pt x="81" y="277"/>
                  </a:lnTo>
                  <a:lnTo>
                    <a:pt x="72" y="270"/>
                  </a:lnTo>
                  <a:lnTo>
                    <a:pt x="61" y="261"/>
                  </a:lnTo>
                  <a:lnTo>
                    <a:pt x="61" y="251"/>
                  </a:lnTo>
                  <a:lnTo>
                    <a:pt x="61" y="240"/>
                  </a:lnTo>
                  <a:lnTo>
                    <a:pt x="52" y="235"/>
                  </a:lnTo>
                  <a:lnTo>
                    <a:pt x="44" y="227"/>
                  </a:lnTo>
                  <a:lnTo>
                    <a:pt x="41" y="211"/>
                  </a:lnTo>
                  <a:lnTo>
                    <a:pt x="33" y="198"/>
                  </a:lnTo>
                  <a:lnTo>
                    <a:pt x="24" y="190"/>
                  </a:lnTo>
                  <a:lnTo>
                    <a:pt x="15" y="183"/>
                  </a:lnTo>
                  <a:lnTo>
                    <a:pt x="9" y="176"/>
                  </a:lnTo>
                  <a:lnTo>
                    <a:pt x="4" y="168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4" y="144"/>
                  </a:lnTo>
                  <a:lnTo>
                    <a:pt x="5" y="124"/>
                  </a:lnTo>
                  <a:lnTo>
                    <a:pt x="4" y="107"/>
                  </a:lnTo>
                  <a:lnTo>
                    <a:pt x="5" y="92"/>
                  </a:lnTo>
                  <a:lnTo>
                    <a:pt x="13" y="80"/>
                  </a:lnTo>
                  <a:lnTo>
                    <a:pt x="20" y="61"/>
                  </a:lnTo>
                  <a:lnTo>
                    <a:pt x="13" y="57"/>
                  </a:lnTo>
                  <a:lnTo>
                    <a:pt x="7" y="52"/>
                  </a:lnTo>
                  <a:lnTo>
                    <a:pt x="9" y="48"/>
                  </a:lnTo>
                  <a:lnTo>
                    <a:pt x="11" y="43"/>
                  </a:lnTo>
                  <a:lnTo>
                    <a:pt x="9" y="37"/>
                  </a:lnTo>
                  <a:lnTo>
                    <a:pt x="5" y="33"/>
                  </a:lnTo>
                  <a:lnTo>
                    <a:pt x="24" y="28"/>
                  </a:lnTo>
                  <a:lnTo>
                    <a:pt x="41" y="26"/>
                  </a:lnTo>
                  <a:lnTo>
                    <a:pt x="50" y="24"/>
                  </a:lnTo>
                  <a:lnTo>
                    <a:pt x="61" y="22"/>
                  </a:lnTo>
                  <a:lnTo>
                    <a:pt x="70" y="19"/>
                  </a:lnTo>
                  <a:lnTo>
                    <a:pt x="81" y="15"/>
                  </a:lnTo>
                  <a:lnTo>
                    <a:pt x="94" y="6"/>
                  </a:lnTo>
                  <a:lnTo>
                    <a:pt x="100" y="0"/>
                  </a:lnTo>
                  <a:lnTo>
                    <a:pt x="114" y="4"/>
                  </a:lnTo>
                  <a:lnTo>
                    <a:pt x="129" y="7"/>
                  </a:lnTo>
                  <a:lnTo>
                    <a:pt x="140" y="6"/>
                  </a:lnTo>
                  <a:lnTo>
                    <a:pt x="150" y="4"/>
                  </a:lnTo>
                  <a:lnTo>
                    <a:pt x="157" y="11"/>
                  </a:lnTo>
                  <a:lnTo>
                    <a:pt x="168" y="19"/>
                  </a:lnTo>
                  <a:lnTo>
                    <a:pt x="188" y="13"/>
                  </a:lnTo>
                  <a:lnTo>
                    <a:pt x="207" y="4"/>
                  </a:lnTo>
                  <a:lnTo>
                    <a:pt x="203" y="13"/>
                  </a:lnTo>
                  <a:lnTo>
                    <a:pt x="199" y="20"/>
                  </a:lnTo>
                  <a:lnTo>
                    <a:pt x="198" y="28"/>
                  </a:lnTo>
                  <a:lnTo>
                    <a:pt x="198" y="35"/>
                  </a:lnTo>
                  <a:lnTo>
                    <a:pt x="203" y="41"/>
                  </a:lnTo>
                  <a:lnTo>
                    <a:pt x="212" y="46"/>
                  </a:lnTo>
                  <a:lnTo>
                    <a:pt x="218" y="50"/>
                  </a:lnTo>
                  <a:lnTo>
                    <a:pt x="222" y="52"/>
                  </a:lnTo>
                  <a:lnTo>
                    <a:pt x="223" y="57"/>
                  </a:lnTo>
                  <a:lnTo>
                    <a:pt x="225" y="61"/>
                  </a:lnTo>
                  <a:lnTo>
                    <a:pt x="229" y="67"/>
                  </a:lnTo>
                  <a:lnTo>
                    <a:pt x="234" y="74"/>
                  </a:lnTo>
                  <a:lnTo>
                    <a:pt x="238" y="80"/>
                  </a:lnTo>
                  <a:lnTo>
                    <a:pt x="238" y="87"/>
                  </a:lnTo>
                  <a:lnTo>
                    <a:pt x="233" y="96"/>
                  </a:lnTo>
                  <a:lnTo>
                    <a:pt x="225" y="100"/>
                  </a:lnTo>
                  <a:lnTo>
                    <a:pt x="220" y="102"/>
                  </a:lnTo>
                  <a:lnTo>
                    <a:pt x="212" y="107"/>
                  </a:lnTo>
                  <a:lnTo>
                    <a:pt x="201" y="117"/>
                  </a:lnTo>
                  <a:lnTo>
                    <a:pt x="192" y="12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7" name="Freeform 38"/>
            <p:cNvSpPr>
              <a:spLocks/>
            </p:cNvSpPr>
            <p:nvPr/>
          </p:nvSpPr>
          <p:spPr bwMode="auto">
            <a:xfrm>
              <a:off x="4898726" y="2777501"/>
              <a:ext cx="111142" cy="164376"/>
            </a:xfrm>
            <a:custGeom>
              <a:avLst/>
              <a:gdLst>
                <a:gd name="T0" fmla="*/ 17 w 213"/>
                <a:gd name="T1" fmla="*/ 258 h 323"/>
                <a:gd name="T2" fmla="*/ 8 w 213"/>
                <a:gd name="T3" fmla="*/ 262 h 323"/>
                <a:gd name="T4" fmla="*/ 0 w 213"/>
                <a:gd name="T5" fmla="*/ 273 h 323"/>
                <a:gd name="T6" fmla="*/ 2 w 213"/>
                <a:gd name="T7" fmla="*/ 292 h 323"/>
                <a:gd name="T8" fmla="*/ 8 w 213"/>
                <a:gd name="T9" fmla="*/ 306 h 323"/>
                <a:gd name="T10" fmla="*/ 10 w 213"/>
                <a:gd name="T11" fmla="*/ 317 h 323"/>
                <a:gd name="T12" fmla="*/ 11 w 213"/>
                <a:gd name="T13" fmla="*/ 321 h 323"/>
                <a:gd name="T14" fmla="*/ 21 w 213"/>
                <a:gd name="T15" fmla="*/ 321 h 323"/>
                <a:gd name="T16" fmla="*/ 24 w 213"/>
                <a:gd name="T17" fmla="*/ 312 h 323"/>
                <a:gd name="T18" fmla="*/ 32 w 213"/>
                <a:gd name="T19" fmla="*/ 303 h 323"/>
                <a:gd name="T20" fmla="*/ 63 w 213"/>
                <a:gd name="T21" fmla="*/ 301 h 323"/>
                <a:gd name="T22" fmla="*/ 95 w 213"/>
                <a:gd name="T23" fmla="*/ 297 h 323"/>
                <a:gd name="T24" fmla="*/ 102 w 213"/>
                <a:gd name="T25" fmla="*/ 282 h 323"/>
                <a:gd name="T26" fmla="*/ 107 w 213"/>
                <a:gd name="T27" fmla="*/ 271 h 323"/>
                <a:gd name="T28" fmla="*/ 120 w 213"/>
                <a:gd name="T29" fmla="*/ 268 h 323"/>
                <a:gd name="T30" fmla="*/ 133 w 213"/>
                <a:gd name="T31" fmla="*/ 269 h 323"/>
                <a:gd name="T32" fmla="*/ 143 w 213"/>
                <a:gd name="T33" fmla="*/ 258 h 323"/>
                <a:gd name="T34" fmla="*/ 155 w 213"/>
                <a:gd name="T35" fmla="*/ 242 h 323"/>
                <a:gd name="T36" fmla="*/ 168 w 213"/>
                <a:gd name="T37" fmla="*/ 238 h 323"/>
                <a:gd name="T38" fmla="*/ 174 w 213"/>
                <a:gd name="T39" fmla="*/ 232 h 323"/>
                <a:gd name="T40" fmla="*/ 178 w 213"/>
                <a:gd name="T41" fmla="*/ 225 h 323"/>
                <a:gd name="T42" fmla="*/ 181 w 213"/>
                <a:gd name="T43" fmla="*/ 214 h 323"/>
                <a:gd name="T44" fmla="*/ 189 w 213"/>
                <a:gd name="T45" fmla="*/ 203 h 323"/>
                <a:gd name="T46" fmla="*/ 202 w 213"/>
                <a:gd name="T47" fmla="*/ 199 h 323"/>
                <a:gd name="T48" fmla="*/ 211 w 213"/>
                <a:gd name="T49" fmla="*/ 194 h 323"/>
                <a:gd name="T50" fmla="*/ 205 w 213"/>
                <a:gd name="T51" fmla="*/ 170 h 323"/>
                <a:gd name="T52" fmla="*/ 205 w 213"/>
                <a:gd name="T53" fmla="*/ 127 h 323"/>
                <a:gd name="T54" fmla="*/ 202 w 213"/>
                <a:gd name="T55" fmla="*/ 99 h 323"/>
                <a:gd name="T56" fmla="*/ 194 w 213"/>
                <a:gd name="T57" fmla="*/ 64 h 323"/>
                <a:gd name="T58" fmla="*/ 191 w 213"/>
                <a:gd name="T59" fmla="*/ 46 h 323"/>
                <a:gd name="T60" fmla="*/ 185 w 213"/>
                <a:gd name="T61" fmla="*/ 35 h 323"/>
                <a:gd name="T62" fmla="*/ 178 w 213"/>
                <a:gd name="T63" fmla="*/ 31 h 323"/>
                <a:gd name="T64" fmla="*/ 168 w 213"/>
                <a:gd name="T65" fmla="*/ 31 h 323"/>
                <a:gd name="T66" fmla="*/ 155 w 213"/>
                <a:gd name="T67" fmla="*/ 20 h 323"/>
                <a:gd name="T68" fmla="*/ 141 w 213"/>
                <a:gd name="T69" fmla="*/ 25 h 323"/>
                <a:gd name="T70" fmla="*/ 117 w 213"/>
                <a:gd name="T71" fmla="*/ 38 h 323"/>
                <a:gd name="T72" fmla="*/ 109 w 213"/>
                <a:gd name="T73" fmla="*/ 33 h 323"/>
                <a:gd name="T74" fmla="*/ 96 w 213"/>
                <a:gd name="T75" fmla="*/ 18 h 323"/>
                <a:gd name="T76" fmla="*/ 83 w 213"/>
                <a:gd name="T77" fmla="*/ 5 h 323"/>
                <a:gd name="T78" fmla="*/ 78 w 213"/>
                <a:gd name="T79" fmla="*/ 14 h 323"/>
                <a:gd name="T80" fmla="*/ 78 w 213"/>
                <a:gd name="T81" fmla="*/ 24 h 323"/>
                <a:gd name="T82" fmla="*/ 85 w 213"/>
                <a:gd name="T83" fmla="*/ 38 h 323"/>
                <a:gd name="T84" fmla="*/ 80 w 213"/>
                <a:gd name="T85" fmla="*/ 55 h 323"/>
                <a:gd name="T86" fmla="*/ 69 w 213"/>
                <a:gd name="T87" fmla="*/ 70 h 323"/>
                <a:gd name="T88" fmla="*/ 69 w 213"/>
                <a:gd name="T89" fmla="*/ 81 h 323"/>
                <a:gd name="T90" fmla="*/ 74 w 213"/>
                <a:gd name="T91" fmla="*/ 88 h 323"/>
                <a:gd name="T92" fmla="*/ 78 w 213"/>
                <a:gd name="T93" fmla="*/ 86 h 323"/>
                <a:gd name="T94" fmla="*/ 85 w 213"/>
                <a:gd name="T95" fmla="*/ 86 h 323"/>
                <a:gd name="T96" fmla="*/ 96 w 213"/>
                <a:gd name="T97" fmla="*/ 96 h 323"/>
                <a:gd name="T98" fmla="*/ 85 w 213"/>
                <a:gd name="T99" fmla="*/ 118 h 323"/>
                <a:gd name="T100" fmla="*/ 74 w 213"/>
                <a:gd name="T101" fmla="*/ 131 h 323"/>
                <a:gd name="T102" fmla="*/ 65 w 213"/>
                <a:gd name="T103" fmla="*/ 151 h 323"/>
                <a:gd name="T104" fmla="*/ 65 w 213"/>
                <a:gd name="T105" fmla="*/ 177 h 323"/>
                <a:gd name="T106" fmla="*/ 67 w 213"/>
                <a:gd name="T107" fmla="*/ 199 h 323"/>
                <a:gd name="T108" fmla="*/ 69 w 213"/>
                <a:gd name="T109" fmla="*/ 221 h 323"/>
                <a:gd name="T110" fmla="*/ 58 w 213"/>
                <a:gd name="T111" fmla="*/ 238 h 323"/>
                <a:gd name="T112" fmla="*/ 45 w 213"/>
                <a:gd name="T113" fmla="*/ 249 h 323"/>
                <a:gd name="T114" fmla="*/ 28 w 213"/>
                <a:gd name="T115" fmla="*/ 255 h 32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13"/>
                <a:gd name="T175" fmla="*/ 0 h 323"/>
                <a:gd name="T176" fmla="*/ 213 w 213"/>
                <a:gd name="T177" fmla="*/ 323 h 32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13" h="323">
                  <a:moveTo>
                    <a:pt x="19" y="256"/>
                  </a:moveTo>
                  <a:lnTo>
                    <a:pt x="17" y="258"/>
                  </a:lnTo>
                  <a:lnTo>
                    <a:pt x="13" y="260"/>
                  </a:lnTo>
                  <a:lnTo>
                    <a:pt x="8" y="262"/>
                  </a:lnTo>
                  <a:lnTo>
                    <a:pt x="4" y="266"/>
                  </a:lnTo>
                  <a:lnTo>
                    <a:pt x="0" y="273"/>
                  </a:lnTo>
                  <a:lnTo>
                    <a:pt x="0" y="280"/>
                  </a:lnTo>
                  <a:lnTo>
                    <a:pt x="2" y="292"/>
                  </a:lnTo>
                  <a:lnTo>
                    <a:pt x="6" y="301"/>
                  </a:lnTo>
                  <a:lnTo>
                    <a:pt x="8" y="306"/>
                  </a:lnTo>
                  <a:lnTo>
                    <a:pt x="8" y="314"/>
                  </a:lnTo>
                  <a:lnTo>
                    <a:pt x="10" y="317"/>
                  </a:lnTo>
                  <a:lnTo>
                    <a:pt x="10" y="319"/>
                  </a:lnTo>
                  <a:lnTo>
                    <a:pt x="11" y="321"/>
                  </a:lnTo>
                  <a:lnTo>
                    <a:pt x="15" y="323"/>
                  </a:lnTo>
                  <a:lnTo>
                    <a:pt x="21" y="321"/>
                  </a:lnTo>
                  <a:lnTo>
                    <a:pt x="22" y="317"/>
                  </a:lnTo>
                  <a:lnTo>
                    <a:pt x="24" y="312"/>
                  </a:lnTo>
                  <a:lnTo>
                    <a:pt x="24" y="306"/>
                  </a:lnTo>
                  <a:lnTo>
                    <a:pt x="32" y="303"/>
                  </a:lnTo>
                  <a:lnTo>
                    <a:pt x="39" y="299"/>
                  </a:lnTo>
                  <a:lnTo>
                    <a:pt x="63" y="301"/>
                  </a:lnTo>
                  <a:lnTo>
                    <a:pt x="87" y="303"/>
                  </a:lnTo>
                  <a:lnTo>
                    <a:pt x="95" y="297"/>
                  </a:lnTo>
                  <a:lnTo>
                    <a:pt x="100" y="290"/>
                  </a:lnTo>
                  <a:lnTo>
                    <a:pt x="102" y="282"/>
                  </a:lnTo>
                  <a:lnTo>
                    <a:pt x="104" y="277"/>
                  </a:lnTo>
                  <a:lnTo>
                    <a:pt x="107" y="271"/>
                  </a:lnTo>
                  <a:lnTo>
                    <a:pt x="111" y="268"/>
                  </a:lnTo>
                  <a:lnTo>
                    <a:pt x="120" y="268"/>
                  </a:lnTo>
                  <a:lnTo>
                    <a:pt x="133" y="269"/>
                  </a:lnTo>
                  <a:lnTo>
                    <a:pt x="135" y="269"/>
                  </a:lnTo>
                  <a:lnTo>
                    <a:pt x="143" y="258"/>
                  </a:lnTo>
                  <a:lnTo>
                    <a:pt x="150" y="247"/>
                  </a:lnTo>
                  <a:lnTo>
                    <a:pt x="155" y="242"/>
                  </a:lnTo>
                  <a:lnTo>
                    <a:pt x="161" y="240"/>
                  </a:lnTo>
                  <a:lnTo>
                    <a:pt x="168" y="238"/>
                  </a:lnTo>
                  <a:lnTo>
                    <a:pt x="176" y="238"/>
                  </a:lnTo>
                  <a:lnTo>
                    <a:pt x="174" y="232"/>
                  </a:lnTo>
                  <a:lnTo>
                    <a:pt x="172" y="225"/>
                  </a:lnTo>
                  <a:lnTo>
                    <a:pt x="178" y="225"/>
                  </a:lnTo>
                  <a:lnTo>
                    <a:pt x="181" y="225"/>
                  </a:lnTo>
                  <a:lnTo>
                    <a:pt x="181" y="214"/>
                  </a:lnTo>
                  <a:lnTo>
                    <a:pt x="185" y="207"/>
                  </a:lnTo>
                  <a:lnTo>
                    <a:pt x="189" y="203"/>
                  </a:lnTo>
                  <a:lnTo>
                    <a:pt x="194" y="201"/>
                  </a:lnTo>
                  <a:lnTo>
                    <a:pt x="202" y="199"/>
                  </a:lnTo>
                  <a:lnTo>
                    <a:pt x="207" y="197"/>
                  </a:lnTo>
                  <a:lnTo>
                    <a:pt x="211" y="194"/>
                  </a:lnTo>
                  <a:lnTo>
                    <a:pt x="213" y="190"/>
                  </a:lnTo>
                  <a:lnTo>
                    <a:pt x="205" y="170"/>
                  </a:lnTo>
                  <a:lnTo>
                    <a:pt x="198" y="146"/>
                  </a:lnTo>
                  <a:lnTo>
                    <a:pt x="205" y="127"/>
                  </a:lnTo>
                  <a:lnTo>
                    <a:pt x="207" y="114"/>
                  </a:lnTo>
                  <a:lnTo>
                    <a:pt x="202" y="99"/>
                  </a:lnTo>
                  <a:lnTo>
                    <a:pt x="196" y="79"/>
                  </a:lnTo>
                  <a:lnTo>
                    <a:pt x="194" y="64"/>
                  </a:lnTo>
                  <a:lnTo>
                    <a:pt x="192" y="53"/>
                  </a:lnTo>
                  <a:lnTo>
                    <a:pt x="191" y="46"/>
                  </a:lnTo>
                  <a:lnTo>
                    <a:pt x="187" y="38"/>
                  </a:lnTo>
                  <a:lnTo>
                    <a:pt x="185" y="35"/>
                  </a:lnTo>
                  <a:lnTo>
                    <a:pt x="181" y="33"/>
                  </a:lnTo>
                  <a:lnTo>
                    <a:pt x="178" y="31"/>
                  </a:lnTo>
                  <a:lnTo>
                    <a:pt x="176" y="31"/>
                  </a:lnTo>
                  <a:lnTo>
                    <a:pt x="168" y="31"/>
                  </a:lnTo>
                  <a:lnTo>
                    <a:pt x="163" y="29"/>
                  </a:lnTo>
                  <a:lnTo>
                    <a:pt x="155" y="20"/>
                  </a:lnTo>
                  <a:lnTo>
                    <a:pt x="150" y="16"/>
                  </a:lnTo>
                  <a:lnTo>
                    <a:pt x="141" y="25"/>
                  </a:lnTo>
                  <a:lnTo>
                    <a:pt x="122" y="38"/>
                  </a:lnTo>
                  <a:lnTo>
                    <a:pt x="117" y="38"/>
                  </a:lnTo>
                  <a:lnTo>
                    <a:pt x="113" y="37"/>
                  </a:lnTo>
                  <a:lnTo>
                    <a:pt x="109" y="33"/>
                  </a:lnTo>
                  <a:lnTo>
                    <a:pt x="106" y="29"/>
                  </a:lnTo>
                  <a:lnTo>
                    <a:pt x="96" y="18"/>
                  </a:lnTo>
                  <a:lnTo>
                    <a:pt x="89" y="0"/>
                  </a:lnTo>
                  <a:lnTo>
                    <a:pt x="83" y="5"/>
                  </a:lnTo>
                  <a:lnTo>
                    <a:pt x="80" y="11"/>
                  </a:lnTo>
                  <a:lnTo>
                    <a:pt x="78" y="14"/>
                  </a:lnTo>
                  <a:lnTo>
                    <a:pt x="78" y="20"/>
                  </a:lnTo>
                  <a:lnTo>
                    <a:pt x="78" y="24"/>
                  </a:lnTo>
                  <a:lnTo>
                    <a:pt x="80" y="29"/>
                  </a:lnTo>
                  <a:lnTo>
                    <a:pt x="85" y="38"/>
                  </a:lnTo>
                  <a:lnTo>
                    <a:pt x="87" y="46"/>
                  </a:lnTo>
                  <a:lnTo>
                    <a:pt x="80" y="55"/>
                  </a:lnTo>
                  <a:lnTo>
                    <a:pt x="71" y="66"/>
                  </a:lnTo>
                  <a:lnTo>
                    <a:pt x="69" y="70"/>
                  </a:lnTo>
                  <a:lnTo>
                    <a:pt x="67" y="75"/>
                  </a:lnTo>
                  <a:lnTo>
                    <a:pt x="69" y="81"/>
                  </a:lnTo>
                  <a:lnTo>
                    <a:pt x="72" y="86"/>
                  </a:lnTo>
                  <a:lnTo>
                    <a:pt x="74" y="88"/>
                  </a:lnTo>
                  <a:lnTo>
                    <a:pt x="76" y="88"/>
                  </a:lnTo>
                  <a:lnTo>
                    <a:pt x="78" y="86"/>
                  </a:lnTo>
                  <a:lnTo>
                    <a:pt x="80" y="83"/>
                  </a:lnTo>
                  <a:lnTo>
                    <a:pt x="85" y="86"/>
                  </a:lnTo>
                  <a:lnTo>
                    <a:pt x="100" y="90"/>
                  </a:lnTo>
                  <a:lnTo>
                    <a:pt x="96" y="96"/>
                  </a:lnTo>
                  <a:lnTo>
                    <a:pt x="89" y="105"/>
                  </a:lnTo>
                  <a:lnTo>
                    <a:pt x="85" y="118"/>
                  </a:lnTo>
                  <a:lnTo>
                    <a:pt x="85" y="125"/>
                  </a:lnTo>
                  <a:lnTo>
                    <a:pt x="74" y="131"/>
                  </a:lnTo>
                  <a:lnTo>
                    <a:pt x="61" y="138"/>
                  </a:lnTo>
                  <a:lnTo>
                    <a:pt x="65" y="151"/>
                  </a:lnTo>
                  <a:lnTo>
                    <a:pt x="72" y="164"/>
                  </a:lnTo>
                  <a:lnTo>
                    <a:pt x="65" y="177"/>
                  </a:lnTo>
                  <a:lnTo>
                    <a:pt x="58" y="190"/>
                  </a:lnTo>
                  <a:lnTo>
                    <a:pt x="67" y="199"/>
                  </a:lnTo>
                  <a:lnTo>
                    <a:pt x="74" y="210"/>
                  </a:lnTo>
                  <a:lnTo>
                    <a:pt x="69" y="221"/>
                  </a:lnTo>
                  <a:lnTo>
                    <a:pt x="65" y="231"/>
                  </a:lnTo>
                  <a:lnTo>
                    <a:pt x="58" y="238"/>
                  </a:lnTo>
                  <a:lnTo>
                    <a:pt x="52" y="244"/>
                  </a:lnTo>
                  <a:lnTo>
                    <a:pt x="45" y="249"/>
                  </a:lnTo>
                  <a:lnTo>
                    <a:pt x="35" y="253"/>
                  </a:lnTo>
                  <a:lnTo>
                    <a:pt x="28" y="255"/>
                  </a:lnTo>
                  <a:lnTo>
                    <a:pt x="19" y="25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8" name="Freeform 39"/>
            <p:cNvSpPr>
              <a:spLocks/>
            </p:cNvSpPr>
            <p:nvPr/>
          </p:nvSpPr>
          <p:spPr bwMode="auto">
            <a:xfrm>
              <a:off x="4619567" y="2627884"/>
              <a:ext cx="235850" cy="196436"/>
            </a:xfrm>
            <a:custGeom>
              <a:avLst/>
              <a:gdLst>
                <a:gd name="T0" fmla="*/ 1 w 452"/>
                <a:gd name="T1" fmla="*/ 229 h 386"/>
                <a:gd name="T2" fmla="*/ 16 w 452"/>
                <a:gd name="T3" fmla="*/ 233 h 386"/>
                <a:gd name="T4" fmla="*/ 38 w 452"/>
                <a:gd name="T5" fmla="*/ 229 h 386"/>
                <a:gd name="T6" fmla="*/ 55 w 452"/>
                <a:gd name="T7" fmla="*/ 233 h 386"/>
                <a:gd name="T8" fmla="*/ 68 w 452"/>
                <a:gd name="T9" fmla="*/ 223 h 386"/>
                <a:gd name="T10" fmla="*/ 66 w 452"/>
                <a:gd name="T11" fmla="*/ 244 h 386"/>
                <a:gd name="T12" fmla="*/ 40 w 452"/>
                <a:gd name="T13" fmla="*/ 242 h 386"/>
                <a:gd name="T14" fmla="*/ 31 w 452"/>
                <a:gd name="T15" fmla="*/ 251 h 386"/>
                <a:gd name="T16" fmla="*/ 37 w 452"/>
                <a:gd name="T17" fmla="*/ 273 h 386"/>
                <a:gd name="T18" fmla="*/ 57 w 452"/>
                <a:gd name="T19" fmla="*/ 305 h 386"/>
                <a:gd name="T20" fmla="*/ 77 w 452"/>
                <a:gd name="T21" fmla="*/ 307 h 386"/>
                <a:gd name="T22" fmla="*/ 112 w 452"/>
                <a:gd name="T23" fmla="*/ 316 h 386"/>
                <a:gd name="T24" fmla="*/ 164 w 452"/>
                <a:gd name="T25" fmla="*/ 316 h 386"/>
                <a:gd name="T26" fmla="*/ 210 w 452"/>
                <a:gd name="T27" fmla="*/ 307 h 386"/>
                <a:gd name="T28" fmla="*/ 245 w 452"/>
                <a:gd name="T29" fmla="*/ 295 h 386"/>
                <a:gd name="T30" fmla="*/ 264 w 452"/>
                <a:gd name="T31" fmla="*/ 325 h 386"/>
                <a:gd name="T32" fmla="*/ 284 w 452"/>
                <a:gd name="T33" fmla="*/ 340 h 386"/>
                <a:gd name="T34" fmla="*/ 282 w 452"/>
                <a:gd name="T35" fmla="*/ 355 h 386"/>
                <a:gd name="T36" fmla="*/ 277 w 452"/>
                <a:gd name="T37" fmla="*/ 369 h 386"/>
                <a:gd name="T38" fmla="*/ 293 w 452"/>
                <a:gd name="T39" fmla="*/ 382 h 386"/>
                <a:gd name="T40" fmla="*/ 306 w 452"/>
                <a:gd name="T41" fmla="*/ 369 h 386"/>
                <a:gd name="T42" fmla="*/ 315 w 452"/>
                <a:gd name="T43" fmla="*/ 360 h 386"/>
                <a:gd name="T44" fmla="*/ 330 w 452"/>
                <a:gd name="T45" fmla="*/ 343 h 386"/>
                <a:gd name="T46" fmla="*/ 352 w 452"/>
                <a:gd name="T47" fmla="*/ 343 h 386"/>
                <a:gd name="T48" fmla="*/ 384 w 452"/>
                <a:gd name="T49" fmla="*/ 351 h 386"/>
                <a:gd name="T50" fmla="*/ 412 w 452"/>
                <a:gd name="T51" fmla="*/ 345 h 386"/>
                <a:gd name="T52" fmla="*/ 428 w 452"/>
                <a:gd name="T53" fmla="*/ 332 h 386"/>
                <a:gd name="T54" fmla="*/ 436 w 452"/>
                <a:gd name="T55" fmla="*/ 310 h 386"/>
                <a:gd name="T56" fmla="*/ 437 w 452"/>
                <a:gd name="T57" fmla="*/ 258 h 386"/>
                <a:gd name="T58" fmla="*/ 445 w 452"/>
                <a:gd name="T59" fmla="*/ 223 h 386"/>
                <a:gd name="T60" fmla="*/ 443 w 452"/>
                <a:gd name="T61" fmla="*/ 209 h 386"/>
                <a:gd name="T62" fmla="*/ 430 w 452"/>
                <a:gd name="T63" fmla="*/ 196 h 386"/>
                <a:gd name="T64" fmla="*/ 404 w 452"/>
                <a:gd name="T65" fmla="*/ 207 h 386"/>
                <a:gd name="T66" fmla="*/ 391 w 452"/>
                <a:gd name="T67" fmla="*/ 212 h 386"/>
                <a:gd name="T68" fmla="*/ 386 w 452"/>
                <a:gd name="T69" fmla="*/ 177 h 386"/>
                <a:gd name="T70" fmla="*/ 386 w 452"/>
                <a:gd name="T71" fmla="*/ 140 h 386"/>
                <a:gd name="T72" fmla="*/ 365 w 452"/>
                <a:gd name="T73" fmla="*/ 149 h 386"/>
                <a:gd name="T74" fmla="*/ 336 w 452"/>
                <a:gd name="T75" fmla="*/ 151 h 386"/>
                <a:gd name="T76" fmla="*/ 304 w 452"/>
                <a:gd name="T77" fmla="*/ 109 h 386"/>
                <a:gd name="T78" fmla="*/ 258 w 452"/>
                <a:gd name="T79" fmla="*/ 109 h 386"/>
                <a:gd name="T80" fmla="*/ 249 w 452"/>
                <a:gd name="T81" fmla="*/ 92 h 386"/>
                <a:gd name="T82" fmla="*/ 208 w 452"/>
                <a:gd name="T83" fmla="*/ 44 h 386"/>
                <a:gd name="T84" fmla="*/ 140 w 452"/>
                <a:gd name="T85" fmla="*/ 9 h 386"/>
                <a:gd name="T86" fmla="*/ 103 w 452"/>
                <a:gd name="T87" fmla="*/ 16 h 386"/>
                <a:gd name="T88" fmla="*/ 81 w 452"/>
                <a:gd name="T89" fmla="*/ 44 h 386"/>
                <a:gd name="T90" fmla="*/ 85 w 452"/>
                <a:gd name="T91" fmla="*/ 61 h 386"/>
                <a:gd name="T92" fmla="*/ 83 w 452"/>
                <a:gd name="T93" fmla="*/ 76 h 386"/>
                <a:gd name="T94" fmla="*/ 66 w 452"/>
                <a:gd name="T95" fmla="*/ 79 h 386"/>
                <a:gd name="T96" fmla="*/ 42 w 452"/>
                <a:gd name="T97" fmla="*/ 70 h 386"/>
                <a:gd name="T98" fmla="*/ 18 w 452"/>
                <a:gd name="T99" fmla="*/ 94 h 386"/>
                <a:gd name="T100" fmla="*/ 14 w 452"/>
                <a:gd name="T101" fmla="*/ 113 h 386"/>
                <a:gd name="T102" fmla="*/ 5 w 452"/>
                <a:gd name="T103" fmla="*/ 140 h 386"/>
                <a:gd name="T104" fmla="*/ 16 w 452"/>
                <a:gd name="T105" fmla="*/ 168 h 386"/>
                <a:gd name="T106" fmla="*/ 7 w 452"/>
                <a:gd name="T107" fmla="*/ 188 h 386"/>
                <a:gd name="T108" fmla="*/ 0 w 452"/>
                <a:gd name="T109" fmla="*/ 201 h 38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2"/>
                <a:gd name="T166" fmla="*/ 0 h 386"/>
                <a:gd name="T167" fmla="*/ 452 w 452"/>
                <a:gd name="T168" fmla="*/ 386 h 38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2" h="386">
                  <a:moveTo>
                    <a:pt x="1" y="229"/>
                  </a:moveTo>
                  <a:lnTo>
                    <a:pt x="1" y="229"/>
                  </a:lnTo>
                  <a:lnTo>
                    <a:pt x="7" y="233"/>
                  </a:lnTo>
                  <a:lnTo>
                    <a:pt x="13" y="233"/>
                  </a:lnTo>
                  <a:lnTo>
                    <a:pt x="16" y="233"/>
                  </a:lnTo>
                  <a:lnTo>
                    <a:pt x="22" y="233"/>
                  </a:lnTo>
                  <a:lnTo>
                    <a:pt x="31" y="231"/>
                  </a:lnTo>
                  <a:lnTo>
                    <a:pt x="38" y="229"/>
                  </a:lnTo>
                  <a:lnTo>
                    <a:pt x="46" y="231"/>
                  </a:lnTo>
                  <a:lnTo>
                    <a:pt x="51" y="233"/>
                  </a:lnTo>
                  <a:lnTo>
                    <a:pt x="55" y="233"/>
                  </a:lnTo>
                  <a:lnTo>
                    <a:pt x="59" y="231"/>
                  </a:lnTo>
                  <a:lnTo>
                    <a:pt x="64" y="227"/>
                  </a:lnTo>
                  <a:lnTo>
                    <a:pt x="68" y="223"/>
                  </a:lnTo>
                  <a:lnTo>
                    <a:pt x="70" y="231"/>
                  </a:lnTo>
                  <a:lnTo>
                    <a:pt x="68" y="236"/>
                  </a:lnTo>
                  <a:lnTo>
                    <a:pt x="66" y="244"/>
                  </a:lnTo>
                  <a:lnTo>
                    <a:pt x="61" y="247"/>
                  </a:lnTo>
                  <a:lnTo>
                    <a:pt x="49" y="246"/>
                  </a:lnTo>
                  <a:lnTo>
                    <a:pt x="40" y="242"/>
                  </a:lnTo>
                  <a:lnTo>
                    <a:pt x="37" y="244"/>
                  </a:lnTo>
                  <a:lnTo>
                    <a:pt x="33" y="246"/>
                  </a:lnTo>
                  <a:lnTo>
                    <a:pt x="31" y="251"/>
                  </a:lnTo>
                  <a:lnTo>
                    <a:pt x="31" y="257"/>
                  </a:lnTo>
                  <a:lnTo>
                    <a:pt x="33" y="268"/>
                  </a:lnTo>
                  <a:lnTo>
                    <a:pt x="37" y="273"/>
                  </a:lnTo>
                  <a:lnTo>
                    <a:pt x="42" y="281"/>
                  </a:lnTo>
                  <a:lnTo>
                    <a:pt x="51" y="292"/>
                  </a:lnTo>
                  <a:lnTo>
                    <a:pt x="57" y="305"/>
                  </a:lnTo>
                  <a:lnTo>
                    <a:pt x="68" y="331"/>
                  </a:lnTo>
                  <a:lnTo>
                    <a:pt x="73" y="316"/>
                  </a:lnTo>
                  <a:lnTo>
                    <a:pt x="77" y="307"/>
                  </a:lnTo>
                  <a:lnTo>
                    <a:pt x="85" y="314"/>
                  </a:lnTo>
                  <a:lnTo>
                    <a:pt x="98" y="323"/>
                  </a:lnTo>
                  <a:lnTo>
                    <a:pt x="112" y="316"/>
                  </a:lnTo>
                  <a:lnTo>
                    <a:pt x="127" y="312"/>
                  </a:lnTo>
                  <a:lnTo>
                    <a:pt x="146" y="314"/>
                  </a:lnTo>
                  <a:lnTo>
                    <a:pt x="164" y="316"/>
                  </a:lnTo>
                  <a:lnTo>
                    <a:pt x="181" y="312"/>
                  </a:lnTo>
                  <a:lnTo>
                    <a:pt x="195" y="307"/>
                  </a:lnTo>
                  <a:lnTo>
                    <a:pt x="210" y="307"/>
                  </a:lnTo>
                  <a:lnTo>
                    <a:pt x="225" y="307"/>
                  </a:lnTo>
                  <a:lnTo>
                    <a:pt x="238" y="299"/>
                  </a:lnTo>
                  <a:lnTo>
                    <a:pt x="245" y="295"/>
                  </a:lnTo>
                  <a:lnTo>
                    <a:pt x="247" y="305"/>
                  </a:lnTo>
                  <a:lnTo>
                    <a:pt x="253" y="316"/>
                  </a:lnTo>
                  <a:lnTo>
                    <a:pt x="264" y="325"/>
                  </a:lnTo>
                  <a:lnTo>
                    <a:pt x="277" y="334"/>
                  </a:lnTo>
                  <a:lnTo>
                    <a:pt x="280" y="336"/>
                  </a:lnTo>
                  <a:lnTo>
                    <a:pt x="284" y="340"/>
                  </a:lnTo>
                  <a:lnTo>
                    <a:pt x="286" y="343"/>
                  </a:lnTo>
                  <a:lnTo>
                    <a:pt x="286" y="349"/>
                  </a:lnTo>
                  <a:lnTo>
                    <a:pt x="282" y="355"/>
                  </a:lnTo>
                  <a:lnTo>
                    <a:pt x="279" y="360"/>
                  </a:lnTo>
                  <a:lnTo>
                    <a:pt x="275" y="364"/>
                  </a:lnTo>
                  <a:lnTo>
                    <a:pt x="277" y="369"/>
                  </a:lnTo>
                  <a:lnTo>
                    <a:pt x="280" y="379"/>
                  </a:lnTo>
                  <a:lnTo>
                    <a:pt x="284" y="386"/>
                  </a:lnTo>
                  <a:lnTo>
                    <a:pt x="293" y="382"/>
                  </a:lnTo>
                  <a:lnTo>
                    <a:pt x="301" y="377"/>
                  </a:lnTo>
                  <a:lnTo>
                    <a:pt x="304" y="373"/>
                  </a:lnTo>
                  <a:lnTo>
                    <a:pt x="306" y="369"/>
                  </a:lnTo>
                  <a:lnTo>
                    <a:pt x="308" y="366"/>
                  </a:lnTo>
                  <a:lnTo>
                    <a:pt x="308" y="360"/>
                  </a:lnTo>
                  <a:lnTo>
                    <a:pt x="315" y="360"/>
                  </a:lnTo>
                  <a:lnTo>
                    <a:pt x="321" y="360"/>
                  </a:lnTo>
                  <a:lnTo>
                    <a:pt x="327" y="351"/>
                  </a:lnTo>
                  <a:lnTo>
                    <a:pt x="330" y="343"/>
                  </a:lnTo>
                  <a:lnTo>
                    <a:pt x="338" y="345"/>
                  </a:lnTo>
                  <a:lnTo>
                    <a:pt x="343" y="349"/>
                  </a:lnTo>
                  <a:lnTo>
                    <a:pt x="352" y="343"/>
                  </a:lnTo>
                  <a:lnTo>
                    <a:pt x="360" y="340"/>
                  </a:lnTo>
                  <a:lnTo>
                    <a:pt x="373" y="343"/>
                  </a:lnTo>
                  <a:lnTo>
                    <a:pt x="384" y="351"/>
                  </a:lnTo>
                  <a:lnTo>
                    <a:pt x="393" y="349"/>
                  </a:lnTo>
                  <a:lnTo>
                    <a:pt x="404" y="349"/>
                  </a:lnTo>
                  <a:lnTo>
                    <a:pt x="412" y="345"/>
                  </a:lnTo>
                  <a:lnTo>
                    <a:pt x="417" y="342"/>
                  </a:lnTo>
                  <a:lnTo>
                    <a:pt x="424" y="338"/>
                  </a:lnTo>
                  <a:lnTo>
                    <a:pt x="428" y="332"/>
                  </a:lnTo>
                  <a:lnTo>
                    <a:pt x="430" y="331"/>
                  </a:lnTo>
                  <a:lnTo>
                    <a:pt x="432" y="331"/>
                  </a:lnTo>
                  <a:lnTo>
                    <a:pt x="436" y="310"/>
                  </a:lnTo>
                  <a:lnTo>
                    <a:pt x="437" y="290"/>
                  </a:lnTo>
                  <a:lnTo>
                    <a:pt x="436" y="273"/>
                  </a:lnTo>
                  <a:lnTo>
                    <a:pt x="437" y="258"/>
                  </a:lnTo>
                  <a:lnTo>
                    <a:pt x="445" y="246"/>
                  </a:lnTo>
                  <a:lnTo>
                    <a:pt x="452" y="227"/>
                  </a:lnTo>
                  <a:lnTo>
                    <a:pt x="445" y="223"/>
                  </a:lnTo>
                  <a:lnTo>
                    <a:pt x="439" y="218"/>
                  </a:lnTo>
                  <a:lnTo>
                    <a:pt x="441" y="214"/>
                  </a:lnTo>
                  <a:lnTo>
                    <a:pt x="443" y="209"/>
                  </a:lnTo>
                  <a:lnTo>
                    <a:pt x="441" y="203"/>
                  </a:lnTo>
                  <a:lnTo>
                    <a:pt x="437" y="199"/>
                  </a:lnTo>
                  <a:lnTo>
                    <a:pt x="430" y="196"/>
                  </a:lnTo>
                  <a:lnTo>
                    <a:pt x="424" y="194"/>
                  </a:lnTo>
                  <a:lnTo>
                    <a:pt x="415" y="201"/>
                  </a:lnTo>
                  <a:lnTo>
                    <a:pt x="404" y="207"/>
                  </a:lnTo>
                  <a:lnTo>
                    <a:pt x="400" y="209"/>
                  </a:lnTo>
                  <a:lnTo>
                    <a:pt x="395" y="210"/>
                  </a:lnTo>
                  <a:lnTo>
                    <a:pt x="391" y="212"/>
                  </a:lnTo>
                  <a:lnTo>
                    <a:pt x="384" y="210"/>
                  </a:lnTo>
                  <a:lnTo>
                    <a:pt x="386" y="199"/>
                  </a:lnTo>
                  <a:lnTo>
                    <a:pt x="386" y="177"/>
                  </a:lnTo>
                  <a:lnTo>
                    <a:pt x="391" y="159"/>
                  </a:lnTo>
                  <a:lnTo>
                    <a:pt x="393" y="138"/>
                  </a:lnTo>
                  <a:lnTo>
                    <a:pt x="386" y="140"/>
                  </a:lnTo>
                  <a:lnTo>
                    <a:pt x="376" y="146"/>
                  </a:lnTo>
                  <a:lnTo>
                    <a:pt x="371" y="148"/>
                  </a:lnTo>
                  <a:lnTo>
                    <a:pt x="365" y="149"/>
                  </a:lnTo>
                  <a:lnTo>
                    <a:pt x="358" y="149"/>
                  </a:lnTo>
                  <a:lnTo>
                    <a:pt x="351" y="148"/>
                  </a:lnTo>
                  <a:lnTo>
                    <a:pt x="336" y="151"/>
                  </a:lnTo>
                  <a:lnTo>
                    <a:pt x="325" y="153"/>
                  </a:lnTo>
                  <a:lnTo>
                    <a:pt x="315" y="133"/>
                  </a:lnTo>
                  <a:lnTo>
                    <a:pt x="304" y="109"/>
                  </a:lnTo>
                  <a:lnTo>
                    <a:pt x="279" y="111"/>
                  </a:lnTo>
                  <a:lnTo>
                    <a:pt x="262" y="113"/>
                  </a:lnTo>
                  <a:lnTo>
                    <a:pt x="258" y="109"/>
                  </a:lnTo>
                  <a:lnTo>
                    <a:pt x="255" y="103"/>
                  </a:lnTo>
                  <a:lnTo>
                    <a:pt x="253" y="98"/>
                  </a:lnTo>
                  <a:lnTo>
                    <a:pt x="249" y="92"/>
                  </a:lnTo>
                  <a:lnTo>
                    <a:pt x="245" y="79"/>
                  </a:lnTo>
                  <a:lnTo>
                    <a:pt x="242" y="68"/>
                  </a:lnTo>
                  <a:lnTo>
                    <a:pt x="208" y="44"/>
                  </a:lnTo>
                  <a:lnTo>
                    <a:pt x="175" y="24"/>
                  </a:lnTo>
                  <a:lnTo>
                    <a:pt x="157" y="16"/>
                  </a:lnTo>
                  <a:lnTo>
                    <a:pt x="140" y="9"/>
                  </a:lnTo>
                  <a:lnTo>
                    <a:pt x="122" y="3"/>
                  </a:lnTo>
                  <a:lnTo>
                    <a:pt x="101" y="0"/>
                  </a:lnTo>
                  <a:lnTo>
                    <a:pt x="103" y="16"/>
                  </a:lnTo>
                  <a:lnTo>
                    <a:pt x="103" y="31"/>
                  </a:lnTo>
                  <a:lnTo>
                    <a:pt x="92" y="39"/>
                  </a:lnTo>
                  <a:lnTo>
                    <a:pt x="81" y="44"/>
                  </a:lnTo>
                  <a:lnTo>
                    <a:pt x="81" y="52"/>
                  </a:lnTo>
                  <a:lnTo>
                    <a:pt x="83" y="57"/>
                  </a:lnTo>
                  <a:lnTo>
                    <a:pt x="85" y="61"/>
                  </a:lnTo>
                  <a:lnTo>
                    <a:pt x="86" y="64"/>
                  </a:lnTo>
                  <a:lnTo>
                    <a:pt x="85" y="70"/>
                  </a:lnTo>
                  <a:lnTo>
                    <a:pt x="83" y="76"/>
                  </a:lnTo>
                  <a:lnTo>
                    <a:pt x="77" y="79"/>
                  </a:lnTo>
                  <a:lnTo>
                    <a:pt x="72" y="79"/>
                  </a:lnTo>
                  <a:lnTo>
                    <a:pt x="66" y="79"/>
                  </a:lnTo>
                  <a:lnTo>
                    <a:pt x="61" y="76"/>
                  </a:lnTo>
                  <a:lnTo>
                    <a:pt x="51" y="72"/>
                  </a:lnTo>
                  <a:lnTo>
                    <a:pt x="42" y="70"/>
                  </a:lnTo>
                  <a:lnTo>
                    <a:pt x="33" y="79"/>
                  </a:lnTo>
                  <a:lnTo>
                    <a:pt x="25" y="92"/>
                  </a:lnTo>
                  <a:lnTo>
                    <a:pt x="18" y="94"/>
                  </a:lnTo>
                  <a:lnTo>
                    <a:pt x="11" y="98"/>
                  </a:lnTo>
                  <a:lnTo>
                    <a:pt x="13" y="105"/>
                  </a:lnTo>
                  <a:lnTo>
                    <a:pt x="14" y="113"/>
                  </a:lnTo>
                  <a:lnTo>
                    <a:pt x="7" y="118"/>
                  </a:lnTo>
                  <a:lnTo>
                    <a:pt x="1" y="127"/>
                  </a:lnTo>
                  <a:lnTo>
                    <a:pt x="5" y="140"/>
                  </a:lnTo>
                  <a:lnTo>
                    <a:pt x="13" y="153"/>
                  </a:lnTo>
                  <a:lnTo>
                    <a:pt x="14" y="161"/>
                  </a:lnTo>
                  <a:lnTo>
                    <a:pt x="16" y="168"/>
                  </a:lnTo>
                  <a:lnTo>
                    <a:pt x="16" y="175"/>
                  </a:lnTo>
                  <a:lnTo>
                    <a:pt x="14" y="185"/>
                  </a:lnTo>
                  <a:lnTo>
                    <a:pt x="7" y="188"/>
                  </a:lnTo>
                  <a:lnTo>
                    <a:pt x="3" y="192"/>
                  </a:lnTo>
                  <a:lnTo>
                    <a:pt x="1" y="196"/>
                  </a:lnTo>
                  <a:lnTo>
                    <a:pt x="0" y="201"/>
                  </a:lnTo>
                  <a:lnTo>
                    <a:pt x="0" y="216"/>
                  </a:lnTo>
                  <a:lnTo>
                    <a:pt x="1" y="22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09" name="Freeform 40"/>
            <p:cNvSpPr>
              <a:spLocks noEditPoints="1"/>
            </p:cNvSpPr>
            <p:nvPr/>
          </p:nvSpPr>
          <p:spPr bwMode="auto">
            <a:xfrm>
              <a:off x="4562692" y="1956132"/>
              <a:ext cx="400736" cy="519081"/>
            </a:xfrm>
            <a:custGeom>
              <a:avLst/>
              <a:gdLst>
                <a:gd name="T0" fmla="*/ 692 w 768"/>
                <a:gd name="T1" fmla="*/ 133 h 1020"/>
                <a:gd name="T2" fmla="*/ 691 w 768"/>
                <a:gd name="T3" fmla="*/ 1004 h 1020"/>
                <a:gd name="T4" fmla="*/ 713 w 768"/>
                <a:gd name="T5" fmla="*/ 908 h 1020"/>
                <a:gd name="T6" fmla="*/ 759 w 768"/>
                <a:gd name="T7" fmla="*/ 819 h 1020"/>
                <a:gd name="T8" fmla="*/ 724 w 768"/>
                <a:gd name="T9" fmla="*/ 769 h 1020"/>
                <a:gd name="T10" fmla="*/ 707 w 768"/>
                <a:gd name="T11" fmla="*/ 680 h 1020"/>
                <a:gd name="T12" fmla="*/ 698 w 768"/>
                <a:gd name="T13" fmla="*/ 581 h 1020"/>
                <a:gd name="T14" fmla="*/ 740 w 768"/>
                <a:gd name="T15" fmla="*/ 503 h 1020"/>
                <a:gd name="T16" fmla="*/ 716 w 768"/>
                <a:gd name="T17" fmla="*/ 424 h 1020"/>
                <a:gd name="T18" fmla="*/ 659 w 768"/>
                <a:gd name="T19" fmla="*/ 363 h 1020"/>
                <a:gd name="T20" fmla="*/ 729 w 768"/>
                <a:gd name="T21" fmla="*/ 318 h 1020"/>
                <a:gd name="T22" fmla="*/ 707 w 768"/>
                <a:gd name="T23" fmla="*/ 228 h 1020"/>
                <a:gd name="T24" fmla="*/ 716 w 768"/>
                <a:gd name="T25" fmla="*/ 170 h 1020"/>
                <a:gd name="T26" fmla="*/ 689 w 768"/>
                <a:gd name="T27" fmla="*/ 200 h 1020"/>
                <a:gd name="T28" fmla="*/ 655 w 768"/>
                <a:gd name="T29" fmla="*/ 176 h 1020"/>
                <a:gd name="T30" fmla="*/ 661 w 768"/>
                <a:gd name="T31" fmla="*/ 233 h 1020"/>
                <a:gd name="T32" fmla="*/ 694 w 768"/>
                <a:gd name="T33" fmla="*/ 278 h 1020"/>
                <a:gd name="T34" fmla="*/ 613 w 768"/>
                <a:gd name="T35" fmla="*/ 217 h 1020"/>
                <a:gd name="T36" fmla="*/ 628 w 768"/>
                <a:gd name="T37" fmla="*/ 158 h 1020"/>
                <a:gd name="T38" fmla="*/ 644 w 768"/>
                <a:gd name="T39" fmla="*/ 95 h 1020"/>
                <a:gd name="T40" fmla="*/ 574 w 768"/>
                <a:gd name="T41" fmla="*/ 165 h 1020"/>
                <a:gd name="T42" fmla="*/ 543 w 768"/>
                <a:gd name="T43" fmla="*/ 278 h 1020"/>
                <a:gd name="T44" fmla="*/ 497 w 768"/>
                <a:gd name="T45" fmla="*/ 366 h 1020"/>
                <a:gd name="T46" fmla="*/ 541 w 768"/>
                <a:gd name="T47" fmla="*/ 374 h 1020"/>
                <a:gd name="T48" fmla="*/ 602 w 768"/>
                <a:gd name="T49" fmla="*/ 429 h 1020"/>
                <a:gd name="T50" fmla="*/ 580 w 768"/>
                <a:gd name="T51" fmla="*/ 485 h 1020"/>
                <a:gd name="T52" fmla="*/ 609 w 768"/>
                <a:gd name="T53" fmla="*/ 555 h 1020"/>
                <a:gd name="T54" fmla="*/ 554 w 768"/>
                <a:gd name="T55" fmla="*/ 520 h 1020"/>
                <a:gd name="T56" fmla="*/ 569 w 768"/>
                <a:gd name="T57" fmla="*/ 418 h 1020"/>
                <a:gd name="T58" fmla="*/ 508 w 768"/>
                <a:gd name="T59" fmla="*/ 405 h 1020"/>
                <a:gd name="T60" fmla="*/ 447 w 768"/>
                <a:gd name="T61" fmla="*/ 512 h 1020"/>
                <a:gd name="T62" fmla="*/ 327 w 768"/>
                <a:gd name="T63" fmla="*/ 549 h 1020"/>
                <a:gd name="T64" fmla="*/ 286 w 768"/>
                <a:gd name="T65" fmla="*/ 494 h 1020"/>
                <a:gd name="T66" fmla="*/ 351 w 768"/>
                <a:gd name="T67" fmla="*/ 522 h 1020"/>
                <a:gd name="T68" fmla="*/ 437 w 768"/>
                <a:gd name="T69" fmla="*/ 466 h 1020"/>
                <a:gd name="T70" fmla="*/ 474 w 768"/>
                <a:gd name="T71" fmla="*/ 403 h 1020"/>
                <a:gd name="T72" fmla="*/ 489 w 768"/>
                <a:gd name="T73" fmla="*/ 296 h 1020"/>
                <a:gd name="T74" fmla="*/ 519 w 768"/>
                <a:gd name="T75" fmla="*/ 180 h 1020"/>
                <a:gd name="T76" fmla="*/ 582 w 768"/>
                <a:gd name="T77" fmla="*/ 93 h 1020"/>
                <a:gd name="T78" fmla="*/ 493 w 768"/>
                <a:gd name="T79" fmla="*/ 56 h 1020"/>
                <a:gd name="T80" fmla="*/ 402 w 768"/>
                <a:gd name="T81" fmla="*/ 128 h 1020"/>
                <a:gd name="T82" fmla="*/ 375 w 768"/>
                <a:gd name="T83" fmla="*/ 161 h 1020"/>
                <a:gd name="T84" fmla="*/ 345 w 768"/>
                <a:gd name="T85" fmla="*/ 259 h 1020"/>
                <a:gd name="T86" fmla="*/ 349 w 768"/>
                <a:gd name="T87" fmla="*/ 342 h 1020"/>
                <a:gd name="T88" fmla="*/ 306 w 768"/>
                <a:gd name="T89" fmla="*/ 346 h 1020"/>
                <a:gd name="T90" fmla="*/ 273 w 768"/>
                <a:gd name="T91" fmla="*/ 267 h 1020"/>
                <a:gd name="T92" fmla="*/ 232 w 768"/>
                <a:gd name="T93" fmla="*/ 372 h 1020"/>
                <a:gd name="T94" fmla="*/ 88 w 768"/>
                <a:gd name="T95" fmla="*/ 409 h 1020"/>
                <a:gd name="T96" fmla="*/ 5 w 768"/>
                <a:gd name="T97" fmla="*/ 538 h 1020"/>
                <a:gd name="T98" fmla="*/ 98 w 768"/>
                <a:gd name="T99" fmla="*/ 577 h 1020"/>
                <a:gd name="T100" fmla="*/ 133 w 768"/>
                <a:gd name="T101" fmla="*/ 649 h 1020"/>
                <a:gd name="T102" fmla="*/ 201 w 768"/>
                <a:gd name="T103" fmla="*/ 647 h 1020"/>
                <a:gd name="T104" fmla="*/ 242 w 768"/>
                <a:gd name="T105" fmla="*/ 767 h 1020"/>
                <a:gd name="T106" fmla="*/ 338 w 768"/>
                <a:gd name="T107" fmla="*/ 830 h 1020"/>
                <a:gd name="T108" fmla="*/ 461 w 768"/>
                <a:gd name="T109" fmla="*/ 923 h 1020"/>
                <a:gd name="T110" fmla="*/ 561 w 768"/>
                <a:gd name="T111" fmla="*/ 913 h 1020"/>
                <a:gd name="T112" fmla="*/ 631 w 768"/>
                <a:gd name="T113" fmla="*/ 987 h 1020"/>
                <a:gd name="T114" fmla="*/ 694 w 768"/>
                <a:gd name="T115" fmla="*/ 84 h 1020"/>
                <a:gd name="T116" fmla="*/ 696 w 768"/>
                <a:gd name="T117" fmla="*/ 54 h 1020"/>
                <a:gd name="T118" fmla="*/ 670 w 768"/>
                <a:gd name="T119" fmla="*/ 52 h 1020"/>
                <a:gd name="T120" fmla="*/ 639 w 768"/>
                <a:gd name="T121" fmla="*/ 67 h 1020"/>
                <a:gd name="T122" fmla="*/ 582 w 768"/>
                <a:gd name="T123" fmla="*/ 26 h 102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8"/>
                <a:gd name="T187" fmla="*/ 0 h 1020"/>
                <a:gd name="T188" fmla="*/ 768 w 768"/>
                <a:gd name="T189" fmla="*/ 1020 h 102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8" h="1020">
                  <a:moveTo>
                    <a:pt x="715" y="150"/>
                  </a:moveTo>
                  <a:lnTo>
                    <a:pt x="709" y="154"/>
                  </a:lnTo>
                  <a:lnTo>
                    <a:pt x="700" y="154"/>
                  </a:lnTo>
                  <a:lnTo>
                    <a:pt x="689" y="154"/>
                  </a:lnTo>
                  <a:lnTo>
                    <a:pt x="678" y="154"/>
                  </a:lnTo>
                  <a:lnTo>
                    <a:pt x="676" y="148"/>
                  </a:lnTo>
                  <a:lnTo>
                    <a:pt x="676" y="145"/>
                  </a:lnTo>
                  <a:lnTo>
                    <a:pt x="679" y="143"/>
                  </a:lnTo>
                  <a:lnTo>
                    <a:pt x="683" y="143"/>
                  </a:lnTo>
                  <a:lnTo>
                    <a:pt x="689" y="135"/>
                  </a:lnTo>
                  <a:lnTo>
                    <a:pt x="692" y="133"/>
                  </a:lnTo>
                  <a:lnTo>
                    <a:pt x="698" y="132"/>
                  </a:lnTo>
                  <a:lnTo>
                    <a:pt x="702" y="133"/>
                  </a:lnTo>
                  <a:lnTo>
                    <a:pt x="709" y="141"/>
                  </a:lnTo>
                  <a:lnTo>
                    <a:pt x="715" y="150"/>
                  </a:lnTo>
                  <a:close/>
                  <a:moveTo>
                    <a:pt x="668" y="1020"/>
                  </a:moveTo>
                  <a:lnTo>
                    <a:pt x="670" y="1019"/>
                  </a:lnTo>
                  <a:lnTo>
                    <a:pt x="670" y="1017"/>
                  </a:lnTo>
                  <a:lnTo>
                    <a:pt x="676" y="1011"/>
                  </a:lnTo>
                  <a:lnTo>
                    <a:pt x="683" y="1009"/>
                  </a:lnTo>
                  <a:lnTo>
                    <a:pt x="687" y="1006"/>
                  </a:lnTo>
                  <a:lnTo>
                    <a:pt x="691" y="1004"/>
                  </a:lnTo>
                  <a:lnTo>
                    <a:pt x="694" y="998"/>
                  </a:lnTo>
                  <a:lnTo>
                    <a:pt x="698" y="993"/>
                  </a:lnTo>
                  <a:lnTo>
                    <a:pt x="705" y="978"/>
                  </a:lnTo>
                  <a:lnTo>
                    <a:pt x="709" y="965"/>
                  </a:lnTo>
                  <a:lnTo>
                    <a:pt x="716" y="959"/>
                  </a:lnTo>
                  <a:lnTo>
                    <a:pt x="722" y="952"/>
                  </a:lnTo>
                  <a:lnTo>
                    <a:pt x="726" y="947"/>
                  </a:lnTo>
                  <a:lnTo>
                    <a:pt x="727" y="939"/>
                  </a:lnTo>
                  <a:lnTo>
                    <a:pt x="718" y="924"/>
                  </a:lnTo>
                  <a:lnTo>
                    <a:pt x="709" y="910"/>
                  </a:lnTo>
                  <a:lnTo>
                    <a:pt x="713" y="908"/>
                  </a:lnTo>
                  <a:lnTo>
                    <a:pt x="716" y="910"/>
                  </a:lnTo>
                  <a:lnTo>
                    <a:pt x="718" y="908"/>
                  </a:lnTo>
                  <a:lnTo>
                    <a:pt x="722" y="893"/>
                  </a:lnTo>
                  <a:lnTo>
                    <a:pt x="740" y="889"/>
                  </a:lnTo>
                  <a:lnTo>
                    <a:pt x="755" y="884"/>
                  </a:lnTo>
                  <a:lnTo>
                    <a:pt x="757" y="871"/>
                  </a:lnTo>
                  <a:lnTo>
                    <a:pt x="755" y="856"/>
                  </a:lnTo>
                  <a:lnTo>
                    <a:pt x="763" y="841"/>
                  </a:lnTo>
                  <a:lnTo>
                    <a:pt x="768" y="826"/>
                  </a:lnTo>
                  <a:lnTo>
                    <a:pt x="764" y="821"/>
                  </a:lnTo>
                  <a:lnTo>
                    <a:pt x="759" y="819"/>
                  </a:lnTo>
                  <a:lnTo>
                    <a:pt x="751" y="817"/>
                  </a:lnTo>
                  <a:lnTo>
                    <a:pt x="744" y="817"/>
                  </a:lnTo>
                  <a:lnTo>
                    <a:pt x="737" y="815"/>
                  </a:lnTo>
                  <a:lnTo>
                    <a:pt x="729" y="813"/>
                  </a:lnTo>
                  <a:lnTo>
                    <a:pt x="724" y="810"/>
                  </a:lnTo>
                  <a:lnTo>
                    <a:pt x="718" y="804"/>
                  </a:lnTo>
                  <a:lnTo>
                    <a:pt x="716" y="797"/>
                  </a:lnTo>
                  <a:lnTo>
                    <a:pt x="716" y="789"/>
                  </a:lnTo>
                  <a:lnTo>
                    <a:pt x="718" y="782"/>
                  </a:lnTo>
                  <a:lnTo>
                    <a:pt x="722" y="777"/>
                  </a:lnTo>
                  <a:lnTo>
                    <a:pt x="724" y="769"/>
                  </a:lnTo>
                  <a:lnTo>
                    <a:pt x="726" y="762"/>
                  </a:lnTo>
                  <a:lnTo>
                    <a:pt x="726" y="751"/>
                  </a:lnTo>
                  <a:lnTo>
                    <a:pt x="724" y="740"/>
                  </a:lnTo>
                  <a:lnTo>
                    <a:pt x="713" y="725"/>
                  </a:lnTo>
                  <a:lnTo>
                    <a:pt x="700" y="708"/>
                  </a:lnTo>
                  <a:lnTo>
                    <a:pt x="698" y="701"/>
                  </a:lnTo>
                  <a:lnTo>
                    <a:pt x="698" y="695"/>
                  </a:lnTo>
                  <a:lnTo>
                    <a:pt x="698" y="692"/>
                  </a:lnTo>
                  <a:lnTo>
                    <a:pt x="700" y="690"/>
                  </a:lnTo>
                  <a:lnTo>
                    <a:pt x="703" y="686"/>
                  </a:lnTo>
                  <a:lnTo>
                    <a:pt x="707" y="680"/>
                  </a:lnTo>
                  <a:lnTo>
                    <a:pt x="702" y="668"/>
                  </a:lnTo>
                  <a:lnTo>
                    <a:pt x="698" y="656"/>
                  </a:lnTo>
                  <a:lnTo>
                    <a:pt x="702" y="651"/>
                  </a:lnTo>
                  <a:lnTo>
                    <a:pt x="707" y="645"/>
                  </a:lnTo>
                  <a:lnTo>
                    <a:pt x="711" y="642"/>
                  </a:lnTo>
                  <a:lnTo>
                    <a:pt x="713" y="638"/>
                  </a:lnTo>
                  <a:lnTo>
                    <a:pt x="715" y="634"/>
                  </a:lnTo>
                  <a:lnTo>
                    <a:pt x="715" y="629"/>
                  </a:lnTo>
                  <a:lnTo>
                    <a:pt x="702" y="610"/>
                  </a:lnTo>
                  <a:lnTo>
                    <a:pt x="692" y="594"/>
                  </a:lnTo>
                  <a:lnTo>
                    <a:pt x="698" y="581"/>
                  </a:lnTo>
                  <a:lnTo>
                    <a:pt x="702" y="568"/>
                  </a:lnTo>
                  <a:lnTo>
                    <a:pt x="696" y="547"/>
                  </a:lnTo>
                  <a:lnTo>
                    <a:pt x="691" y="529"/>
                  </a:lnTo>
                  <a:lnTo>
                    <a:pt x="702" y="533"/>
                  </a:lnTo>
                  <a:lnTo>
                    <a:pt x="718" y="536"/>
                  </a:lnTo>
                  <a:lnTo>
                    <a:pt x="720" y="527"/>
                  </a:lnTo>
                  <a:lnTo>
                    <a:pt x="720" y="518"/>
                  </a:lnTo>
                  <a:lnTo>
                    <a:pt x="727" y="514"/>
                  </a:lnTo>
                  <a:lnTo>
                    <a:pt x="735" y="510"/>
                  </a:lnTo>
                  <a:lnTo>
                    <a:pt x="737" y="509"/>
                  </a:lnTo>
                  <a:lnTo>
                    <a:pt x="740" y="503"/>
                  </a:lnTo>
                  <a:lnTo>
                    <a:pt x="742" y="496"/>
                  </a:lnTo>
                  <a:lnTo>
                    <a:pt x="744" y="486"/>
                  </a:lnTo>
                  <a:lnTo>
                    <a:pt x="742" y="477"/>
                  </a:lnTo>
                  <a:lnTo>
                    <a:pt x="740" y="466"/>
                  </a:lnTo>
                  <a:lnTo>
                    <a:pt x="739" y="457"/>
                  </a:lnTo>
                  <a:lnTo>
                    <a:pt x="739" y="448"/>
                  </a:lnTo>
                  <a:lnTo>
                    <a:pt x="739" y="437"/>
                  </a:lnTo>
                  <a:lnTo>
                    <a:pt x="733" y="424"/>
                  </a:lnTo>
                  <a:lnTo>
                    <a:pt x="729" y="422"/>
                  </a:lnTo>
                  <a:lnTo>
                    <a:pt x="724" y="422"/>
                  </a:lnTo>
                  <a:lnTo>
                    <a:pt x="716" y="424"/>
                  </a:lnTo>
                  <a:lnTo>
                    <a:pt x="709" y="425"/>
                  </a:lnTo>
                  <a:lnTo>
                    <a:pt x="700" y="427"/>
                  </a:lnTo>
                  <a:lnTo>
                    <a:pt x="692" y="427"/>
                  </a:lnTo>
                  <a:lnTo>
                    <a:pt x="683" y="427"/>
                  </a:lnTo>
                  <a:lnTo>
                    <a:pt x="678" y="424"/>
                  </a:lnTo>
                  <a:lnTo>
                    <a:pt x="670" y="400"/>
                  </a:lnTo>
                  <a:lnTo>
                    <a:pt x="663" y="385"/>
                  </a:lnTo>
                  <a:lnTo>
                    <a:pt x="661" y="379"/>
                  </a:lnTo>
                  <a:lnTo>
                    <a:pt x="659" y="376"/>
                  </a:lnTo>
                  <a:lnTo>
                    <a:pt x="657" y="370"/>
                  </a:lnTo>
                  <a:lnTo>
                    <a:pt x="659" y="363"/>
                  </a:lnTo>
                  <a:lnTo>
                    <a:pt x="663" y="357"/>
                  </a:lnTo>
                  <a:lnTo>
                    <a:pt x="666" y="353"/>
                  </a:lnTo>
                  <a:lnTo>
                    <a:pt x="672" y="352"/>
                  </a:lnTo>
                  <a:lnTo>
                    <a:pt x="678" y="350"/>
                  </a:lnTo>
                  <a:lnTo>
                    <a:pt x="685" y="346"/>
                  </a:lnTo>
                  <a:lnTo>
                    <a:pt x="691" y="342"/>
                  </a:lnTo>
                  <a:lnTo>
                    <a:pt x="698" y="335"/>
                  </a:lnTo>
                  <a:lnTo>
                    <a:pt x="705" y="324"/>
                  </a:lnTo>
                  <a:lnTo>
                    <a:pt x="716" y="324"/>
                  </a:lnTo>
                  <a:lnTo>
                    <a:pt x="726" y="324"/>
                  </a:lnTo>
                  <a:lnTo>
                    <a:pt x="729" y="318"/>
                  </a:lnTo>
                  <a:lnTo>
                    <a:pt x="731" y="311"/>
                  </a:lnTo>
                  <a:lnTo>
                    <a:pt x="731" y="302"/>
                  </a:lnTo>
                  <a:lnTo>
                    <a:pt x="731" y="292"/>
                  </a:lnTo>
                  <a:lnTo>
                    <a:pt x="731" y="279"/>
                  </a:lnTo>
                  <a:lnTo>
                    <a:pt x="729" y="270"/>
                  </a:lnTo>
                  <a:lnTo>
                    <a:pt x="727" y="261"/>
                  </a:lnTo>
                  <a:lnTo>
                    <a:pt x="722" y="254"/>
                  </a:lnTo>
                  <a:lnTo>
                    <a:pt x="718" y="248"/>
                  </a:lnTo>
                  <a:lnTo>
                    <a:pt x="713" y="241"/>
                  </a:lnTo>
                  <a:lnTo>
                    <a:pt x="709" y="235"/>
                  </a:lnTo>
                  <a:lnTo>
                    <a:pt x="707" y="228"/>
                  </a:lnTo>
                  <a:lnTo>
                    <a:pt x="709" y="222"/>
                  </a:lnTo>
                  <a:lnTo>
                    <a:pt x="713" y="220"/>
                  </a:lnTo>
                  <a:lnTo>
                    <a:pt x="720" y="218"/>
                  </a:lnTo>
                  <a:lnTo>
                    <a:pt x="726" y="217"/>
                  </a:lnTo>
                  <a:lnTo>
                    <a:pt x="731" y="213"/>
                  </a:lnTo>
                  <a:lnTo>
                    <a:pt x="737" y="207"/>
                  </a:lnTo>
                  <a:lnTo>
                    <a:pt x="740" y="196"/>
                  </a:lnTo>
                  <a:lnTo>
                    <a:pt x="740" y="180"/>
                  </a:lnTo>
                  <a:lnTo>
                    <a:pt x="727" y="178"/>
                  </a:lnTo>
                  <a:lnTo>
                    <a:pt x="720" y="174"/>
                  </a:lnTo>
                  <a:lnTo>
                    <a:pt x="716" y="170"/>
                  </a:lnTo>
                  <a:lnTo>
                    <a:pt x="716" y="167"/>
                  </a:lnTo>
                  <a:lnTo>
                    <a:pt x="715" y="163"/>
                  </a:lnTo>
                  <a:lnTo>
                    <a:pt x="716" y="159"/>
                  </a:lnTo>
                  <a:lnTo>
                    <a:pt x="703" y="161"/>
                  </a:lnTo>
                  <a:lnTo>
                    <a:pt x="689" y="163"/>
                  </a:lnTo>
                  <a:lnTo>
                    <a:pt x="694" y="174"/>
                  </a:lnTo>
                  <a:lnTo>
                    <a:pt x="702" y="187"/>
                  </a:lnTo>
                  <a:lnTo>
                    <a:pt x="700" y="193"/>
                  </a:lnTo>
                  <a:lnTo>
                    <a:pt x="698" y="198"/>
                  </a:lnTo>
                  <a:lnTo>
                    <a:pt x="694" y="200"/>
                  </a:lnTo>
                  <a:lnTo>
                    <a:pt x="689" y="200"/>
                  </a:lnTo>
                  <a:lnTo>
                    <a:pt x="683" y="198"/>
                  </a:lnTo>
                  <a:lnTo>
                    <a:pt x="679" y="196"/>
                  </a:lnTo>
                  <a:lnTo>
                    <a:pt x="676" y="193"/>
                  </a:lnTo>
                  <a:lnTo>
                    <a:pt x="676" y="189"/>
                  </a:lnTo>
                  <a:lnTo>
                    <a:pt x="674" y="183"/>
                  </a:lnTo>
                  <a:lnTo>
                    <a:pt x="672" y="176"/>
                  </a:lnTo>
                  <a:lnTo>
                    <a:pt x="670" y="174"/>
                  </a:lnTo>
                  <a:lnTo>
                    <a:pt x="668" y="172"/>
                  </a:lnTo>
                  <a:lnTo>
                    <a:pt x="663" y="174"/>
                  </a:lnTo>
                  <a:lnTo>
                    <a:pt x="659" y="176"/>
                  </a:lnTo>
                  <a:lnTo>
                    <a:pt x="655" y="176"/>
                  </a:lnTo>
                  <a:lnTo>
                    <a:pt x="650" y="176"/>
                  </a:lnTo>
                  <a:lnTo>
                    <a:pt x="646" y="176"/>
                  </a:lnTo>
                  <a:lnTo>
                    <a:pt x="644" y="178"/>
                  </a:lnTo>
                  <a:lnTo>
                    <a:pt x="642" y="189"/>
                  </a:lnTo>
                  <a:lnTo>
                    <a:pt x="642" y="196"/>
                  </a:lnTo>
                  <a:lnTo>
                    <a:pt x="642" y="204"/>
                  </a:lnTo>
                  <a:lnTo>
                    <a:pt x="642" y="209"/>
                  </a:lnTo>
                  <a:lnTo>
                    <a:pt x="648" y="217"/>
                  </a:lnTo>
                  <a:lnTo>
                    <a:pt x="654" y="224"/>
                  </a:lnTo>
                  <a:lnTo>
                    <a:pt x="657" y="228"/>
                  </a:lnTo>
                  <a:lnTo>
                    <a:pt x="661" y="233"/>
                  </a:lnTo>
                  <a:lnTo>
                    <a:pt x="666" y="237"/>
                  </a:lnTo>
                  <a:lnTo>
                    <a:pt x="676" y="239"/>
                  </a:lnTo>
                  <a:lnTo>
                    <a:pt x="679" y="250"/>
                  </a:lnTo>
                  <a:lnTo>
                    <a:pt x="683" y="261"/>
                  </a:lnTo>
                  <a:lnTo>
                    <a:pt x="687" y="265"/>
                  </a:lnTo>
                  <a:lnTo>
                    <a:pt x="692" y="268"/>
                  </a:lnTo>
                  <a:lnTo>
                    <a:pt x="696" y="270"/>
                  </a:lnTo>
                  <a:lnTo>
                    <a:pt x="698" y="272"/>
                  </a:lnTo>
                  <a:lnTo>
                    <a:pt x="698" y="274"/>
                  </a:lnTo>
                  <a:lnTo>
                    <a:pt x="698" y="278"/>
                  </a:lnTo>
                  <a:lnTo>
                    <a:pt x="694" y="278"/>
                  </a:lnTo>
                  <a:lnTo>
                    <a:pt x="689" y="278"/>
                  </a:lnTo>
                  <a:lnTo>
                    <a:pt x="681" y="274"/>
                  </a:lnTo>
                  <a:lnTo>
                    <a:pt x="670" y="267"/>
                  </a:lnTo>
                  <a:lnTo>
                    <a:pt x="665" y="255"/>
                  </a:lnTo>
                  <a:lnTo>
                    <a:pt x="657" y="244"/>
                  </a:lnTo>
                  <a:lnTo>
                    <a:pt x="644" y="244"/>
                  </a:lnTo>
                  <a:lnTo>
                    <a:pt x="633" y="241"/>
                  </a:lnTo>
                  <a:lnTo>
                    <a:pt x="626" y="230"/>
                  </a:lnTo>
                  <a:lnTo>
                    <a:pt x="618" y="222"/>
                  </a:lnTo>
                  <a:lnTo>
                    <a:pt x="615" y="220"/>
                  </a:lnTo>
                  <a:lnTo>
                    <a:pt x="613" y="217"/>
                  </a:lnTo>
                  <a:lnTo>
                    <a:pt x="613" y="211"/>
                  </a:lnTo>
                  <a:lnTo>
                    <a:pt x="617" y="206"/>
                  </a:lnTo>
                  <a:lnTo>
                    <a:pt x="620" y="198"/>
                  </a:lnTo>
                  <a:lnTo>
                    <a:pt x="624" y="193"/>
                  </a:lnTo>
                  <a:lnTo>
                    <a:pt x="624" y="187"/>
                  </a:lnTo>
                  <a:lnTo>
                    <a:pt x="624" y="182"/>
                  </a:lnTo>
                  <a:lnTo>
                    <a:pt x="622" y="178"/>
                  </a:lnTo>
                  <a:lnTo>
                    <a:pt x="622" y="172"/>
                  </a:lnTo>
                  <a:lnTo>
                    <a:pt x="622" y="169"/>
                  </a:lnTo>
                  <a:lnTo>
                    <a:pt x="624" y="165"/>
                  </a:lnTo>
                  <a:lnTo>
                    <a:pt x="628" y="158"/>
                  </a:lnTo>
                  <a:lnTo>
                    <a:pt x="633" y="154"/>
                  </a:lnTo>
                  <a:lnTo>
                    <a:pt x="641" y="148"/>
                  </a:lnTo>
                  <a:lnTo>
                    <a:pt x="650" y="146"/>
                  </a:lnTo>
                  <a:lnTo>
                    <a:pt x="648" y="139"/>
                  </a:lnTo>
                  <a:lnTo>
                    <a:pt x="648" y="130"/>
                  </a:lnTo>
                  <a:lnTo>
                    <a:pt x="650" y="122"/>
                  </a:lnTo>
                  <a:lnTo>
                    <a:pt x="650" y="113"/>
                  </a:lnTo>
                  <a:lnTo>
                    <a:pt x="652" y="106"/>
                  </a:lnTo>
                  <a:lnTo>
                    <a:pt x="652" y="100"/>
                  </a:lnTo>
                  <a:lnTo>
                    <a:pt x="650" y="97"/>
                  </a:lnTo>
                  <a:lnTo>
                    <a:pt x="644" y="95"/>
                  </a:lnTo>
                  <a:lnTo>
                    <a:pt x="641" y="102"/>
                  </a:lnTo>
                  <a:lnTo>
                    <a:pt x="635" y="108"/>
                  </a:lnTo>
                  <a:lnTo>
                    <a:pt x="637" y="115"/>
                  </a:lnTo>
                  <a:lnTo>
                    <a:pt x="637" y="122"/>
                  </a:lnTo>
                  <a:lnTo>
                    <a:pt x="635" y="128"/>
                  </a:lnTo>
                  <a:lnTo>
                    <a:pt x="630" y="135"/>
                  </a:lnTo>
                  <a:lnTo>
                    <a:pt x="618" y="148"/>
                  </a:lnTo>
                  <a:lnTo>
                    <a:pt x="607" y="158"/>
                  </a:lnTo>
                  <a:lnTo>
                    <a:pt x="594" y="158"/>
                  </a:lnTo>
                  <a:lnTo>
                    <a:pt x="582" y="158"/>
                  </a:lnTo>
                  <a:lnTo>
                    <a:pt x="574" y="165"/>
                  </a:lnTo>
                  <a:lnTo>
                    <a:pt x="567" y="174"/>
                  </a:lnTo>
                  <a:lnTo>
                    <a:pt x="559" y="178"/>
                  </a:lnTo>
                  <a:lnTo>
                    <a:pt x="552" y="185"/>
                  </a:lnTo>
                  <a:lnTo>
                    <a:pt x="557" y="198"/>
                  </a:lnTo>
                  <a:lnTo>
                    <a:pt x="561" y="211"/>
                  </a:lnTo>
                  <a:lnTo>
                    <a:pt x="557" y="220"/>
                  </a:lnTo>
                  <a:lnTo>
                    <a:pt x="556" y="230"/>
                  </a:lnTo>
                  <a:lnTo>
                    <a:pt x="557" y="246"/>
                  </a:lnTo>
                  <a:lnTo>
                    <a:pt x="557" y="261"/>
                  </a:lnTo>
                  <a:lnTo>
                    <a:pt x="550" y="270"/>
                  </a:lnTo>
                  <a:lnTo>
                    <a:pt x="543" y="278"/>
                  </a:lnTo>
                  <a:lnTo>
                    <a:pt x="535" y="281"/>
                  </a:lnTo>
                  <a:lnTo>
                    <a:pt x="528" y="287"/>
                  </a:lnTo>
                  <a:lnTo>
                    <a:pt x="526" y="294"/>
                  </a:lnTo>
                  <a:lnTo>
                    <a:pt x="522" y="303"/>
                  </a:lnTo>
                  <a:lnTo>
                    <a:pt x="515" y="315"/>
                  </a:lnTo>
                  <a:lnTo>
                    <a:pt x="508" y="326"/>
                  </a:lnTo>
                  <a:lnTo>
                    <a:pt x="508" y="339"/>
                  </a:lnTo>
                  <a:lnTo>
                    <a:pt x="506" y="348"/>
                  </a:lnTo>
                  <a:lnTo>
                    <a:pt x="502" y="357"/>
                  </a:lnTo>
                  <a:lnTo>
                    <a:pt x="497" y="364"/>
                  </a:lnTo>
                  <a:lnTo>
                    <a:pt x="497" y="366"/>
                  </a:lnTo>
                  <a:lnTo>
                    <a:pt x="498" y="368"/>
                  </a:lnTo>
                  <a:lnTo>
                    <a:pt x="500" y="368"/>
                  </a:lnTo>
                  <a:lnTo>
                    <a:pt x="504" y="368"/>
                  </a:lnTo>
                  <a:lnTo>
                    <a:pt x="511" y="368"/>
                  </a:lnTo>
                  <a:lnTo>
                    <a:pt x="517" y="370"/>
                  </a:lnTo>
                  <a:lnTo>
                    <a:pt x="522" y="377"/>
                  </a:lnTo>
                  <a:lnTo>
                    <a:pt x="526" y="381"/>
                  </a:lnTo>
                  <a:lnTo>
                    <a:pt x="530" y="381"/>
                  </a:lnTo>
                  <a:lnTo>
                    <a:pt x="533" y="379"/>
                  </a:lnTo>
                  <a:lnTo>
                    <a:pt x="537" y="377"/>
                  </a:lnTo>
                  <a:lnTo>
                    <a:pt x="541" y="374"/>
                  </a:lnTo>
                  <a:lnTo>
                    <a:pt x="546" y="374"/>
                  </a:lnTo>
                  <a:lnTo>
                    <a:pt x="552" y="376"/>
                  </a:lnTo>
                  <a:lnTo>
                    <a:pt x="561" y="383"/>
                  </a:lnTo>
                  <a:lnTo>
                    <a:pt x="567" y="390"/>
                  </a:lnTo>
                  <a:lnTo>
                    <a:pt x="576" y="394"/>
                  </a:lnTo>
                  <a:lnTo>
                    <a:pt x="580" y="398"/>
                  </a:lnTo>
                  <a:lnTo>
                    <a:pt x="580" y="403"/>
                  </a:lnTo>
                  <a:lnTo>
                    <a:pt x="582" y="411"/>
                  </a:lnTo>
                  <a:lnTo>
                    <a:pt x="594" y="420"/>
                  </a:lnTo>
                  <a:lnTo>
                    <a:pt x="600" y="425"/>
                  </a:lnTo>
                  <a:lnTo>
                    <a:pt x="602" y="429"/>
                  </a:lnTo>
                  <a:lnTo>
                    <a:pt x="602" y="433"/>
                  </a:lnTo>
                  <a:lnTo>
                    <a:pt x="602" y="437"/>
                  </a:lnTo>
                  <a:lnTo>
                    <a:pt x="598" y="442"/>
                  </a:lnTo>
                  <a:lnTo>
                    <a:pt x="600" y="455"/>
                  </a:lnTo>
                  <a:lnTo>
                    <a:pt x="602" y="461"/>
                  </a:lnTo>
                  <a:lnTo>
                    <a:pt x="600" y="464"/>
                  </a:lnTo>
                  <a:lnTo>
                    <a:pt x="594" y="470"/>
                  </a:lnTo>
                  <a:lnTo>
                    <a:pt x="593" y="475"/>
                  </a:lnTo>
                  <a:lnTo>
                    <a:pt x="591" y="481"/>
                  </a:lnTo>
                  <a:lnTo>
                    <a:pt x="585" y="481"/>
                  </a:lnTo>
                  <a:lnTo>
                    <a:pt x="580" y="485"/>
                  </a:lnTo>
                  <a:lnTo>
                    <a:pt x="578" y="490"/>
                  </a:lnTo>
                  <a:lnTo>
                    <a:pt x="576" y="498"/>
                  </a:lnTo>
                  <a:lnTo>
                    <a:pt x="572" y="505"/>
                  </a:lnTo>
                  <a:lnTo>
                    <a:pt x="572" y="512"/>
                  </a:lnTo>
                  <a:lnTo>
                    <a:pt x="572" y="516"/>
                  </a:lnTo>
                  <a:lnTo>
                    <a:pt x="574" y="520"/>
                  </a:lnTo>
                  <a:lnTo>
                    <a:pt x="583" y="527"/>
                  </a:lnTo>
                  <a:lnTo>
                    <a:pt x="600" y="533"/>
                  </a:lnTo>
                  <a:lnTo>
                    <a:pt x="602" y="536"/>
                  </a:lnTo>
                  <a:lnTo>
                    <a:pt x="604" y="549"/>
                  </a:lnTo>
                  <a:lnTo>
                    <a:pt x="609" y="555"/>
                  </a:lnTo>
                  <a:lnTo>
                    <a:pt x="615" y="564"/>
                  </a:lnTo>
                  <a:lnTo>
                    <a:pt x="617" y="570"/>
                  </a:lnTo>
                  <a:lnTo>
                    <a:pt x="618" y="573"/>
                  </a:lnTo>
                  <a:lnTo>
                    <a:pt x="617" y="577"/>
                  </a:lnTo>
                  <a:lnTo>
                    <a:pt x="615" y="579"/>
                  </a:lnTo>
                  <a:lnTo>
                    <a:pt x="604" y="564"/>
                  </a:lnTo>
                  <a:lnTo>
                    <a:pt x="591" y="544"/>
                  </a:lnTo>
                  <a:lnTo>
                    <a:pt x="572" y="536"/>
                  </a:lnTo>
                  <a:lnTo>
                    <a:pt x="557" y="529"/>
                  </a:lnTo>
                  <a:lnTo>
                    <a:pt x="556" y="525"/>
                  </a:lnTo>
                  <a:lnTo>
                    <a:pt x="554" y="520"/>
                  </a:lnTo>
                  <a:lnTo>
                    <a:pt x="554" y="514"/>
                  </a:lnTo>
                  <a:lnTo>
                    <a:pt x="554" y="509"/>
                  </a:lnTo>
                  <a:lnTo>
                    <a:pt x="554" y="503"/>
                  </a:lnTo>
                  <a:lnTo>
                    <a:pt x="556" y="498"/>
                  </a:lnTo>
                  <a:lnTo>
                    <a:pt x="559" y="492"/>
                  </a:lnTo>
                  <a:lnTo>
                    <a:pt x="563" y="488"/>
                  </a:lnTo>
                  <a:lnTo>
                    <a:pt x="572" y="477"/>
                  </a:lnTo>
                  <a:lnTo>
                    <a:pt x="576" y="466"/>
                  </a:lnTo>
                  <a:lnTo>
                    <a:pt x="576" y="455"/>
                  </a:lnTo>
                  <a:lnTo>
                    <a:pt x="570" y="437"/>
                  </a:lnTo>
                  <a:lnTo>
                    <a:pt x="569" y="418"/>
                  </a:lnTo>
                  <a:lnTo>
                    <a:pt x="569" y="409"/>
                  </a:lnTo>
                  <a:lnTo>
                    <a:pt x="565" y="407"/>
                  </a:lnTo>
                  <a:lnTo>
                    <a:pt x="561" y="407"/>
                  </a:lnTo>
                  <a:lnTo>
                    <a:pt x="552" y="405"/>
                  </a:lnTo>
                  <a:lnTo>
                    <a:pt x="539" y="405"/>
                  </a:lnTo>
                  <a:lnTo>
                    <a:pt x="530" y="405"/>
                  </a:lnTo>
                  <a:lnTo>
                    <a:pt x="521" y="401"/>
                  </a:lnTo>
                  <a:lnTo>
                    <a:pt x="515" y="401"/>
                  </a:lnTo>
                  <a:lnTo>
                    <a:pt x="513" y="401"/>
                  </a:lnTo>
                  <a:lnTo>
                    <a:pt x="509" y="403"/>
                  </a:lnTo>
                  <a:lnTo>
                    <a:pt x="508" y="405"/>
                  </a:lnTo>
                  <a:lnTo>
                    <a:pt x="506" y="411"/>
                  </a:lnTo>
                  <a:lnTo>
                    <a:pt x="504" y="416"/>
                  </a:lnTo>
                  <a:lnTo>
                    <a:pt x="498" y="420"/>
                  </a:lnTo>
                  <a:lnTo>
                    <a:pt x="493" y="427"/>
                  </a:lnTo>
                  <a:lnTo>
                    <a:pt x="495" y="438"/>
                  </a:lnTo>
                  <a:lnTo>
                    <a:pt x="497" y="451"/>
                  </a:lnTo>
                  <a:lnTo>
                    <a:pt x="497" y="464"/>
                  </a:lnTo>
                  <a:lnTo>
                    <a:pt x="491" y="477"/>
                  </a:lnTo>
                  <a:lnTo>
                    <a:pt x="478" y="485"/>
                  </a:lnTo>
                  <a:lnTo>
                    <a:pt x="461" y="496"/>
                  </a:lnTo>
                  <a:lnTo>
                    <a:pt x="447" y="512"/>
                  </a:lnTo>
                  <a:lnTo>
                    <a:pt x="426" y="531"/>
                  </a:lnTo>
                  <a:lnTo>
                    <a:pt x="402" y="538"/>
                  </a:lnTo>
                  <a:lnTo>
                    <a:pt x="386" y="544"/>
                  </a:lnTo>
                  <a:lnTo>
                    <a:pt x="375" y="549"/>
                  </a:lnTo>
                  <a:lnTo>
                    <a:pt x="367" y="553"/>
                  </a:lnTo>
                  <a:lnTo>
                    <a:pt x="364" y="557"/>
                  </a:lnTo>
                  <a:lnTo>
                    <a:pt x="360" y="558"/>
                  </a:lnTo>
                  <a:lnTo>
                    <a:pt x="356" y="560"/>
                  </a:lnTo>
                  <a:lnTo>
                    <a:pt x="349" y="562"/>
                  </a:lnTo>
                  <a:lnTo>
                    <a:pt x="338" y="555"/>
                  </a:lnTo>
                  <a:lnTo>
                    <a:pt x="327" y="549"/>
                  </a:lnTo>
                  <a:lnTo>
                    <a:pt x="317" y="546"/>
                  </a:lnTo>
                  <a:lnTo>
                    <a:pt x="304" y="542"/>
                  </a:lnTo>
                  <a:lnTo>
                    <a:pt x="297" y="534"/>
                  </a:lnTo>
                  <a:lnTo>
                    <a:pt x="290" y="525"/>
                  </a:lnTo>
                  <a:lnTo>
                    <a:pt x="284" y="520"/>
                  </a:lnTo>
                  <a:lnTo>
                    <a:pt x="280" y="512"/>
                  </a:lnTo>
                  <a:lnTo>
                    <a:pt x="277" y="499"/>
                  </a:lnTo>
                  <a:lnTo>
                    <a:pt x="275" y="488"/>
                  </a:lnTo>
                  <a:lnTo>
                    <a:pt x="279" y="488"/>
                  </a:lnTo>
                  <a:lnTo>
                    <a:pt x="282" y="490"/>
                  </a:lnTo>
                  <a:lnTo>
                    <a:pt x="286" y="494"/>
                  </a:lnTo>
                  <a:lnTo>
                    <a:pt x="288" y="499"/>
                  </a:lnTo>
                  <a:lnTo>
                    <a:pt x="291" y="509"/>
                  </a:lnTo>
                  <a:lnTo>
                    <a:pt x="297" y="514"/>
                  </a:lnTo>
                  <a:lnTo>
                    <a:pt x="301" y="503"/>
                  </a:lnTo>
                  <a:lnTo>
                    <a:pt x="304" y="496"/>
                  </a:lnTo>
                  <a:lnTo>
                    <a:pt x="310" y="509"/>
                  </a:lnTo>
                  <a:lnTo>
                    <a:pt x="312" y="522"/>
                  </a:lnTo>
                  <a:lnTo>
                    <a:pt x="319" y="525"/>
                  </a:lnTo>
                  <a:lnTo>
                    <a:pt x="330" y="525"/>
                  </a:lnTo>
                  <a:lnTo>
                    <a:pt x="343" y="525"/>
                  </a:lnTo>
                  <a:lnTo>
                    <a:pt x="351" y="522"/>
                  </a:lnTo>
                  <a:lnTo>
                    <a:pt x="352" y="512"/>
                  </a:lnTo>
                  <a:lnTo>
                    <a:pt x="356" y="507"/>
                  </a:lnTo>
                  <a:lnTo>
                    <a:pt x="371" y="505"/>
                  </a:lnTo>
                  <a:lnTo>
                    <a:pt x="380" y="505"/>
                  </a:lnTo>
                  <a:lnTo>
                    <a:pt x="388" y="501"/>
                  </a:lnTo>
                  <a:lnTo>
                    <a:pt x="391" y="499"/>
                  </a:lnTo>
                  <a:lnTo>
                    <a:pt x="399" y="488"/>
                  </a:lnTo>
                  <a:lnTo>
                    <a:pt x="412" y="468"/>
                  </a:lnTo>
                  <a:lnTo>
                    <a:pt x="421" y="468"/>
                  </a:lnTo>
                  <a:lnTo>
                    <a:pt x="432" y="468"/>
                  </a:lnTo>
                  <a:lnTo>
                    <a:pt x="437" y="466"/>
                  </a:lnTo>
                  <a:lnTo>
                    <a:pt x="439" y="461"/>
                  </a:lnTo>
                  <a:lnTo>
                    <a:pt x="441" y="455"/>
                  </a:lnTo>
                  <a:lnTo>
                    <a:pt x="441" y="449"/>
                  </a:lnTo>
                  <a:lnTo>
                    <a:pt x="443" y="437"/>
                  </a:lnTo>
                  <a:lnTo>
                    <a:pt x="445" y="429"/>
                  </a:lnTo>
                  <a:lnTo>
                    <a:pt x="450" y="422"/>
                  </a:lnTo>
                  <a:lnTo>
                    <a:pt x="461" y="418"/>
                  </a:lnTo>
                  <a:lnTo>
                    <a:pt x="469" y="414"/>
                  </a:lnTo>
                  <a:lnTo>
                    <a:pt x="473" y="411"/>
                  </a:lnTo>
                  <a:lnTo>
                    <a:pt x="474" y="407"/>
                  </a:lnTo>
                  <a:lnTo>
                    <a:pt x="474" y="403"/>
                  </a:lnTo>
                  <a:lnTo>
                    <a:pt x="469" y="392"/>
                  </a:lnTo>
                  <a:lnTo>
                    <a:pt x="461" y="379"/>
                  </a:lnTo>
                  <a:lnTo>
                    <a:pt x="461" y="364"/>
                  </a:lnTo>
                  <a:lnTo>
                    <a:pt x="463" y="353"/>
                  </a:lnTo>
                  <a:lnTo>
                    <a:pt x="467" y="344"/>
                  </a:lnTo>
                  <a:lnTo>
                    <a:pt x="474" y="333"/>
                  </a:lnTo>
                  <a:lnTo>
                    <a:pt x="476" y="324"/>
                  </a:lnTo>
                  <a:lnTo>
                    <a:pt x="480" y="313"/>
                  </a:lnTo>
                  <a:lnTo>
                    <a:pt x="482" y="307"/>
                  </a:lnTo>
                  <a:lnTo>
                    <a:pt x="485" y="302"/>
                  </a:lnTo>
                  <a:lnTo>
                    <a:pt x="489" y="296"/>
                  </a:lnTo>
                  <a:lnTo>
                    <a:pt x="495" y="292"/>
                  </a:lnTo>
                  <a:lnTo>
                    <a:pt x="498" y="278"/>
                  </a:lnTo>
                  <a:lnTo>
                    <a:pt x="502" y="261"/>
                  </a:lnTo>
                  <a:lnTo>
                    <a:pt x="509" y="254"/>
                  </a:lnTo>
                  <a:lnTo>
                    <a:pt x="515" y="250"/>
                  </a:lnTo>
                  <a:lnTo>
                    <a:pt x="519" y="244"/>
                  </a:lnTo>
                  <a:lnTo>
                    <a:pt x="522" y="239"/>
                  </a:lnTo>
                  <a:lnTo>
                    <a:pt x="526" y="230"/>
                  </a:lnTo>
                  <a:lnTo>
                    <a:pt x="528" y="215"/>
                  </a:lnTo>
                  <a:lnTo>
                    <a:pt x="524" y="196"/>
                  </a:lnTo>
                  <a:lnTo>
                    <a:pt x="519" y="180"/>
                  </a:lnTo>
                  <a:lnTo>
                    <a:pt x="519" y="176"/>
                  </a:lnTo>
                  <a:lnTo>
                    <a:pt x="521" y="172"/>
                  </a:lnTo>
                  <a:lnTo>
                    <a:pt x="524" y="169"/>
                  </a:lnTo>
                  <a:lnTo>
                    <a:pt x="528" y="167"/>
                  </a:lnTo>
                  <a:lnTo>
                    <a:pt x="535" y="163"/>
                  </a:lnTo>
                  <a:lnTo>
                    <a:pt x="543" y="161"/>
                  </a:lnTo>
                  <a:lnTo>
                    <a:pt x="556" y="141"/>
                  </a:lnTo>
                  <a:lnTo>
                    <a:pt x="570" y="124"/>
                  </a:lnTo>
                  <a:lnTo>
                    <a:pt x="576" y="115"/>
                  </a:lnTo>
                  <a:lnTo>
                    <a:pt x="580" y="104"/>
                  </a:lnTo>
                  <a:lnTo>
                    <a:pt x="582" y="93"/>
                  </a:lnTo>
                  <a:lnTo>
                    <a:pt x="582" y="76"/>
                  </a:lnTo>
                  <a:lnTo>
                    <a:pt x="580" y="69"/>
                  </a:lnTo>
                  <a:lnTo>
                    <a:pt x="576" y="63"/>
                  </a:lnTo>
                  <a:lnTo>
                    <a:pt x="572" y="60"/>
                  </a:lnTo>
                  <a:lnTo>
                    <a:pt x="567" y="56"/>
                  </a:lnTo>
                  <a:lnTo>
                    <a:pt x="552" y="50"/>
                  </a:lnTo>
                  <a:lnTo>
                    <a:pt x="533" y="47"/>
                  </a:lnTo>
                  <a:lnTo>
                    <a:pt x="530" y="37"/>
                  </a:lnTo>
                  <a:lnTo>
                    <a:pt x="524" y="32"/>
                  </a:lnTo>
                  <a:lnTo>
                    <a:pt x="506" y="45"/>
                  </a:lnTo>
                  <a:lnTo>
                    <a:pt x="493" y="56"/>
                  </a:lnTo>
                  <a:lnTo>
                    <a:pt x="491" y="61"/>
                  </a:lnTo>
                  <a:lnTo>
                    <a:pt x="487" y="67"/>
                  </a:lnTo>
                  <a:lnTo>
                    <a:pt x="484" y="71"/>
                  </a:lnTo>
                  <a:lnTo>
                    <a:pt x="480" y="76"/>
                  </a:lnTo>
                  <a:lnTo>
                    <a:pt x="469" y="84"/>
                  </a:lnTo>
                  <a:lnTo>
                    <a:pt x="460" y="95"/>
                  </a:lnTo>
                  <a:lnTo>
                    <a:pt x="450" y="104"/>
                  </a:lnTo>
                  <a:lnTo>
                    <a:pt x="441" y="113"/>
                  </a:lnTo>
                  <a:lnTo>
                    <a:pt x="432" y="119"/>
                  </a:lnTo>
                  <a:lnTo>
                    <a:pt x="421" y="122"/>
                  </a:lnTo>
                  <a:lnTo>
                    <a:pt x="402" y="128"/>
                  </a:lnTo>
                  <a:lnTo>
                    <a:pt x="380" y="132"/>
                  </a:lnTo>
                  <a:lnTo>
                    <a:pt x="376" y="133"/>
                  </a:lnTo>
                  <a:lnTo>
                    <a:pt x="376" y="135"/>
                  </a:lnTo>
                  <a:lnTo>
                    <a:pt x="376" y="137"/>
                  </a:lnTo>
                  <a:lnTo>
                    <a:pt x="378" y="139"/>
                  </a:lnTo>
                  <a:lnTo>
                    <a:pt x="382" y="145"/>
                  </a:lnTo>
                  <a:lnTo>
                    <a:pt x="382" y="148"/>
                  </a:lnTo>
                  <a:lnTo>
                    <a:pt x="376" y="152"/>
                  </a:lnTo>
                  <a:lnTo>
                    <a:pt x="375" y="156"/>
                  </a:lnTo>
                  <a:lnTo>
                    <a:pt x="373" y="158"/>
                  </a:lnTo>
                  <a:lnTo>
                    <a:pt x="375" y="161"/>
                  </a:lnTo>
                  <a:lnTo>
                    <a:pt x="380" y="167"/>
                  </a:lnTo>
                  <a:lnTo>
                    <a:pt x="382" y="172"/>
                  </a:lnTo>
                  <a:lnTo>
                    <a:pt x="376" y="178"/>
                  </a:lnTo>
                  <a:lnTo>
                    <a:pt x="369" y="183"/>
                  </a:lnTo>
                  <a:lnTo>
                    <a:pt x="365" y="196"/>
                  </a:lnTo>
                  <a:lnTo>
                    <a:pt x="364" y="206"/>
                  </a:lnTo>
                  <a:lnTo>
                    <a:pt x="341" y="220"/>
                  </a:lnTo>
                  <a:lnTo>
                    <a:pt x="332" y="230"/>
                  </a:lnTo>
                  <a:lnTo>
                    <a:pt x="336" y="239"/>
                  </a:lnTo>
                  <a:lnTo>
                    <a:pt x="343" y="252"/>
                  </a:lnTo>
                  <a:lnTo>
                    <a:pt x="345" y="259"/>
                  </a:lnTo>
                  <a:lnTo>
                    <a:pt x="345" y="265"/>
                  </a:lnTo>
                  <a:lnTo>
                    <a:pt x="349" y="267"/>
                  </a:lnTo>
                  <a:lnTo>
                    <a:pt x="356" y="267"/>
                  </a:lnTo>
                  <a:lnTo>
                    <a:pt x="352" y="279"/>
                  </a:lnTo>
                  <a:lnTo>
                    <a:pt x="343" y="291"/>
                  </a:lnTo>
                  <a:lnTo>
                    <a:pt x="343" y="300"/>
                  </a:lnTo>
                  <a:lnTo>
                    <a:pt x="343" y="307"/>
                  </a:lnTo>
                  <a:lnTo>
                    <a:pt x="345" y="315"/>
                  </a:lnTo>
                  <a:lnTo>
                    <a:pt x="349" y="322"/>
                  </a:lnTo>
                  <a:lnTo>
                    <a:pt x="351" y="335"/>
                  </a:lnTo>
                  <a:lnTo>
                    <a:pt x="349" y="342"/>
                  </a:lnTo>
                  <a:lnTo>
                    <a:pt x="345" y="346"/>
                  </a:lnTo>
                  <a:lnTo>
                    <a:pt x="332" y="352"/>
                  </a:lnTo>
                  <a:lnTo>
                    <a:pt x="327" y="355"/>
                  </a:lnTo>
                  <a:lnTo>
                    <a:pt x="321" y="359"/>
                  </a:lnTo>
                  <a:lnTo>
                    <a:pt x="319" y="361"/>
                  </a:lnTo>
                  <a:lnTo>
                    <a:pt x="316" y="363"/>
                  </a:lnTo>
                  <a:lnTo>
                    <a:pt x="312" y="363"/>
                  </a:lnTo>
                  <a:lnTo>
                    <a:pt x="308" y="361"/>
                  </a:lnTo>
                  <a:lnTo>
                    <a:pt x="310" y="355"/>
                  </a:lnTo>
                  <a:lnTo>
                    <a:pt x="312" y="350"/>
                  </a:lnTo>
                  <a:lnTo>
                    <a:pt x="306" y="346"/>
                  </a:lnTo>
                  <a:lnTo>
                    <a:pt x="301" y="340"/>
                  </a:lnTo>
                  <a:lnTo>
                    <a:pt x="303" y="333"/>
                  </a:lnTo>
                  <a:lnTo>
                    <a:pt x="304" y="324"/>
                  </a:lnTo>
                  <a:lnTo>
                    <a:pt x="299" y="316"/>
                  </a:lnTo>
                  <a:lnTo>
                    <a:pt x="293" y="309"/>
                  </a:lnTo>
                  <a:lnTo>
                    <a:pt x="293" y="303"/>
                  </a:lnTo>
                  <a:lnTo>
                    <a:pt x="291" y="298"/>
                  </a:lnTo>
                  <a:lnTo>
                    <a:pt x="284" y="289"/>
                  </a:lnTo>
                  <a:lnTo>
                    <a:pt x="275" y="279"/>
                  </a:lnTo>
                  <a:lnTo>
                    <a:pt x="275" y="272"/>
                  </a:lnTo>
                  <a:lnTo>
                    <a:pt x="273" y="267"/>
                  </a:lnTo>
                  <a:lnTo>
                    <a:pt x="266" y="265"/>
                  </a:lnTo>
                  <a:lnTo>
                    <a:pt x="260" y="267"/>
                  </a:lnTo>
                  <a:lnTo>
                    <a:pt x="258" y="278"/>
                  </a:lnTo>
                  <a:lnTo>
                    <a:pt x="255" y="287"/>
                  </a:lnTo>
                  <a:lnTo>
                    <a:pt x="249" y="294"/>
                  </a:lnTo>
                  <a:lnTo>
                    <a:pt x="245" y="300"/>
                  </a:lnTo>
                  <a:lnTo>
                    <a:pt x="234" y="309"/>
                  </a:lnTo>
                  <a:lnTo>
                    <a:pt x="225" y="322"/>
                  </a:lnTo>
                  <a:lnTo>
                    <a:pt x="234" y="344"/>
                  </a:lnTo>
                  <a:lnTo>
                    <a:pt x="242" y="370"/>
                  </a:lnTo>
                  <a:lnTo>
                    <a:pt x="232" y="372"/>
                  </a:lnTo>
                  <a:lnTo>
                    <a:pt x="227" y="372"/>
                  </a:lnTo>
                  <a:lnTo>
                    <a:pt x="225" y="377"/>
                  </a:lnTo>
                  <a:lnTo>
                    <a:pt x="223" y="385"/>
                  </a:lnTo>
                  <a:lnTo>
                    <a:pt x="208" y="388"/>
                  </a:lnTo>
                  <a:lnTo>
                    <a:pt x="184" y="390"/>
                  </a:lnTo>
                  <a:lnTo>
                    <a:pt x="171" y="401"/>
                  </a:lnTo>
                  <a:lnTo>
                    <a:pt x="155" y="411"/>
                  </a:lnTo>
                  <a:lnTo>
                    <a:pt x="133" y="405"/>
                  </a:lnTo>
                  <a:lnTo>
                    <a:pt x="105" y="401"/>
                  </a:lnTo>
                  <a:lnTo>
                    <a:pt x="96" y="405"/>
                  </a:lnTo>
                  <a:lnTo>
                    <a:pt x="88" y="409"/>
                  </a:lnTo>
                  <a:lnTo>
                    <a:pt x="83" y="413"/>
                  </a:lnTo>
                  <a:lnTo>
                    <a:pt x="79" y="418"/>
                  </a:lnTo>
                  <a:lnTo>
                    <a:pt x="70" y="427"/>
                  </a:lnTo>
                  <a:lnTo>
                    <a:pt x="61" y="437"/>
                  </a:lnTo>
                  <a:lnTo>
                    <a:pt x="48" y="437"/>
                  </a:lnTo>
                  <a:lnTo>
                    <a:pt x="33" y="437"/>
                  </a:lnTo>
                  <a:lnTo>
                    <a:pt x="37" y="457"/>
                  </a:lnTo>
                  <a:lnTo>
                    <a:pt x="38" y="479"/>
                  </a:lnTo>
                  <a:lnTo>
                    <a:pt x="14" y="512"/>
                  </a:lnTo>
                  <a:lnTo>
                    <a:pt x="0" y="533"/>
                  </a:lnTo>
                  <a:lnTo>
                    <a:pt x="5" y="538"/>
                  </a:lnTo>
                  <a:lnTo>
                    <a:pt x="16" y="542"/>
                  </a:lnTo>
                  <a:lnTo>
                    <a:pt x="18" y="549"/>
                  </a:lnTo>
                  <a:lnTo>
                    <a:pt x="20" y="555"/>
                  </a:lnTo>
                  <a:lnTo>
                    <a:pt x="24" y="562"/>
                  </a:lnTo>
                  <a:lnTo>
                    <a:pt x="27" y="566"/>
                  </a:lnTo>
                  <a:lnTo>
                    <a:pt x="38" y="570"/>
                  </a:lnTo>
                  <a:lnTo>
                    <a:pt x="51" y="571"/>
                  </a:lnTo>
                  <a:lnTo>
                    <a:pt x="62" y="571"/>
                  </a:lnTo>
                  <a:lnTo>
                    <a:pt x="74" y="573"/>
                  </a:lnTo>
                  <a:lnTo>
                    <a:pt x="86" y="573"/>
                  </a:lnTo>
                  <a:lnTo>
                    <a:pt x="98" y="577"/>
                  </a:lnTo>
                  <a:lnTo>
                    <a:pt x="110" y="586"/>
                  </a:lnTo>
                  <a:lnTo>
                    <a:pt x="125" y="597"/>
                  </a:lnTo>
                  <a:lnTo>
                    <a:pt x="127" y="603"/>
                  </a:lnTo>
                  <a:lnTo>
                    <a:pt x="125" y="607"/>
                  </a:lnTo>
                  <a:lnTo>
                    <a:pt x="122" y="610"/>
                  </a:lnTo>
                  <a:lnTo>
                    <a:pt x="118" y="612"/>
                  </a:lnTo>
                  <a:lnTo>
                    <a:pt x="114" y="614"/>
                  </a:lnTo>
                  <a:lnTo>
                    <a:pt x="110" y="616"/>
                  </a:lnTo>
                  <a:lnTo>
                    <a:pt x="109" y="619"/>
                  </a:lnTo>
                  <a:lnTo>
                    <a:pt x="109" y="623"/>
                  </a:lnTo>
                  <a:lnTo>
                    <a:pt x="133" y="649"/>
                  </a:lnTo>
                  <a:lnTo>
                    <a:pt x="149" y="662"/>
                  </a:lnTo>
                  <a:lnTo>
                    <a:pt x="158" y="656"/>
                  </a:lnTo>
                  <a:lnTo>
                    <a:pt x="168" y="649"/>
                  </a:lnTo>
                  <a:lnTo>
                    <a:pt x="175" y="651"/>
                  </a:lnTo>
                  <a:lnTo>
                    <a:pt x="182" y="653"/>
                  </a:lnTo>
                  <a:lnTo>
                    <a:pt x="184" y="642"/>
                  </a:lnTo>
                  <a:lnTo>
                    <a:pt x="186" y="632"/>
                  </a:lnTo>
                  <a:lnTo>
                    <a:pt x="192" y="632"/>
                  </a:lnTo>
                  <a:lnTo>
                    <a:pt x="195" y="634"/>
                  </a:lnTo>
                  <a:lnTo>
                    <a:pt x="197" y="640"/>
                  </a:lnTo>
                  <a:lnTo>
                    <a:pt x="201" y="647"/>
                  </a:lnTo>
                  <a:lnTo>
                    <a:pt x="203" y="655"/>
                  </a:lnTo>
                  <a:lnTo>
                    <a:pt x="208" y="664"/>
                  </a:lnTo>
                  <a:lnTo>
                    <a:pt x="214" y="671"/>
                  </a:lnTo>
                  <a:lnTo>
                    <a:pt x="223" y="679"/>
                  </a:lnTo>
                  <a:lnTo>
                    <a:pt x="223" y="699"/>
                  </a:lnTo>
                  <a:lnTo>
                    <a:pt x="223" y="728"/>
                  </a:lnTo>
                  <a:lnTo>
                    <a:pt x="225" y="738"/>
                  </a:lnTo>
                  <a:lnTo>
                    <a:pt x="231" y="745"/>
                  </a:lnTo>
                  <a:lnTo>
                    <a:pt x="236" y="753"/>
                  </a:lnTo>
                  <a:lnTo>
                    <a:pt x="242" y="760"/>
                  </a:lnTo>
                  <a:lnTo>
                    <a:pt x="242" y="767"/>
                  </a:lnTo>
                  <a:lnTo>
                    <a:pt x="242" y="777"/>
                  </a:lnTo>
                  <a:lnTo>
                    <a:pt x="243" y="780"/>
                  </a:lnTo>
                  <a:lnTo>
                    <a:pt x="245" y="782"/>
                  </a:lnTo>
                  <a:lnTo>
                    <a:pt x="251" y="786"/>
                  </a:lnTo>
                  <a:lnTo>
                    <a:pt x="256" y="788"/>
                  </a:lnTo>
                  <a:lnTo>
                    <a:pt x="271" y="788"/>
                  </a:lnTo>
                  <a:lnTo>
                    <a:pt x="286" y="791"/>
                  </a:lnTo>
                  <a:lnTo>
                    <a:pt x="297" y="801"/>
                  </a:lnTo>
                  <a:lnTo>
                    <a:pt x="310" y="812"/>
                  </a:lnTo>
                  <a:lnTo>
                    <a:pt x="323" y="823"/>
                  </a:lnTo>
                  <a:lnTo>
                    <a:pt x="338" y="830"/>
                  </a:lnTo>
                  <a:lnTo>
                    <a:pt x="358" y="834"/>
                  </a:lnTo>
                  <a:lnTo>
                    <a:pt x="376" y="836"/>
                  </a:lnTo>
                  <a:lnTo>
                    <a:pt x="382" y="854"/>
                  </a:lnTo>
                  <a:lnTo>
                    <a:pt x="389" y="873"/>
                  </a:lnTo>
                  <a:lnTo>
                    <a:pt x="402" y="873"/>
                  </a:lnTo>
                  <a:lnTo>
                    <a:pt x="417" y="876"/>
                  </a:lnTo>
                  <a:lnTo>
                    <a:pt x="424" y="898"/>
                  </a:lnTo>
                  <a:lnTo>
                    <a:pt x="432" y="919"/>
                  </a:lnTo>
                  <a:lnTo>
                    <a:pt x="443" y="923"/>
                  </a:lnTo>
                  <a:lnTo>
                    <a:pt x="454" y="923"/>
                  </a:lnTo>
                  <a:lnTo>
                    <a:pt x="461" y="923"/>
                  </a:lnTo>
                  <a:lnTo>
                    <a:pt x="469" y="924"/>
                  </a:lnTo>
                  <a:lnTo>
                    <a:pt x="478" y="928"/>
                  </a:lnTo>
                  <a:lnTo>
                    <a:pt x="491" y="934"/>
                  </a:lnTo>
                  <a:lnTo>
                    <a:pt x="498" y="934"/>
                  </a:lnTo>
                  <a:lnTo>
                    <a:pt x="509" y="932"/>
                  </a:lnTo>
                  <a:lnTo>
                    <a:pt x="519" y="928"/>
                  </a:lnTo>
                  <a:lnTo>
                    <a:pt x="528" y="923"/>
                  </a:lnTo>
                  <a:lnTo>
                    <a:pt x="537" y="919"/>
                  </a:lnTo>
                  <a:lnTo>
                    <a:pt x="546" y="915"/>
                  </a:lnTo>
                  <a:lnTo>
                    <a:pt x="554" y="913"/>
                  </a:lnTo>
                  <a:lnTo>
                    <a:pt x="561" y="913"/>
                  </a:lnTo>
                  <a:lnTo>
                    <a:pt x="570" y="928"/>
                  </a:lnTo>
                  <a:lnTo>
                    <a:pt x="583" y="948"/>
                  </a:lnTo>
                  <a:lnTo>
                    <a:pt x="589" y="948"/>
                  </a:lnTo>
                  <a:lnTo>
                    <a:pt x="594" y="948"/>
                  </a:lnTo>
                  <a:lnTo>
                    <a:pt x="598" y="950"/>
                  </a:lnTo>
                  <a:lnTo>
                    <a:pt x="604" y="952"/>
                  </a:lnTo>
                  <a:lnTo>
                    <a:pt x="611" y="963"/>
                  </a:lnTo>
                  <a:lnTo>
                    <a:pt x="622" y="983"/>
                  </a:lnTo>
                  <a:lnTo>
                    <a:pt x="624" y="985"/>
                  </a:lnTo>
                  <a:lnTo>
                    <a:pt x="628" y="987"/>
                  </a:lnTo>
                  <a:lnTo>
                    <a:pt x="631" y="987"/>
                  </a:lnTo>
                  <a:lnTo>
                    <a:pt x="637" y="985"/>
                  </a:lnTo>
                  <a:lnTo>
                    <a:pt x="644" y="982"/>
                  </a:lnTo>
                  <a:lnTo>
                    <a:pt x="654" y="980"/>
                  </a:lnTo>
                  <a:lnTo>
                    <a:pt x="663" y="998"/>
                  </a:lnTo>
                  <a:lnTo>
                    <a:pt x="668" y="1020"/>
                  </a:lnTo>
                  <a:close/>
                  <a:moveTo>
                    <a:pt x="683" y="85"/>
                  </a:moveTo>
                  <a:lnTo>
                    <a:pt x="683" y="84"/>
                  </a:lnTo>
                  <a:lnTo>
                    <a:pt x="687" y="82"/>
                  </a:lnTo>
                  <a:lnTo>
                    <a:pt x="689" y="82"/>
                  </a:lnTo>
                  <a:lnTo>
                    <a:pt x="694" y="84"/>
                  </a:lnTo>
                  <a:lnTo>
                    <a:pt x="692" y="85"/>
                  </a:lnTo>
                  <a:lnTo>
                    <a:pt x="687" y="85"/>
                  </a:lnTo>
                  <a:lnTo>
                    <a:pt x="683" y="85"/>
                  </a:lnTo>
                  <a:close/>
                  <a:moveTo>
                    <a:pt x="694" y="52"/>
                  </a:moveTo>
                  <a:lnTo>
                    <a:pt x="694" y="58"/>
                  </a:lnTo>
                  <a:lnTo>
                    <a:pt x="694" y="61"/>
                  </a:lnTo>
                  <a:lnTo>
                    <a:pt x="696" y="63"/>
                  </a:lnTo>
                  <a:lnTo>
                    <a:pt x="700" y="65"/>
                  </a:lnTo>
                  <a:lnTo>
                    <a:pt x="702" y="61"/>
                  </a:lnTo>
                  <a:lnTo>
                    <a:pt x="700" y="58"/>
                  </a:lnTo>
                  <a:lnTo>
                    <a:pt x="696" y="54"/>
                  </a:lnTo>
                  <a:lnTo>
                    <a:pt x="694" y="52"/>
                  </a:lnTo>
                  <a:close/>
                  <a:moveTo>
                    <a:pt x="670" y="48"/>
                  </a:moveTo>
                  <a:lnTo>
                    <a:pt x="676" y="47"/>
                  </a:lnTo>
                  <a:lnTo>
                    <a:pt x="681" y="43"/>
                  </a:lnTo>
                  <a:lnTo>
                    <a:pt x="685" y="47"/>
                  </a:lnTo>
                  <a:lnTo>
                    <a:pt x="685" y="50"/>
                  </a:lnTo>
                  <a:lnTo>
                    <a:pt x="683" y="50"/>
                  </a:lnTo>
                  <a:lnTo>
                    <a:pt x="681" y="50"/>
                  </a:lnTo>
                  <a:lnTo>
                    <a:pt x="676" y="52"/>
                  </a:lnTo>
                  <a:lnTo>
                    <a:pt x="670" y="54"/>
                  </a:lnTo>
                  <a:lnTo>
                    <a:pt x="670" y="52"/>
                  </a:lnTo>
                  <a:lnTo>
                    <a:pt x="670" y="48"/>
                  </a:lnTo>
                  <a:close/>
                  <a:moveTo>
                    <a:pt x="648" y="65"/>
                  </a:moveTo>
                  <a:lnTo>
                    <a:pt x="648" y="71"/>
                  </a:lnTo>
                  <a:lnTo>
                    <a:pt x="646" y="74"/>
                  </a:lnTo>
                  <a:lnTo>
                    <a:pt x="642" y="76"/>
                  </a:lnTo>
                  <a:lnTo>
                    <a:pt x="637" y="80"/>
                  </a:lnTo>
                  <a:lnTo>
                    <a:pt x="635" y="80"/>
                  </a:lnTo>
                  <a:lnTo>
                    <a:pt x="635" y="76"/>
                  </a:lnTo>
                  <a:lnTo>
                    <a:pt x="635" y="74"/>
                  </a:lnTo>
                  <a:lnTo>
                    <a:pt x="635" y="73"/>
                  </a:lnTo>
                  <a:lnTo>
                    <a:pt x="639" y="67"/>
                  </a:lnTo>
                  <a:lnTo>
                    <a:pt x="648" y="65"/>
                  </a:lnTo>
                  <a:close/>
                  <a:moveTo>
                    <a:pt x="533" y="23"/>
                  </a:moveTo>
                  <a:lnTo>
                    <a:pt x="543" y="15"/>
                  </a:lnTo>
                  <a:lnTo>
                    <a:pt x="548" y="6"/>
                  </a:lnTo>
                  <a:lnTo>
                    <a:pt x="556" y="2"/>
                  </a:lnTo>
                  <a:lnTo>
                    <a:pt x="563" y="0"/>
                  </a:lnTo>
                  <a:lnTo>
                    <a:pt x="570" y="2"/>
                  </a:lnTo>
                  <a:lnTo>
                    <a:pt x="578" y="10"/>
                  </a:lnTo>
                  <a:lnTo>
                    <a:pt x="582" y="17"/>
                  </a:lnTo>
                  <a:lnTo>
                    <a:pt x="583" y="23"/>
                  </a:lnTo>
                  <a:lnTo>
                    <a:pt x="582" y="26"/>
                  </a:lnTo>
                  <a:lnTo>
                    <a:pt x="580" y="28"/>
                  </a:lnTo>
                  <a:lnTo>
                    <a:pt x="576" y="32"/>
                  </a:lnTo>
                  <a:lnTo>
                    <a:pt x="570" y="34"/>
                  </a:lnTo>
                  <a:lnTo>
                    <a:pt x="561" y="34"/>
                  </a:lnTo>
                  <a:lnTo>
                    <a:pt x="552" y="30"/>
                  </a:lnTo>
                  <a:lnTo>
                    <a:pt x="543" y="30"/>
                  </a:lnTo>
                  <a:lnTo>
                    <a:pt x="537" y="30"/>
                  </a:lnTo>
                  <a:lnTo>
                    <a:pt x="533" y="28"/>
                  </a:lnTo>
                  <a:lnTo>
                    <a:pt x="533" y="2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0" name="Freeform 41"/>
            <p:cNvSpPr>
              <a:spLocks/>
            </p:cNvSpPr>
            <p:nvPr/>
          </p:nvSpPr>
          <p:spPr bwMode="auto">
            <a:xfrm>
              <a:off x="4446854" y="2178523"/>
              <a:ext cx="481092" cy="379641"/>
            </a:xfrm>
            <a:custGeom>
              <a:avLst/>
              <a:gdLst>
                <a:gd name="T0" fmla="*/ 486 w 922"/>
                <a:gd name="T1" fmla="*/ 700 h 746"/>
                <a:gd name="T2" fmla="*/ 545 w 922"/>
                <a:gd name="T3" fmla="*/ 661 h 746"/>
                <a:gd name="T4" fmla="*/ 580 w 922"/>
                <a:gd name="T5" fmla="*/ 622 h 746"/>
                <a:gd name="T6" fmla="*/ 611 w 922"/>
                <a:gd name="T7" fmla="*/ 617 h 746"/>
                <a:gd name="T8" fmla="*/ 658 w 922"/>
                <a:gd name="T9" fmla="*/ 633 h 746"/>
                <a:gd name="T10" fmla="*/ 700 w 922"/>
                <a:gd name="T11" fmla="*/ 657 h 746"/>
                <a:gd name="T12" fmla="*/ 733 w 922"/>
                <a:gd name="T13" fmla="*/ 676 h 746"/>
                <a:gd name="T14" fmla="*/ 794 w 922"/>
                <a:gd name="T15" fmla="*/ 680 h 746"/>
                <a:gd name="T16" fmla="*/ 872 w 922"/>
                <a:gd name="T17" fmla="*/ 680 h 746"/>
                <a:gd name="T18" fmla="*/ 920 w 922"/>
                <a:gd name="T19" fmla="*/ 663 h 746"/>
                <a:gd name="T20" fmla="*/ 898 w 922"/>
                <a:gd name="T21" fmla="*/ 628 h 746"/>
                <a:gd name="T22" fmla="*/ 890 w 922"/>
                <a:gd name="T23" fmla="*/ 583 h 746"/>
                <a:gd name="T24" fmla="*/ 853 w 922"/>
                <a:gd name="T25" fmla="*/ 550 h 746"/>
                <a:gd name="T26" fmla="*/ 826 w 922"/>
                <a:gd name="T27" fmla="*/ 515 h 746"/>
                <a:gd name="T28" fmla="*/ 792 w 922"/>
                <a:gd name="T29" fmla="*/ 491 h 746"/>
                <a:gd name="T30" fmla="*/ 750 w 922"/>
                <a:gd name="T31" fmla="*/ 486 h 746"/>
                <a:gd name="T32" fmla="*/ 700 w 922"/>
                <a:gd name="T33" fmla="*/ 491 h 746"/>
                <a:gd name="T34" fmla="*/ 654 w 922"/>
                <a:gd name="T35" fmla="*/ 482 h 746"/>
                <a:gd name="T36" fmla="*/ 604 w 922"/>
                <a:gd name="T37" fmla="*/ 417 h 746"/>
                <a:gd name="T38" fmla="*/ 532 w 922"/>
                <a:gd name="T39" fmla="*/ 375 h 746"/>
                <a:gd name="T40" fmla="*/ 473 w 922"/>
                <a:gd name="T41" fmla="*/ 349 h 746"/>
                <a:gd name="T42" fmla="*/ 464 w 922"/>
                <a:gd name="T43" fmla="*/ 323 h 746"/>
                <a:gd name="T44" fmla="*/ 445 w 922"/>
                <a:gd name="T45" fmla="*/ 262 h 746"/>
                <a:gd name="T46" fmla="*/ 423 w 922"/>
                <a:gd name="T47" fmla="*/ 210 h 746"/>
                <a:gd name="T48" fmla="*/ 406 w 922"/>
                <a:gd name="T49" fmla="*/ 205 h 746"/>
                <a:gd name="T50" fmla="*/ 371 w 922"/>
                <a:gd name="T51" fmla="*/ 225 h 746"/>
                <a:gd name="T52" fmla="*/ 336 w 922"/>
                <a:gd name="T53" fmla="*/ 177 h 746"/>
                <a:gd name="T54" fmla="*/ 347 w 922"/>
                <a:gd name="T55" fmla="*/ 160 h 746"/>
                <a:gd name="T56" fmla="*/ 284 w 922"/>
                <a:gd name="T57" fmla="*/ 134 h 746"/>
                <a:gd name="T58" fmla="*/ 242 w 922"/>
                <a:gd name="T59" fmla="*/ 118 h 746"/>
                <a:gd name="T60" fmla="*/ 236 w 922"/>
                <a:gd name="T61" fmla="*/ 75 h 746"/>
                <a:gd name="T62" fmla="*/ 240 w 922"/>
                <a:gd name="T63" fmla="*/ 0 h 746"/>
                <a:gd name="T64" fmla="*/ 199 w 922"/>
                <a:gd name="T65" fmla="*/ 25 h 746"/>
                <a:gd name="T66" fmla="*/ 163 w 922"/>
                <a:gd name="T67" fmla="*/ 5 h 746"/>
                <a:gd name="T68" fmla="*/ 140 w 922"/>
                <a:gd name="T69" fmla="*/ 24 h 746"/>
                <a:gd name="T70" fmla="*/ 114 w 922"/>
                <a:gd name="T71" fmla="*/ 38 h 746"/>
                <a:gd name="T72" fmla="*/ 96 w 922"/>
                <a:gd name="T73" fmla="*/ 92 h 746"/>
                <a:gd name="T74" fmla="*/ 39 w 922"/>
                <a:gd name="T75" fmla="*/ 157 h 746"/>
                <a:gd name="T76" fmla="*/ 31 w 922"/>
                <a:gd name="T77" fmla="*/ 184 h 746"/>
                <a:gd name="T78" fmla="*/ 0 w 922"/>
                <a:gd name="T79" fmla="*/ 210 h 746"/>
                <a:gd name="T80" fmla="*/ 26 w 922"/>
                <a:gd name="T81" fmla="*/ 251 h 746"/>
                <a:gd name="T82" fmla="*/ 63 w 922"/>
                <a:gd name="T83" fmla="*/ 291 h 746"/>
                <a:gd name="T84" fmla="*/ 65 w 922"/>
                <a:gd name="T85" fmla="*/ 358 h 746"/>
                <a:gd name="T86" fmla="*/ 55 w 922"/>
                <a:gd name="T87" fmla="*/ 408 h 746"/>
                <a:gd name="T88" fmla="*/ 59 w 922"/>
                <a:gd name="T89" fmla="*/ 491 h 746"/>
                <a:gd name="T90" fmla="*/ 72 w 922"/>
                <a:gd name="T91" fmla="*/ 543 h 746"/>
                <a:gd name="T92" fmla="*/ 89 w 922"/>
                <a:gd name="T93" fmla="*/ 593 h 746"/>
                <a:gd name="T94" fmla="*/ 155 w 922"/>
                <a:gd name="T95" fmla="*/ 587 h 746"/>
                <a:gd name="T96" fmla="*/ 238 w 922"/>
                <a:gd name="T97" fmla="*/ 569 h 746"/>
                <a:gd name="T98" fmla="*/ 299 w 922"/>
                <a:gd name="T99" fmla="*/ 583 h 746"/>
                <a:gd name="T100" fmla="*/ 344 w 922"/>
                <a:gd name="T101" fmla="*/ 602 h 746"/>
                <a:gd name="T102" fmla="*/ 369 w 922"/>
                <a:gd name="T103" fmla="*/ 678 h 746"/>
                <a:gd name="T104" fmla="*/ 390 w 922"/>
                <a:gd name="T105" fmla="*/ 707 h 746"/>
                <a:gd name="T106" fmla="*/ 412 w 922"/>
                <a:gd name="T107" fmla="*/ 728 h 74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22"/>
                <a:gd name="T163" fmla="*/ 0 h 746"/>
                <a:gd name="T164" fmla="*/ 922 w 922"/>
                <a:gd name="T165" fmla="*/ 746 h 74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22" h="746">
                  <a:moveTo>
                    <a:pt x="447" y="746"/>
                  </a:moveTo>
                  <a:lnTo>
                    <a:pt x="458" y="742"/>
                  </a:lnTo>
                  <a:lnTo>
                    <a:pt x="469" y="737"/>
                  </a:lnTo>
                  <a:lnTo>
                    <a:pt x="477" y="718"/>
                  </a:lnTo>
                  <a:lnTo>
                    <a:pt x="486" y="700"/>
                  </a:lnTo>
                  <a:lnTo>
                    <a:pt x="506" y="698"/>
                  </a:lnTo>
                  <a:lnTo>
                    <a:pt x="525" y="694"/>
                  </a:lnTo>
                  <a:lnTo>
                    <a:pt x="532" y="681"/>
                  </a:lnTo>
                  <a:lnTo>
                    <a:pt x="536" y="672"/>
                  </a:lnTo>
                  <a:lnTo>
                    <a:pt x="545" y="661"/>
                  </a:lnTo>
                  <a:lnTo>
                    <a:pt x="554" y="652"/>
                  </a:lnTo>
                  <a:lnTo>
                    <a:pt x="558" y="643"/>
                  </a:lnTo>
                  <a:lnTo>
                    <a:pt x="560" y="633"/>
                  </a:lnTo>
                  <a:lnTo>
                    <a:pt x="571" y="628"/>
                  </a:lnTo>
                  <a:lnTo>
                    <a:pt x="580" y="622"/>
                  </a:lnTo>
                  <a:lnTo>
                    <a:pt x="586" y="617"/>
                  </a:lnTo>
                  <a:lnTo>
                    <a:pt x="589" y="611"/>
                  </a:lnTo>
                  <a:lnTo>
                    <a:pt x="595" y="609"/>
                  </a:lnTo>
                  <a:lnTo>
                    <a:pt x="598" y="607"/>
                  </a:lnTo>
                  <a:lnTo>
                    <a:pt x="611" y="617"/>
                  </a:lnTo>
                  <a:lnTo>
                    <a:pt x="624" y="628"/>
                  </a:lnTo>
                  <a:lnTo>
                    <a:pt x="635" y="633"/>
                  </a:lnTo>
                  <a:lnTo>
                    <a:pt x="645" y="633"/>
                  </a:lnTo>
                  <a:lnTo>
                    <a:pt x="652" y="633"/>
                  </a:lnTo>
                  <a:lnTo>
                    <a:pt x="658" y="633"/>
                  </a:lnTo>
                  <a:lnTo>
                    <a:pt x="663" y="643"/>
                  </a:lnTo>
                  <a:lnTo>
                    <a:pt x="672" y="652"/>
                  </a:lnTo>
                  <a:lnTo>
                    <a:pt x="683" y="656"/>
                  </a:lnTo>
                  <a:lnTo>
                    <a:pt x="693" y="657"/>
                  </a:lnTo>
                  <a:lnTo>
                    <a:pt x="700" y="657"/>
                  </a:lnTo>
                  <a:lnTo>
                    <a:pt x="707" y="657"/>
                  </a:lnTo>
                  <a:lnTo>
                    <a:pt x="717" y="656"/>
                  </a:lnTo>
                  <a:lnTo>
                    <a:pt x="724" y="656"/>
                  </a:lnTo>
                  <a:lnTo>
                    <a:pt x="728" y="665"/>
                  </a:lnTo>
                  <a:lnTo>
                    <a:pt x="733" y="676"/>
                  </a:lnTo>
                  <a:lnTo>
                    <a:pt x="746" y="676"/>
                  </a:lnTo>
                  <a:lnTo>
                    <a:pt x="761" y="676"/>
                  </a:lnTo>
                  <a:lnTo>
                    <a:pt x="765" y="685"/>
                  </a:lnTo>
                  <a:lnTo>
                    <a:pt x="772" y="691"/>
                  </a:lnTo>
                  <a:lnTo>
                    <a:pt x="794" y="680"/>
                  </a:lnTo>
                  <a:lnTo>
                    <a:pt x="818" y="670"/>
                  </a:lnTo>
                  <a:lnTo>
                    <a:pt x="835" y="678"/>
                  </a:lnTo>
                  <a:lnTo>
                    <a:pt x="855" y="683"/>
                  </a:lnTo>
                  <a:lnTo>
                    <a:pt x="872" y="680"/>
                  </a:lnTo>
                  <a:lnTo>
                    <a:pt x="890" y="676"/>
                  </a:lnTo>
                  <a:lnTo>
                    <a:pt x="901" y="674"/>
                  </a:lnTo>
                  <a:lnTo>
                    <a:pt x="909" y="672"/>
                  </a:lnTo>
                  <a:lnTo>
                    <a:pt x="916" y="668"/>
                  </a:lnTo>
                  <a:lnTo>
                    <a:pt x="920" y="663"/>
                  </a:lnTo>
                  <a:lnTo>
                    <a:pt x="922" y="652"/>
                  </a:lnTo>
                  <a:lnTo>
                    <a:pt x="922" y="644"/>
                  </a:lnTo>
                  <a:lnTo>
                    <a:pt x="918" y="637"/>
                  </a:lnTo>
                  <a:lnTo>
                    <a:pt x="911" y="633"/>
                  </a:lnTo>
                  <a:lnTo>
                    <a:pt x="898" y="628"/>
                  </a:lnTo>
                  <a:lnTo>
                    <a:pt x="888" y="620"/>
                  </a:lnTo>
                  <a:lnTo>
                    <a:pt x="885" y="611"/>
                  </a:lnTo>
                  <a:lnTo>
                    <a:pt x="885" y="602"/>
                  </a:lnTo>
                  <a:lnTo>
                    <a:pt x="887" y="595"/>
                  </a:lnTo>
                  <a:lnTo>
                    <a:pt x="890" y="583"/>
                  </a:lnTo>
                  <a:lnTo>
                    <a:pt x="885" y="561"/>
                  </a:lnTo>
                  <a:lnTo>
                    <a:pt x="876" y="543"/>
                  </a:lnTo>
                  <a:lnTo>
                    <a:pt x="866" y="545"/>
                  </a:lnTo>
                  <a:lnTo>
                    <a:pt x="859" y="548"/>
                  </a:lnTo>
                  <a:lnTo>
                    <a:pt x="853" y="550"/>
                  </a:lnTo>
                  <a:lnTo>
                    <a:pt x="850" y="550"/>
                  </a:lnTo>
                  <a:lnTo>
                    <a:pt x="846" y="548"/>
                  </a:lnTo>
                  <a:lnTo>
                    <a:pt x="844" y="546"/>
                  </a:lnTo>
                  <a:lnTo>
                    <a:pt x="833" y="526"/>
                  </a:lnTo>
                  <a:lnTo>
                    <a:pt x="826" y="515"/>
                  </a:lnTo>
                  <a:lnTo>
                    <a:pt x="820" y="513"/>
                  </a:lnTo>
                  <a:lnTo>
                    <a:pt x="816" y="511"/>
                  </a:lnTo>
                  <a:lnTo>
                    <a:pt x="811" y="511"/>
                  </a:lnTo>
                  <a:lnTo>
                    <a:pt x="805" y="511"/>
                  </a:lnTo>
                  <a:lnTo>
                    <a:pt x="792" y="491"/>
                  </a:lnTo>
                  <a:lnTo>
                    <a:pt x="783" y="476"/>
                  </a:lnTo>
                  <a:lnTo>
                    <a:pt x="776" y="476"/>
                  </a:lnTo>
                  <a:lnTo>
                    <a:pt x="768" y="478"/>
                  </a:lnTo>
                  <a:lnTo>
                    <a:pt x="759" y="482"/>
                  </a:lnTo>
                  <a:lnTo>
                    <a:pt x="750" y="486"/>
                  </a:lnTo>
                  <a:lnTo>
                    <a:pt x="741" y="491"/>
                  </a:lnTo>
                  <a:lnTo>
                    <a:pt x="731" y="495"/>
                  </a:lnTo>
                  <a:lnTo>
                    <a:pt x="720" y="497"/>
                  </a:lnTo>
                  <a:lnTo>
                    <a:pt x="713" y="497"/>
                  </a:lnTo>
                  <a:lnTo>
                    <a:pt x="700" y="491"/>
                  </a:lnTo>
                  <a:lnTo>
                    <a:pt x="691" y="487"/>
                  </a:lnTo>
                  <a:lnTo>
                    <a:pt x="683" y="486"/>
                  </a:lnTo>
                  <a:lnTo>
                    <a:pt x="676" y="486"/>
                  </a:lnTo>
                  <a:lnTo>
                    <a:pt x="665" y="486"/>
                  </a:lnTo>
                  <a:lnTo>
                    <a:pt x="654" y="482"/>
                  </a:lnTo>
                  <a:lnTo>
                    <a:pt x="646" y="461"/>
                  </a:lnTo>
                  <a:lnTo>
                    <a:pt x="639" y="439"/>
                  </a:lnTo>
                  <a:lnTo>
                    <a:pt x="624" y="436"/>
                  </a:lnTo>
                  <a:lnTo>
                    <a:pt x="611" y="436"/>
                  </a:lnTo>
                  <a:lnTo>
                    <a:pt x="604" y="417"/>
                  </a:lnTo>
                  <a:lnTo>
                    <a:pt x="598" y="399"/>
                  </a:lnTo>
                  <a:lnTo>
                    <a:pt x="580" y="397"/>
                  </a:lnTo>
                  <a:lnTo>
                    <a:pt x="560" y="393"/>
                  </a:lnTo>
                  <a:lnTo>
                    <a:pt x="545" y="386"/>
                  </a:lnTo>
                  <a:lnTo>
                    <a:pt x="532" y="375"/>
                  </a:lnTo>
                  <a:lnTo>
                    <a:pt x="519" y="364"/>
                  </a:lnTo>
                  <a:lnTo>
                    <a:pt x="508" y="354"/>
                  </a:lnTo>
                  <a:lnTo>
                    <a:pt x="493" y="351"/>
                  </a:lnTo>
                  <a:lnTo>
                    <a:pt x="478" y="351"/>
                  </a:lnTo>
                  <a:lnTo>
                    <a:pt x="473" y="349"/>
                  </a:lnTo>
                  <a:lnTo>
                    <a:pt x="467" y="345"/>
                  </a:lnTo>
                  <a:lnTo>
                    <a:pt x="465" y="343"/>
                  </a:lnTo>
                  <a:lnTo>
                    <a:pt x="464" y="340"/>
                  </a:lnTo>
                  <a:lnTo>
                    <a:pt x="464" y="330"/>
                  </a:lnTo>
                  <a:lnTo>
                    <a:pt x="464" y="323"/>
                  </a:lnTo>
                  <a:lnTo>
                    <a:pt x="458" y="316"/>
                  </a:lnTo>
                  <a:lnTo>
                    <a:pt x="453" y="308"/>
                  </a:lnTo>
                  <a:lnTo>
                    <a:pt x="447" y="301"/>
                  </a:lnTo>
                  <a:lnTo>
                    <a:pt x="445" y="291"/>
                  </a:lnTo>
                  <a:lnTo>
                    <a:pt x="445" y="262"/>
                  </a:lnTo>
                  <a:lnTo>
                    <a:pt x="445" y="242"/>
                  </a:lnTo>
                  <a:lnTo>
                    <a:pt x="436" y="234"/>
                  </a:lnTo>
                  <a:lnTo>
                    <a:pt x="430" y="227"/>
                  </a:lnTo>
                  <a:lnTo>
                    <a:pt x="425" y="218"/>
                  </a:lnTo>
                  <a:lnTo>
                    <a:pt x="423" y="210"/>
                  </a:lnTo>
                  <a:lnTo>
                    <a:pt x="419" y="203"/>
                  </a:lnTo>
                  <a:lnTo>
                    <a:pt x="417" y="197"/>
                  </a:lnTo>
                  <a:lnTo>
                    <a:pt x="414" y="195"/>
                  </a:lnTo>
                  <a:lnTo>
                    <a:pt x="408" y="195"/>
                  </a:lnTo>
                  <a:lnTo>
                    <a:pt x="406" y="205"/>
                  </a:lnTo>
                  <a:lnTo>
                    <a:pt x="404" y="216"/>
                  </a:lnTo>
                  <a:lnTo>
                    <a:pt x="397" y="214"/>
                  </a:lnTo>
                  <a:lnTo>
                    <a:pt x="390" y="212"/>
                  </a:lnTo>
                  <a:lnTo>
                    <a:pt x="380" y="219"/>
                  </a:lnTo>
                  <a:lnTo>
                    <a:pt x="371" y="225"/>
                  </a:lnTo>
                  <a:lnTo>
                    <a:pt x="355" y="212"/>
                  </a:lnTo>
                  <a:lnTo>
                    <a:pt x="331" y="186"/>
                  </a:lnTo>
                  <a:lnTo>
                    <a:pt x="331" y="182"/>
                  </a:lnTo>
                  <a:lnTo>
                    <a:pt x="332" y="179"/>
                  </a:lnTo>
                  <a:lnTo>
                    <a:pt x="336" y="177"/>
                  </a:lnTo>
                  <a:lnTo>
                    <a:pt x="340" y="175"/>
                  </a:lnTo>
                  <a:lnTo>
                    <a:pt x="344" y="173"/>
                  </a:lnTo>
                  <a:lnTo>
                    <a:pt x="347" y="170"/>
                  </a:lnTo>
                  <a:lnTo>
                    <a:pt x="349" y="166"/>
                  </a:lnTo>
                  <a:lnTo>
                    <a:pt x="347" y="160"/>
                  </a:lnTo>
                  <a:lnTo>
                    <a:pt x="332" y="149"/>
                  </a:lnTo>
                  <a:lnTo>
                    <a:pt x="320" y="140"/>
                  </a:lnTo>
                  <a:lnTo>
                    <a:pt x="308" y="136"/>
                  </a:lnTo>
                  <a:lnTo>
                    <a:pt x="296" y="136"/>
                  </a:lnTo>
                  <a:lnTo>
                    <a:pt x="284" y="134"/>
                  </a:lnTo>
                  <a:lnTo>
                    <a:pt x="273" y="134"/>
                  </a:lnTo>
                  <a:lnTo>
                    <a:pt x="260" y="133"/>
                  </a:lnTo>
                  <a:lnTo>
                    <a:pt x="249" y="129"/>
                  </a:lnTo>
                  <a:lnTo>
                    <a:pt x="246" y="125"/>
                  </a:lnTo>
                  <a:lnTo>
                    <a:pt x="242" y="118"/>
                  </a:lnTo>
                  <a:lnTo>
                    <a:pt x="240" y="112"/>
                  </a:lnTo>
                  <a:lnTo>
                    <a:pt x="238" y="105"/>
                  </a:lnTo>
                  <a:lnTo>
                    <a:pt x="227" y="101"/>
                  </a:lnTo>
                  <a:lnTo>
                    <a:pt x="222" y="96"/>
                  </a:lnTo>
                  <a:lnTo>
                    <a:pt x="236" y="75"/>
                  </a:lnTo>
                  <a:lnTo>
                    <a:pt x="260" y="42"/>
                  </a:lnTo>
                  <a:lnTo>
                    <a:pt x="259" y="20"/>
                  </a:lnTo>
                  <a:lnTo>
                    <a:pt x="255" y="0"/>
                  </a:lnTo>
                  <a:lnTo>
                    <a:pt x="247" y="0"/>
                  </a:lnTo>
                  <a:lnTo>
                    <a:pt x="240" y="0"/>
                  </a:lnTo>
                  <a:lnTo>
                    <a:pt x="231" y="5"/>
                  </a:lnTo>
                  <a:lnTo>
                    <a:pt x="222" y="9"/>
                  </a:lnTo>
                  <a:lnTo>
                    <a:pt x="214" y="14"/>
                  </a:lnTo>
                  <a:lnTo>
                    <a:pt x="207" y="20"/>
                  </a:lnTo>
                  <a:lnTo>
                    <a:pt x="199" y="25"/>
                  </a:lnTo>
                  <a:lnTo>
                    <a:pt x="192" y="31"/>
                  </a:lnTo>
                  <a:lnTo>
                    <a:pt x="183" y="35"/>
                  </a:lnTo>
                  <a:lnTo>
                    <a:pt x="172" y="38"/>
                  </a:lnTo>
                  <a:lnTo>
                    <a:pt x="168" y="18"/>
                  </a:lnTo>
                  <a:lnTo>
                    <a:pt x="163" y="5"/>
                  </a:lnTo>
                  <a:lnTo>
                    <a:pt x="157" y="5"/>
                  </a:lnTo>
                  <a:lnTo>
                    <a:pt x="151" y="9"/>
                  </a:lnTo>
                  <a:lnTo>
                    <a:pt x="146" y="14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38" y="27"/>
                  </a:lnTo>
                  <a:lnTo>
                    <a:pt x="137" y="31"/>
                  </a:lnTo>
                  <a:lnTo>
                    <a:pt x="133" y="33"/>
                  </a:lnTo>
                  <a:lnTo>
                    <a:pt x="126" y="35"/>
                  </a:lnTo>
                  <a:lnTo>
                    <a:pt x="114" y="38"/>
                  </a:lnTo>
                  <a:lnTo>
                    <a:pt x="114" y="48"/>
                  </a:lnTo>
                  <a:lnTo>
                    <a:pt x="113" y="61"/>
                  </a:lnTo>
                  <a:lnTo>
                    <a:pt x="111" y="70"/>
                  </a:lnTo>
                  <a:lnTo>
                    <a:pt x="105" y="81"/>
                  </a:lnTo>
                  <a:lnTo>
                    <a:pt x="96" y="92"/>
                  </a:lnTo>
                  <a:lnTo>
                    <a:pt x="85" y="103"/>
                  </a:lnTo>
                  <a:lnTo>
                    <a:pt x="72" y="112"/>
                  </a:lnTo>
                  <a:lnTo>
                    <a:pt x="59" y="123"/>
                  </a:lnTo>
                  <a:lnTo>
                    <a:pt x="48" y="144"/>
                  </a:lnTo>
                  <a:lnTo>
                    <a:pt x="39" y="157"/>
                  </a:lnTo>
                  <a:lnTo>
                    <a:pt x="35" y="162"/>
                  </a:lnTo>
                  <a:lnTo>
                    <a:pt x="31" y="168"/>
                  </a:lnTo>
                  <a:lnTo>
                    <a:pt x="31" y="173"/>
                  </a:lnTo>
                  <a:lnTo>
                    <a:pt x="31" y="179"/>
                  </a:lnTo>
                  <a:lnTo>
                    <a:pt x="31" y="184"/>
                  </a:lnTo>
                  <a:lnTo>
                    <a:pt x="28" y="190"/>
                  </a:lnTo>
                  <a:lnTo>
                    <a:pt x="26" y="194"/>
                  </a:lnTo>
                  <a:lnTo>
                    <a:pt x="20" y="199"/>
                  </a:lnTo>
                  <a:lnTo>
                    <a:pt x="11" y="205"/>
                  </a:lnTo>
                  <a:lnTo>
                    <a:pt x="0" y="210"/>
                  </a:lnTo>
                  <a:lnTo>
                    <a:pt x="5" y="221"/>
                  </a:lnTo>
                  <a:lnTo>
                    <a:pt x="9" y="234"/>
                  </a:lnTo>
                  <a:lnTo>
                    <a:pt x="13" y="240"/>
                  </a:lnTo>
                  <a:lnTo>
                    <a:pt x="18" y="245"/>
                  </a:lnTo>
                  <a:lnTo>
                    <a:pt x="26" y="251"/>
                  </a:lnTo>
                  <a:lnTo>
                    <a:pt x="37" y="256"/>
                  </a:lnTo>
                  <a:lnTo>
                    <a:pt x="42" y="264"/>
                  </a:lnTo>
                  <a:lnTo>
                    <a:pt x="54" y="279"/>
                  </a:lnTo>
                  <a:lnTo>
                    <a:pt x="59" y="284"/>
                  </a:lnTo>
                  <a:lnTo>
                    <a:pt x="63" y="291"/>
                  </a:lnTo>
                  <a:lnTo>
                    <a:pt x="66" y="301"/>
                  </a:lnTo>
                  <a:lnTo>
                    <a:pt x="70" y="312"/>
                  </a:lnTo>
                  <a:lnTo>
                    <a:pt x="74" y="332"/>
                  </a:lnTo>
                  <a:lnTo>
                    <a:pt x="76" y="347"/>
                  </a:lnTo>
                  <a:lnTo>
                    <a:pt x="65" y="358"/>
                  </a:lnTo>
                  <a:lnTo>
                    <a:pt x="55" y="369"/>
                  </a:lnTo>
                  <a:lnTo>
                    <a:pt x="57" y="375"/>
                  </a:lnTo>
                  <a:lnTo>
                    <a:pt x="59" y="382"/>
                  </a:lnTo>
                  <a:lnTo>
                    <a:pt x="57" y="395"/>
                  </a:lnTo>
                  <a:lnTo>
                    <a:pt x="55" y="408"/>
                  </a:lnTo>
                  <a:lnTo>
                    <a:pt x="59" y="421"/>
                  </a:lnTo>
                  <a:lnTo>
                    <a:pt x="63" y="432"/>
                  </a:lnTo>
                  <a:lnTo>
                    <a:pt x="54" y="454"/>
                  </a:lnTo>
                  <a:lnTo>
                    <a:pt x="44" y="476"/>
                  </a:lnTo>
                  <a:lnTo>
                    <a:pt x="59" y="491"/>
                  </a:lnTo>
                  <a:lnTo>
                    <a:pt x="74" y="506"/>
                  </a:lnTo>
                  <a:lnTo>
                    <a:pt x="76" y="515"/>
                  </a:lnTo>
                  <a:lnTo>
                    <a:pt x="76" y="524"/>
                  </a:lnTo>
                  <a:lnTo>
                    <a:pt x="74" y="534"/>
                  </a:lnTo>
                  <a:lnTo>
                    <a:pt x="72" y="543"/>
                  </a:lnTo>
                  <a:lnTo>
                    <a:pt x="70" y="554"/>
                  </a:lnTo>
                  <a:lnTo>
                    <a:pt x="72" y="563"/>
                  </a:lnTo>
                  <a:lnTo>
                    <a:pt x="74" y="574"/>
                  </a:lnTo>
                  <a:lnTo>
                    <a:pt x="79" y="587"/>
                  </a:lnTo>
                  <a:lnTo>
                    <a:pt x="89" y="593"/>
                  </a:lnTo>
                  <a:lnTo>
                    <a:pt x="98" y="595"/>
                  </a:lnTo>
                  <a:lnTo>
                    <a:pt x="107" y="596"/>
                  </a:lnTo>
                  <a:lnTo>
                    <a:pt x="116" y="595"/>
                  </a:lnTo>
                  <a:lnTo>
                    <a:pt x="135" y="591"/>
                  </a:lnTo>
                  <a:lnTo>
                    <a:pt x="155" y="587"/>
                  </a:lnTo>
                  <a:lnTo>
                    <a:pt x="168" y="585"/>
                  </a:lnTo>
                  <a:lnTo>
                    <a:pt x="183" y="585"/>
                  </a:lnTo>
                  <a:lnTo>
                    <a:pt x="198" y="587"/>
                  </a:lnTo>
                  <a:lnTo>
                    <a:pt x="211" y="585"/>
                  </a:lnTo>
                  <a:lnTo>
                    <a:pt x="238" y="569"/>
                  </a:lnTo>
                  <a:lnTo>
                    <a:pt x="255" y="558"/>
                  </a:lnTo>
                  <a:lnTo>
                    <a:pt x="264" y="572"/>
                  </a:lnTo>
                  <a:lnTo>
                    <a:pt x="271" y="587"/>
                  </a:lnTo>
                  <a:lnTo>
                    <a:pt x="284" y="587"/>
                  </a:lnTo>
                  <a:lnTo>
                    <a:pt x="299" y="583"/>
                  </a:lnTo>
                  <a:lnTo>
                    <a:pt x="308" y="583"/>
                  </a:lnTo>
                  <a:lnTo>
                    <a:pt x="318" y="583"/>
                  </a:lnTo>
                  <a:lnTo>
                    <a:pt x="327" y="587"/>
                  </a:lnTo>
                  <a:lnTo>
                    <a:pt x="336" y="593"/>
                  </a:lnTo>
                  <a:lnTo>
                    <a:pt x="344" y="602"/>
                  </a:lnTo>
                  <a:lnTo>
                    <a:pt x="349" y="613"/>
                  </a:lnTo>
                  <a:lnTo>
                    <a:pt x="353" y="630"/>
                  </a:lnTo>
                  <a:lnTo>
                    <a:pt x="353" y="654"/>
                  </a:lnTo>
                  <a:lnTo>
                    <a:pt x="362" y="667"/>
                  </a:lnTo>
                  <a:lnTo>
                    <a:pt x="369" y="678"/>
                  </a:lnTo>
                  <a:lnTo>
                    <a:pt x="366" y="685"/>
                  </a:lnTo>
                  <a:lnTo>
                    <a:pt x="364" y="698"/>
                  </a:lnTo>
                  <a:lnTo>
                    <a:pt x="371" y="704"/>
                  </a:lnTo>
                  <a:lnTo>
                    <a:pt x="380" y="705"/>
                  </a:lnTo>
                  <a:lnTo>
                    <a:pt x="390" y="707"/>
                  </a:lnTo>
                  <a:lnTo>
                    <a:pt x="395" y="707"/>
                  </a:lnTo>
                  <a:lnTo>
                    <a:pt x="403" y="713"/>
                  </a:lnTo>
                  <a:lnTo>
                    <a:pt x="406" y="716"/>
                  </a:lnTo>
                  <a:lnTo>
                    <a:pt x="410" y="722"/>
                  </a:lnTo>
                  <a:lnTo>
                    <a:pt x="412" y="728"/>
                  </a:lnTo>
                  <a:lnTo>
                    <a:pt x="417" y="733"/>
                  </a:lnTo>
                  <a:lnTo>
                    <a:pt x="423" y="737"/>
                  </a:lnTo>
                  <a:lnTo>
                    <a:pt x="432" y="742"/>
                  </a:lnTo>
                  <a:lnTo>
                    <a:pt x="447" y="74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1" name="Freeform 42"/>
            <p:cNvSpPr>
              <a:spLocks/>
            </p:cNvSpPr>
            <p:nvPr/>
          </p:nvSpPr>
          <p:spPr bwMode="auto">
            <a:xfrm>
              <a:off x="4420764" y="2462490"/>
              <a:ext cx="259331" cy="189821"/>
            </a:xfrm>
            <a:custGeom>
              <a:avLst/>
              <a:gdLst>
                <a:gd name="T0" fmla="*/ 133 w 497"/>
                <a:gd name="T1" fmla="*/ 340 h 373"/>
                <a:gd name="T2" fmla="*/ 152 w 497"/>
                <a:gd name="T3" fmla="*/ 358 h 373"/>
                <a:gd name="T4" fmla="*/ 170 w 497"/>
                <a:gd name="T5" fmla="*/ 371 h 373"/>
                <a:gd name="T6" fmla="*/ 201 w 497"/>
                <a:gd name="T7" fmla="*/ 362 h 373"/>
                <a:gd name="T8" fmla="*/ 211 w 497"/>
                <a:gd name="T9" fmla="*/ 325 h 373"/>
                <a:gd name="T10" fmla="*/ 224 w 497"/>
                <a:gd name="T11" fmla="*/ 319 h 373"/>
                <a:gd name="T12" fmla="*/ 225 w 497"/>
                <a:gd name="T13" fmla="*/ 312 h 373"/>
                <a:gd name="T14" fmla="*/ 240 w 497"/>
                <a:gd name="T15" fmla="*/ 303 h 373"/>
                <a:gd name="T16" fmla="*/ 251 w 497"/>
                <a:gd name="T17" fmla="*/ 288 h 373"/>
                <a:gd name="T18" fmla="*/ 261 w 497"/>
                <a:gd name="T19" fmla="*/ 282 h 373"/>
                <a:gd name="T20" fmla="*/ 277 w 497"/>
                <a:gd name="T21" fmla="*/ 282 h 373"/>
                <a:gd name="T22" fmla="*/ 285 w 497"/>
                <a:gd name="T23" fmla="*/ 275 h 373"/>
                <a:gd name="T24" fmla="*/ 286 w 497"/>
                <a:gd name="T25" fmla="*/ 247 h 373"/>
                <a:gd name="T26" fmla="*/ 273 w 497"/>
                <a:gd name="T27" fmla="*/ 188 h 373"/>
                <a:gd name="T28" fmla="*/ 290 w 497"/>
                <a:gd name="T29" fmla="*/ 147 h 373"/>
                <a:gd name="T30" fmla="*/ 309 w 497"/>
                <a:gd name="T31" fmla="*/ 133 h 373"/>
                <a:gd name="T32" fmla="*/ 321 w 497"/>
                <a:gd name="T33" fmla="*/ 134 h 373"/>
                <a:gd name="T34" fmla="*/ 323 w 497"/>
                <a:gd name="T35" fmla="*/ 177 h 373"/>
                <a:gd name="T36" fmla="*/ 375 w 497"/>
                <a:gd name="T37" fmla="*/ 201 h 373"/>
                <a:gd name="T38" fmla="*/ 419 w 497"/>
                <a:gd name="T39" fmla="*/ 201 h 373"/>
                <a:gd name="T40" fmla="*/ 467 w 497"/>
                <a:gd name="T41" fmla="*/ 203 h 373"/>
                <a:gd name="T42" fmla="*/ 497 w 497"/>
                <a:gd name="T43" fmla="*/ 188 h 373"/>
                <a:gd name="T44" fmla="*/ 473 w 497"/>
                <a:gd name="T45" fmla="*/ 179 h 373"/>
                <a:gd name="T46" fmla="*/ 460 w 497"/>
                <a:gd name="T47" fmla="*/ 164 h 373"/>
                <a:gd name="T48" fmla="*/ 445 w 497"/>
                <a:gd name="T49" fmla="*/ 149 h 373"/>
                <a:gd name="T50" fmla="*/ 421 w 497"/>
                <a:gd name="T51" fmla="*/ 146 h 373"/>
                <a:gd name="T52" fmla="*/ 419 w 497"/>
                <a:gd name="T53" fmla="*/ 120 h 373"/>
                <a:gd name="T54" fmla="*/ 403 w 497"/>
                <a:gd name="T55" fmla="*/ 72 h 373"/>
                <a:gd name="T56" fmla="*/ 386 w 497"/>
                <a:gd name="T57" fmla="*/ 35 h 373"/>
                <a:gd name="T58" fmla="*/ 358 w 497"/>
                <a:gd name="T59" fmla="*/ 25 h 373"/>
                <a:gd name="T60" fmla="*/ 321 w 497"/>
                <a:gd name="T61" fmla="*/ 29 h 373"/>
                <a:gd name="T62" fmla="*/ 288 w 497"/>
                <a:gd name="T63" fmla="*/ 11 h 373"/>
                <a:gd name="T64" fmla="*/ 233 w 497"/>
                <a:gd name="T65" fmla="*/ 27 h 373"/>
                <a:gd name="T66" fmla="*/ 185 w 497"/>
                <a:gd name="T67" fmla="*/ 33 h 373"/>
                <a:gd name="T68" fmla="*/ 148 w 497"/>
                <a:gd name="T69" fmla="*/ 37 h 373"/>
                <a:gd name="T70" fmla="*/ 129 w 497"/>
                <a:gd name="T71" fmla="*/ 29 h 373"/>
                <a:gd name="T72" fmla="*/ 120 w 497"/>
                <a:gd name="T73" fmla="*/ 42 h 373"/>
                <a:gd name="T74" fmla="*/ 118 w 497"/>
                <a:gd name="T75" fmla="*/ 64 h 373"/>
                <a:gd name="T76" fmla="*/ 116 w 497"/>
                <a:gd name="T77" fmla="*/ 72 h 373"/>
                <a:gd name="T78" fmla="*/ 74 w 497"/>
                <a:gd name="T79" fmla="*/ 81 h 373"/>
                <a:gd name="T80" fmla="*/ 50 w 497"/>
                <a:gd name="T81" fmla="*/ 75 h 373"/>
                <a:gd name="T82" fmla="*/ 31 w 497"/>
                <a:gd name="T83" fmla="*/ 107 h 373"/>
                <a:gd name="T84" fmla="*/ 7 w 497"/>
                <a:gd name="T85" fmla="*/ 146 h 373"/>
                <a:gd name="T86" fmla="*/ 0 w 497"/>
                <a:gd name="T87" fmla="*/ 162 h 373"/>
                <a:gd name="T88" fmla="*/ 7 w 497"/>
                <a:gd name="T89" fmla="*/ 181 h 373"/>
                <a:gd name="T90" fmla="*/ 35 w 497"/>
                <a:gd name="T91" fmla="*/ 212 h 373"/>
                <a:gd name="T92" fmla="*/ 61 w 497"/>
                <a:gd name="T93" fmla="*/ 236 h 373"/>
                <a:gd name="T94" fmla="*/ 91 w 497"/>
                <a:gd name="T95" fmla="*/ 280 h 373"/>
                <a:gd name="T96" fmla="*/ 115 w 497"/>
                <a:gd name="T97" fmla="*/ 310 h 373"/>
                <a:gd name="T98" fmla="*/ 116 w 497"/>
                <a:gd name="T99" fmla="*/ 319 h 373"/>
                <a:gd name="T100" fmla="*/ 115 w 497"/>
                <a:gd name="T101" fmla="*/ 336 h 3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97"/>
                <a:gd name="T154" fmla="*/ 0 h 373"/>
                <a:gd name="T155" fmla="*/ 497 w 497"/>
                <a:gd name="T156" fmla="*/ 373 h 3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97" h="373">
                  <a:moveTo>
                    <a:pt x="115" y="336"/>
                  </a:moveTo>
                  <a:lnTo>
                    <a:pt x="124" y="338"/>
                  </a:lnTo>
                  <a:lnTo>
                    <a:pt x="133" y="340"/>
                  </a:lnTo>
                  <a:lnTo>
                    <a:pt x="140" y="345"/>
                  </a:lnTo>
                  <a:lnTo>
                    <a:pt x="146" y="349"/>
                  </a:lnTo>
                  <a:lnTo>
                    <a:pt x="152" y="358"/>
                  </a:lnTo>
                  <a:lnTo>
                    <a:pt x="157" y="364"/>
                  </a:lnTo>
                  <a:lnTo>
                    <a:pt x="164" y="367"/>
                  </a:lnTo>
                  <a:lnTo>
                    <a:pt x="170" y="371"/>
                  </a:lnTo>
                  <a:lnTo>
                    <a:pt x="183" y="373"/>
                  </a:lnTo>
                  <a:lnTo>
                    <a:pt x="198" y="371"/>
                  </a:lnTo>
                  <a:lnTo>
                    <a:pt x="201" y="362"/>
                  </a:lnTo>
                  <a:lnTo>
                    <a:pt x="205" y="353"/>
                  </a:lnTo>
                  <a:lnTo>
                    <a:pt x="207" y="340"/>
                  </a:lnTo>
                  <a:lnTo>
                    <a:pt x="211" y="325"/>
                  </a:lnTo>
                  <a:lnTo>
                    <a:pt x="216" y="323"/>
                  </a:lnTo>
                  <a:lnTo>
                    <a:pt x="222" y="319"/>
                  </a:lnTo>
                  <a:lnTo>
                    <a:pt x="224" y="319"/>
                  </a:lnTo>
                  <a:lnTo>
                    <a:pt x="225" y="317"/>
                  </a:lnTo>
                  <a:lnTo>
                    <a:pt x="227" y="314"/>
                  </a:lnTo>
                  <a:lnTo>
                    <a:pt x="225" y="312"/>
                  </a:lnTo>
                  <a:lnTo>
                    <a:pt x="233" y="314"/>
                  </a:lnTo>
                  <a:lnTo>
                    <a:pt x="240" y="314"/>
                  </a:lnTo>
                  <a:lnTo>
                    <a:pt x="240" y="303"/>
                  </a:lnTo>
                  <a:lnTo>
                    <a:pt x="242" y="292"/>
                  </a:lnTo>
                  <a:lnTo>
                    <a:pt x="246" y="290"/>
                  </a:lnTo>
                  <a:lnTo>
                    <a:pt x="251" y="288"/>
                  </a:lnTo>
                  <a:lnTo>
                    <a:pt x="255" y="284"/>
                  </a:lnTo>
                  <a:lnTo>
                    <a:pt x="255" y="277"/>
                  </a:lnTo>
                  <a:lnTo>
                    <a:pt x="261" y="282"/>
                  </a:lnTo>
                  <a:lnTo>
                    <a:pt x="266" y="284"/>
                  </a:lnTo>
                  <a:lnTo>
                    <a:pt x="272" y="284"/>
                  </a:lnTo>
                  <a:lnTo>
                    <a:pt x="277" y="282"/>
                  </a:lnTo>
                  <a:lnTo>
                    <a:pt x="279" y="280"/>
                  </a:lnTo>
                  <a:lnTo>
                    <a:pt x="283" y="279"/>
                  </a:lnTo>
                  <a:lnTo>
                    <a:pt x="285" y="275"/>
                  </a:lnTo>
                  <a:lnTo>
                    <a:pt x="286" y="269"/>
                  </a:lnTo>
                  <a:lnTo>
                    <a:pt x="286" y="260"/>
                  </a:lnTo>
                  <a:lnTo>
                    <a:pt x="286" y="247"/>
                  </a:lnTo>
                  <a:lnTo>
                    <a:pt x="281" y="231"/>
                  </a:lnTo>
                  <a:lnTo>
                    <a:pt x="275" y="210"/>
                  </a:lnTo>
                  <a:lnTo>
                    <a:pt x="273" y="188"/>
                  </a:lnTo>
                  <a:lnTo>
                    <a:pt x="275" y="168"/>
                  </a:lnTo>
                  <a:lnTo>
                    <a:pt x="283" y="157"/>
                  </a:lnTo>
                  <a:lnTo>
                    <a:pt x="290" y="147"/>
                  </a:lnTo>
                  <a:lnTo>
                    <a:pt x="296" y="140"/>
                  </a:lnTo>
                  <a:lnTo>
                    <a:pt x="303" y="136"/>
                  </a:lnTo>
                  <a:lnTo>
                    <a:pt x="309" y="133"/>
                  </a:lnTo>
                  <a:lnTo>
                    <a:pt x="314" y="131"/>
                  </a:lnTo>
                  <a:lnTo>
                    <a:pt x="318" y="133"/>
                  </a:lnTo>
                  <a:lnTo>
                    <a:pt x="321" y="134"/>
                  </a:lnTo>
                  <a:lnTo>
                    <a:pt x="314" y="155"/>
                  </a:lnTo>
                  <a:lnTo>
                    <a:pt x="309" y="175"/>
                  </a:lnTo>
                  <a:lnTo>
                    <a:pt x="323" y="177"/>
                  </a:lnTo>
                  <a:lnTo>
                    <a:pt x="338" y="177"/>
                  </a:lnTo>
                  <a:lnTo>
                    <a:pt x="357" y="190"/>
                  </a:lnTo>
                  <a:lnTo>
                    <a:pt x="375" y="201"/>
                  </a:lnTo>
                  <a:lnTo>
                    <a:pt x="390" y="197"/>
                  </a:lnTo>
                  <a:lnTo>
                    <a:pt x="405" y="192"/>
                  </a:lnTo>
                  <a:lnTo>
                    <a:pt x="419" y="201"/>
                  </a:lnTo>
                  <a:lnTo>
                    <a:pt x="438" y="210"/>
                  </a:lnTo>
                  <a:lnTo>
                    <a:pt x="453" y="208"/>
                  </a:lnTo>
                  <a:lnTo>
                    <a:pt x="467" y="203"/>
                  </a:lnTo>
                  <a:lnTo>
                    <a:pt x="482" y="197"/>
                  </a:lnTo>
                  <a:lnTo>
                    <a:pt x="497" y="188"/>
                  </a:lnTo>
                  <a:lnTo>
                    <a:pt x="482" y="184"/>
                  </a:lnTo>
                  <a:lnTo>
                    <a:pt x="473" y="179"/>
                  </a:lnTo>
                  <a:lnTo>
                    <a:pt x="467" y="175"/>
                  </a:lnTo>
                  <a:lnTo>
                    <a:pt x="462" y="170"/>
                  </a:lnTo>
                  <a:lnTo>
                    <a:pt x="460" y="164"/>
                  </a:lnTo>
                  <a:lnTo>
                    <a:pt x="456" y="158"/>
                  </a:lnTo>
                  <a:lnTo>
                    <a:pt x="453" y="155"/>
                  </a:lnTo>
                  <a:lnTo>
                    <a:pt x="445" y="149"/>
                  </a:lnTo>
                  <a:lnTo>
                    <a:pt x="440" y="149"/>
                  </a:lnTo>
                  <a:lnTo>
                    <a:pt x="430" y="147"/>
                  </a:lnTo>
                  <a:lnTo>
                    <a:pt x="421" y="146"/>
                  </a:lnTo>
                  <a:lnTo>
                    <a:pt x="414" y="140"/>
                  </a:lnTo>
                  <a:lnTo>
                    <a:pt x="416" y="127"/>
                  </a:lnTo>
                  <a:lnTo>
                    <a:pt x="419" y="120"/>
                  </a:lnTo>
                  <a:lnTo>
                    <a:pt x="412" y="109"/>
                  </a:lnTo>
                  <a:lnTo>
                    <a:pt x="403" y="96"/>
                  </a:lnTo>
                  <a:lnTo>
                    <a:pt x="403" y="72"/>
                  </a:lnTo>
                  <a:lnTo>
                    <a:pt x="399" y="55"/>
                  </a:lnTo>
                  <a:lnTo>
                    <a:pt x="394" y="44"/>
                  </a:lnTo>
                  <a:lnTo>
                    <a:pt x="386" y="35"/>
                  </a:lnTo>
                  <a:lnTo>
                    <a:pt x="377" y="29"/>
                  </a:lnTo>
                  <a:lnTo>
                    <a:pt x="368" y="25"/>
                  </a:lnTo>
                  <a:lnTo>
                    <a:pt x="358" y="25"/>
                  </a:lnTo>
                  <a:lnTo>
                    <a:pt x="349" y="25"/>
                  </a:lnTo>
                  <a:lnTo>
                    <a:pt x="334" y="29"/>
                  </a:lnTo>
                  <a:lnTo>
                    <a:pt x="321" y="29"/>
                  </a:lnTo>
                  <a:lnTo>
                    <a:pt x="314" y="14"/>
                  </a:lnTo>
                  <a:lnTo>
                    <a:pt x="305" y="0"/>
                  </a:lnTo>
                  <a:lnTo>
                    <a:pt x="288" y="11"/>
                  </a:lnTo>
                  <a:lnTo>
                    <a:pt x="261" y="27"/>
                  </a:lnTo>
                  <a:lnTo>
                    <a:pt x="248" y="29"/>
                  </a:lnTo>
                  <a:lnTo>
                    <a:pt x="233" y="27"/>
                  </a:lnTo>
                  <a:lnTo>
                    <a:pt x="218" y="27"/>
                  </a:lnTo>
                  <a:lnTo>
                    <a:pt x="205" y="29"/>
                  </a:lnTo>
                  <a:lnTo>
                    <a:pt x="185" y="33"/>
                  </a:lnTo>
                  <a:lnTo>
                    <a:pt x="166" y="37"/>
                  </a:lnTo>
                  <a:lnTo>
                    <a:pt x="157" y="38"/>
                  </a:lnTo>
                  <a:lnTo>
                    <a:pt x="148" y="37"/>
                  </a:lnTo>
                  <a:lnTo>
                    <a:pt x="139" y="35"/>
                  </a:lnTo>
                  <a:lnTo>
                    <a:pt x="129" y="29"/>
                  </a:lnTo>
                  <a:lnTo>
                    <a:pt x="124" y="35"/>
                  </a:lnTo>
                  <a:lnTo>
                    <a:pt x="120" y="42"/>
                  </a:lnTo>
                  <a:lnTo>
                    <a:pt x="118" y="51"/>
                  </a:lnTo>
                  <a:lnTo>
                    <a:pt x="118" y="61"/>
                  </a:lnTo>
                  <a:lnTo>
                    <a:pt x="118" y="64"/>
                  </a:lnTo>
                  <a:lnTo>
                    <a:pt x="118" y="68"/>
                  </a:lnTo>
                  <a:lnTo>
                    <a:pt x="118" y="72"/>
                  </a:lnTo>
                  <a:lnTo>
                    <a:pt x="116" y="72"/>
                  </a:lnTo>
                  <a:lnTo>
                    <a:pt x="100" y="77"/>
                  </a:lnTo>
                  <a:lnTo>
                    <a:pt x="83" y="83"/>
                  </a:lnTo>
                  <a:lnTo>
                    <a:pt x="74" y="81"/>
                  </a:lnTo>
                  <a:lnTo>
                    <a:pt x="63" y="75"/>
                  </a:lnTo>
                  <a:lnTo>
                    <a:pt x="57" y="75"/>
                  </a:lnTo>
                  <a:lnTo>
                    <a:pt x="50" y="75"/>
                  </a:lnTo>
                  <a:lnTo>
                    <a:pt x="43" y="79"/>
                  </a:lnTo>
                  <a:lnTo>
                    <a:pt x="35" y="86"/>
                  </a:lnTo>
                  <a:lnTo>
                    <a:pt x="31" y="107"/>
                  </a:lnTo>
                  <a:lnTo>
                    <a:pt x="26" y="125"/>
                  </a:lnTo>
                  <a:lnTo>
                    <a:pt x="17" y="136"/>
                  </a:lnTo>
                  <a:lnTo>
                    <a:pt x="7" y="146"/>
                  </a:lnTo>
                  <a:lnTo>
                    <a:pt x="4" y="151"/>
                  </a:lnTo>
                  <a:lnTo>
                    <a:pt x="2" y="157"/>
                  </a:lnTo>
                  <a:lnTo>
                    <a:pt x="0" y="162"/>
                  </a:lnTo>
                  <a:lnTo>
                    <a:pt x="0" y="166"/>
                  </a:lnTo>
                  <a:lnTo>
                    <a:pt x="2" y="173"/>
                  </a:lnTo>
                  <a:lnTo>
                    <a:pt x="7" y="181"/>
                  </a:lnTo>
                  <a:lnTo>
                    <a:pt x="15" y="190"/>
                  </a:lnTo>
                  <a:lnTo>
                    <a:pt x="26" y="201"/>
                  </a:lnTo>
                  <a:lnTo>
                    <a:pt x="35" y="212"/>
                  </a:lnTo>
                  <a:lnTo>
                    <a:pt x="44" y="225"/>
                  </a:lnTo>
                  <a:lnTo>
                    <a:pt x="52" y="231"/>
                  </a:lnTo>
                  <a:lnTo>
                    <a:pt x="61" y="236"/>
                  </a:lnTo>
                  <a:lnTo>
                    <a:pt x="68" y="253"/>
                  </a:lnTo>
                  <a:lnTo>
                    <a:pt x="76" y="271"/>
                  </a:lnTo>
                  <a:lnTo>
                    <a:pt x="91" y="280"/>
                  </a:lnTo>
                  <a:lnTo>
                    <a:pt x="104" y="288"/>
                  </a:lnTo>
                  <a:lnTo>
                    <a:pt x="109" y="303"/>
                  </a:lnTo>
                  <a:lnTo>
                    <a:pt x="115" y="310"/>
                  </a:lnTo>
                  <a:lnTo>
                    <a:pt x="116" y="312"/>
                  </a:lnTo>
                  <a:lnTo>
                    <a:pt x="116" y="316"/>
                  </a:lnTo>
                  <a:lnTo>
                    <a:pt x="116" y="319"/>
                  </a:lnTo>
                  <a:lnTo>
                    <a:pt x="116" y="323"/>
                  </a:lnTo>
                  <a:lnTo>
                    <a:pt x="116" y="330"/>
                  </a:lnTo>
                  <a:lnTo>
                    <a:pt x="115" y="33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2" name="Freeform 43"/>
            <p:cNvSpPr>
              <a:spLocks/>
            </p:cNvSpPr>
            <p:nvPr/>
          </p:nvSpPr>
          <p:spPr bwMode="auto">
            <a:xfrm>
              <a:off x="4512600" y="2529157"/>
              <a:ext cx="167495" cy="228497"/>
            </a:xfrm>
            <a:custGeom>
              <a:avLst/>
              <a:gdLst>
                <a:gd name="T0" fmla="*/ 22 w 321"/>
                <a:gd name="T1" fmla="*/ 240 h 449"/>
                <a:gd name="T2" fmla="*/ 18 w 321"/>
                <a:gd name="T3" fmla="*/ 270 h 449"/>
                <a:gd name="T4" fmla="*/ 20 w 321"/>
                <a:gd name="T5" fmla="*/ 294 h 449"/>
                <a:gd name="T6" fmla="*/ 0 w 321"/>
                <a:gd name="T7" fmla="*/ 334 h 449"/>
                <a:gd name="T8" fmla="*/ 9 w 321"/>
                <a:gd name="T9" fmla="*/ 343 h 449"/>
                <a:gd name="T10" fmla="*/ 35 w 321"/>
                <a:gd name="T11" fmla="*/ 349 h 449"/>
                <a:gd name="T12" fmla="*/ 42 w 321"/>
                <a:gd name="T13" fmla="*/ 351 h 449"/>
                <a:gd name="T14" fmla="*/ 51 w 321"/>
                <a:gd name="T15" fmla="*/ 343 h 449"/>
                <a:gd name="T16" fmla="*/ 53 w 321"/>
                <a:gd name="T17" fmla="*/ 360 h 449"/>
                <a:gd name="T18" fmla="*/ 49 w 321"/>
                <a:gd name="T19" fmla="*/ 377 h 449"/>
                <a:gd name="T20" fmla="*/ 61 w 321"/>
                <a:gd name="T21" fmla="*/ 379 h 449"/>
                <a:gd name="T22" fmla="*/ 77 w 321"/>
                <a:gd name="T23" fmla="*/ 384 h 449"/>
                <a:gd name="T24" fmla="*/ 94 w 321"/>
                <a:gd name="T25" fmla="*/ 395 h 449"/>
                <a:gd name="T26" fmla="*/ 101 w 321"/>
                <a:gd name="T27" fmla="*/ 393 h 449"/>
                <a:gd name="T28" fmla="*/ 107 w 321"/>
                <a:gd name="T29" fmla="*/ 399 h 449"/>
                <a:gd name="T30" fmla="*/ 96 w 321"/>
                <a:gd name="T31" fmla="*/ 408 h 449"/>
                <a:gd name="T32" fmla="*/ 81 w 321"/>
                <a:gd name="T33" fmla="*/ 417 h 449"/>
                <a:gd name="T34" fmla="*/ 83 w 321"/>
                <a:gd name="T35" fmla="*/ 432 h 449"/>
                <a:gd name="T36" fmla="*/ 94 w 321"/>
                <a:gd name="T37" fmla="*/ 430 h 449"/>
                <a:gd name="T38" fmla="*/ 109 w 321"/>
                <a:gd name="T39" fmla="*/ 432 h 449"/>
                <a:gd name="T40" fmla="*/ 114 w 321"/>
                <a:gd name="T41" fmla="*/ 443 h 449"/>
                <a:gd name="T42" fmla="*/ 127 w 321"/>
                <a:gd name="T43" fmla="*/ 441 h 449"/>
                <a:gd name="T44" fmla="*/ 147 w 321"/>
                <a:gd name="T45" fmla="*/ 441 h 449"/>
                <a:gd name="T46" fmla="*/ 173 w 321"/>
                <a:gd name="T47" fmla="*/ 443 h 449"/>
                <a:gd name="T48" fmla="*/ 206 w 321"/>
                <a:gd name="T49" fmla="*/ 423 h 449"/>
                <a:gd name="T50" fmla="*/ 206 w 321"/>
                <a:gd name="T51" fmla="*/ 390 h 449"/>
                <a:gd name="T52" fmla="*/ 219 w 321"/>
                <a:gd name="T53" fmla="*/ 379 h 449"/>
                <a:gd name="T54" fmla="*/ 219 w 321"/>
                <a:gd name="T55" fmla="*/ 355 h 449"/>
                <a:gd name="T56" fmla="*/ 206 w 321"/>
                <a:gd name="T57" fmla="*/ 321 h 449"/>
                <a:gd name="T58" fmla="*/ 218 w 321"/>
                <a:gd name="T59" fmla="*/ 299 h 449"/>
                <a:gd name="T60" fmla="*/ 230 w 321"/>
                <a:gd name="T61" fmla="*/ 286 h 449"/>
                <a:gd name="T62" fmla="*/ 256 w 321"/>
                <a:gd name="T63" fmla="*/ 266 h 449"/>
                <a:gd name="T64" fmla="*/ 277 w 321"/>
                <a:gd name="T65" fmla="*/ 273 h 449"/>
                <a:gd name="T66" fmla="*/ 290 w 321"/>
                <a:gd name="T67" fmla="*/ 264 h 449"/>
                <a:gd name="T68" fmla="*/ 288 w 321"/>
                <a:gd name="T69" fmla="*/ 251 h 449"/>
                <a:gd name="T70" fmla="*/ 297 w 321"/>
                <a:gd name="T71" fmla="*/ 233 h 449"/>
                <a:gd name="T72" fmla="*/ 306 w 321"/>
                <a:gd name="T73" fmla="*/ 194 h 449"/>
                <a:gd name="T74" fmla="*/ 297 w 321"/>
                <a:gd name="T75" fmla="*/ 161 h 449"/>
                <a:gd name="T76" fmla="*/ 303 w 321"/>
                <a:gd name="T77" fmla="*/ 137 h 449"/>
                <a:gd name="T78" fmla="*/ 310 w 321"/>
                <a:gd name="T79" fmla="*/ 129 h 449"/>
                <a:gd name="T80" fmla="*/ 306 w 321"/>
                <a:gd name="T81" fmla="*/ 111 h 449"/>
                <a:gd name="T82" fmla="*/ 321 w 321"/>
                <a:gd name="T83" fmla="*/ 57 h 449"/>
                <a:gd name="T84" fmla="*/ 306 w 321"/>
                <a:gd name="T85" fmla="*/ 66 h 449"/>
                <a:gd name="T86" fmla="*/ 262 w 321"/>
                <a:gd name="T87" fmla="*/ 79 h 449"/>
                <a:gd name="T88" fmla="*/ 214 w 321"/>
                <a:gd name="T89" fmla="*/ 66 h 449"/>
                <a:gd name="T90" fmla="*/ 162 w 321"/>
                <a:gd name="T91" fmla="*/ 46 h 449"/>
                <a:gd name="T92" fmla="*/ 138 w 321"/>
                <a:gd name="T93" fmla="*/ 24 h 449"/>
                <a:gd name="T94" fmla="*/ 138 w 321"/>
                <a:gd name="T95" fmla="*/ 0 h 449"/>
                <a:gd name="T96" fmla="*/ 120 w 321"/>
                <a:gd name="T97" fmla="*/ 9 h 449"/>
                <a:gd name="T98" fmla="*/ 99 w 321"/>
                <a:gd name="T99" fmla="*/ 37 h 449"/>
                <a:gd name="T100" fmla="*/ 105 w 321"/>
                <a:gd name="T101" fmla="*/ 100 h 449"/>
                <a:gd name="T102" fmla="*/ 110 w 321"/>
                <a:gd name="T103" fmla="*/ 138 h 449"/>
                <a:gd name="T104" fmla="*/ 103 w 321"/>
                <a:gd name="T105" fmla="*/ 149 h 449"/>
                <a:gd name="T106" fmla="*/ 90 w 321"/>
                <a:gd name="T107" fmla="*/ 153 h 449"/>
                <a:gd name="T108" fmla="*/ 79 w 321"/>
                <a:gd name="T109" fmla="*/ 153 h 449"/>
                <a:gd name="T110" fmla="*/ 66 w 321"/>
                <a:gd name="T111" fmla="*/ 161 h 449"/>
                <a:gd name="T112" fmla="*/ 57 w 321"/>
                <a:gd name="T113" fmla="*/ 183 h 449"/>
                <a:gd name="T114" fmla="*/ 49 w 321"/>
                <a:gd name="T115" fmla="*/ 186 h 449"/>
                <a:gd name="T116" fmla="*/ 40 w 321"/>
                <a:gd name="T117" fmla="*/ 192 h 449"/>
                <a:gd name="T118" fmla="*/ 29 w 321"/>
                <a:gd name="T119" fmla="*/ 222 h 44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21"/>
                <a:gd name="T181" fmla="*/ 0 h 449"/>
                <a:gd name="T182" fmla="*/ 321 w 321"/>
                <a:gd name="T183" fmla="*/ 449 h 44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21" h="449">
                  <a:moveTo>
                    <a:pt x="22" y="240"/>
                  </a:moveTo>
                  <a:lnTo>
                    <a:pt x="22" y="240"/>
                  </a:lnTo>
                  <a:lnTo>
                    <a:pt x="22" y="255"/>
                  </a:lnTo>
                  <a:lnTo>
                    <a:pt x="20" y="264"/>
                  </a:lnTo>
                  <a:lnTo>
                    <a:pt x="18" y="270"/>
                  </a:lnTo>
                  <a:lnTo>
                    <a:pt x="18" y="275"/>
                  </a:lnTo>
                  <a:lnTo>
                    <a:pt x="18" y="282"/>
                  </a:lnTo>
                  <a:lnTo>
                    <a:pt x="20" y="294"/>
                  </a:lnTo>
                  <a:lnTo>
                    <a:pt x="12" y="308"/>
                  </a:lnTo>
                  <a:lnTo>
                    <a:pt x="1" y="329"/>
                  </a:lnTo>
                  <a:lnTo>
                    <a:pt x="0" y="334"/>
                  </a:lnTo>
                  <a:lnTo>
                    <a:pt x="1" y="340"/>
                  </a:lnTo>
                  <a:lnTo>
                    <a:pt x="3" y="342"/>
                  </a:lnTo>
                  <a:lnTo>
                    <a:pt x="9" y="343"/>
                  </a:lnTo>
                  <a:lnTo>
                    <a:pt x="18" y="345"/>
                  </a:lnTo>
                  <a:lnTo>
                    <a:pt x="31" y="347"/>
                  </a:lnTo>
                  <a:lnTo>
                    <a:pt x="35" y="349"/>
                  </a:lnTo>
                  <a:lnTo>
                    <a:pt x="38" y="353"/>
                  </a:lnTo>
                  <a:lnTo>
                    <a:pt x="40" y="353"/>
                  </a:lnTo>
                  <a:lnTo>
                    <a:pt x="42" y="351"/>
                  </a:lnTo>
                  <a:lnTo>
                    <a:pt x="44" y="347"/>
                  </a:lnTo>
                  <a:lnTo>
                    <a:pt x="46" y="340"/>
                  </a:lnTo>
                  <a:lnTo>
                    <a:pt x="51" y="343"/>
                  </a:lnTo>
                  <a:lnTo>
                    <a:pt x="55" y="349"/>
                  </a:lnTo>
                  <a:lnTo>
                    <a:pt x="55" y="355"/>
                  </a:lnTo>
                  <a:lnTo>
                    <a:pt x="53" y="360"/>
                  </a:lnTo>
                  <a:lnTo>
                    <a:pt x="51" y="367"/>
                  </a:lnTo>
                  <a:lnTo>
                    <a:pt x="49" y="373"/>
                  </a:lnTo>
                  <a:lnTo>
                    <a:pt x="49" y="377"/>
                  </a:lnTo>
                  <a:lnTo>
                    <a:pt x="51" y="380"/>
                  </a:lnTo>
                  <a:lnTo>
                    <a:pt x="55" y="380"/>
                  </a:lnTo>
                  <a:lnTo>
                    <a:pt x="61" y="379"/>
                  </a:lnTo>
                  <a:lnTo>
                    <a:pt x="66" y="375"/>
                  </a:lnTo>
                  <a:lnTo>
                    <a:pt x="70" y="371"/>
                  </a:lnTo>
                  <a:lnTo>
                    <a:pt x="77" y="384"/>
                  </a:lnTo>
                  <a:lnTo>
                    <a:pt x="86" y="393"/>
                  </a:lnTo>
                  <a:lnTo>
                    <a:pt x="90" y="395"/>
                  </a:lnTo>
                  <a:lnTo>
                    <a:pt x="94" y="395"/>
                  </a:lnTo>
                  <a:lnTo>
                    <a:pt x="97" y="395"/>
                  </a:lnTo>
                  <a:lnTo>
                    <a:pt x="99" y="395"/>
                  </a:lnTo>
                  <a:lnTo>
                    <a:pt x="101" y="393"/>
                  </a:lnTo>
                  <a:lnTo>
                    <a:pt x="105" y="393"/>
                  </a:lnTo>
                  <a:lnTo>
                    <a:pt x="107" y="395"/>
                  </a:lnTo>
                  <a:lnTo>
                    <a:pt x="107" y="399"/>
                  </a:lnTo>
                  <a:lnTo>
                    <a:pt x="107" y="403"/>
                  </a:lnTo>
                  <a:lnTo>
                    <a:pt x="101" y="406"/>
                  </a:lnTo>
                  <a:lnTo>
                    <a:pt x="96" y="408"/>
                  </a:lnTo>
                  <a:lnTo>
                    <a:pt x="90" y="410"/>
                  </a:lnTo>
                  <a:lnTo>
                    <a:pt x="85" y="414"/>
                  </a:lnTo>
                  <a:lnTo>
                    <a:pt x="81" y="417"/>
                  </a:lnTo>
                  <a:lnTo>
                    <a:pt x="79" y="423"/>
                  </a:lnTo>
                  <a:lnTo>
                    <a:pt x="79" y="430"/>
                  </a:lnTo>
                  <a:lnTo>
                    <a:pt x="83" y="432"/>
                  </a:lnTo>
                  <a:lnTo>
                    <a:pt x="86" y="434"/>
                  </a:lnTo>
                  <a:lnTo>
                    <a:pt x="90" y="432"/>
                  </a:lnTo>
                  <a:lnTo>
                    <a:pt x="94" y="430"/>
                  </a:lnTo>
                  <a:lnTo>
                    <a:pt x="101" y="427"/>
                  </a:lnTo>
                  <a:lnTo>
                    <a:pt x="107" y="427"/>
                  </a:lnTo>
                  <a:lnTo>
                    <a:pt x="109" y="432"/>
                  </a:lnTo>
                  <a:lnTo>
                    <a:pt x="110" y="438"/>
                  </a:lnTo>
                  <a:lnTo>
                    <a:pt x="112" y="441"/>
                  </a:lnTo>
                  <a:lnTo>
                    <a:pt x="114" y="443"/>
                  </a:lnTo>
                  <a:lnTo>
                    <a:pt x="118" y="447"/>
                  </a:lnTo>
                  <a:lnTo>
                    <a:pt x="121" y="449"/>
                  </a:lnTo>
                  <a:lnTo>
                    <a:pt x="127" y="441"/>
                  </a:lnTo>
                  <a:lnTo>
                    <a:pt x="133" y="436"/>
                  </a:lnTo>
                  <a:lnTo>
                    <a:pt x="138" y="436"/>
                  </a:lnTo>
                  <a:lnTo>
                    <a:pt x="147" y="441"/>
                  </a:lnTo>
                  <a:lnTo>
                    <a:pt x="153" y="443"/>
                  </a:lnTo>
                  <a:lnTo>
                    <a:pt x="162" y="445"/>
                  </a:lnTo>
                  <a:lnTo>
                    <a:pt x="173" y="443"/>
                  </a:lnTo>
                  <a:lnTo>
                    <a:pt x="188" y="440"/>
                  </a:lnTo>
                  <a:lnTo>
                    <a:pt x="199" y="432"/>
                  </a:lnTo>
                  <a:lnTo>
                    <a:pt x="206" y="423"/>
                  </a:lnTo>
                  <a:lnTo>
                    <a:pt x="205" y="410"/>
                  </a:lnTo>
                  <a:lnTo>
                    <a:pt x="205" y="395"/>
                  </a:lnTo>
                  <a:lnTo>
                    <a:pt x="206" y="390"/>
                  </a:lnTo>
                  <a:lnTo>
                    <a:pt x="208" y="386"/>
                  </a:lnTo>
                  <a:lnTo>
                    <a:pt x="212" y="382"/>
                  </a:lnTo>
                  <a:lnTo>
                    <a:pt x="219" y="379"/>
                  </a:lnTo>
                  <a:lnTo>
                    <a:pt x="221" y="369"/>
                  </a:lnTo>
                  <a:lnTo>
                    <a:pt x="221" y="362"/>
                  </a:lnTo>
                  <a:lnTo>
                    <a:pt x="219" y="355"/>
                  </a:lnTo>
                  <a:lnTo>
                    <a:pt x="218" y="347"/>
                  </a:lnTo>
                  <a:lnTo>
                    <a:pt x="210" y="334"/>
                  </a:lnTo>
                  <a:lnTo>
                    <a:pt x="206" y="321"/>
                  </a:lnTo>
                  <a:lnTo>
                    <a:pt x="212" y="312"/>
                  </a:lnTo>
                  <a:lnTo>
                    <a:pt x="219" y="307"/>
                  </a:lnTo>
                  <a:lnTo>
                    <a:pt x="218" y="299"/>
                  </a:lnTo>
                  <a:lnTo>
                    <a:pt x="216" y="292"/>
                  </a:lnTo>
                  <a:lnTo>
                    <a:pt x="223" y="288"/>
                  </a:lnTo>
                  <a:lnTo>
                    <a:pt x="230" y="286"/>
                  </a:lnTo>
                  <a:lnTo>
                    <a:pt x="238" y="273"/>
                  </a:lnTo>
                  <a:lnTo>
                    <a:pt x="247" y="264"/>
                  </a:lnTo>
                  <a:lnTo>
                    <a:pt x="256" y="266"/>
                  </a:lnTo>
                  <a:lnTo>
                    <a:pt x="266" y="270"/>
                  </a:lnTo>
                  <a:lnTo>
                    <a:pt x="271" y="273"/>
                  </a:lnTo>
                  <a:lnTo>
                    <a:pt x="277" y="273"/>
                  </a:lnTo>
                  <a:lnTo>
                    <a:pt x="282" y="273"/>
                  </a:lnTo>
                  <a:lnTo>
                    <a:pt x="288" y="270"/>
                  </a:lnTo>
                  <a:lnTo>
                    <a:pt x="290" y="264"/>
                  </a:lnTo>
                  <a:lnTo>
                    <a:pt x="291" y="258"/>
                  </a:lnTo>
                  <a:lnTo>
                    <a:pt x="290" y="255"/>
                  </a:lnTo>
                  <a:lnTo>
                    <a:pt x="288" y="251"/>
                  </a:lnTo>
                  <a:lnTo>
                    <a:pt x="286" y="246"/>
                  </a:lnTo>
                  <a:lnTo>
                    <a:pt x="286" y="238"/>
                  </a:lnTo>
                  <a:lnTo>
                    <a:pt x="297" y="233"/>
                  </a:lnTo>
                  <a:lnTo>
                    <a:pt x="308" y="225"/>
                  </a:lnTo>
                  <a:lnTo>
                    <a:pt x="308" y="210"/>
                  </a:lnTo>
                  <a:lnTo>
                    <a:pt x="306" y="194"/>
                  </a:lnTo>
                  <a:lnTo>
                    <a:pt x="301" y="175"/>
                  </a:lnTo>
                  <a:lnTo>
                    <a:pt x="297" y="161"/>
                  </a:lnTo>
                  <a:lnTo>
                    <a:pt x="299" y="149"/>
                  </a:lnTo>
                  <a:lnTo>
                    <a:pt x="301" y="140"/>
                  </a:lnTo>
                  <a:lnTo>
                    <a:pt x="303" y="137"/>
                  </a:lnTo>
                  <a:lnTo>
                    <a:pt x="304" y="133"/>
                  </a:lnTo>
                  <a:lnTo>
                    <a:pt x="308" y="131"/>
                  </a:lnTo>
                  <a:lnTo>
                    <a:pt x="310" y="129"/>
                  </a:lnTo>
                  <a:lnTo>
                    <a:pt x="312" y="127"/>
                  </a:lnTo>
                  <a:lnTo>
                    <a:pt x="312" y="122"/>
                  </a:lnTo>
                  <a:lnTo>
                    <a:pt x="306" y="111"/>
                  </a:lnTo>
                  <a:lnTo>
                    <a:pt x="303" y="101"/>
                  </a:lnTo>
                  <a:lnTo>
                    <a:pt x="312" y="81"/>
                  </a:lnTo>
                  <a:lnTo>
                    <a:pt x="321" y="57"/>
                  </a:lnTo>
                  <a:lnTo>
                    <a:pt x="306" y="66"/>
                  </a:lnTo>
                  <a:lnTo>
                    <a:pt x="291" y="72"/>
                  </a:lnTo>
                  <a:lnTo>
                    <a:pt x="277" y="77"/>
                  </a:lnTo>
                  <a:lnTo>
                    <a:pt x="262" y="79"/>
                  </a:lnTo>
                  <a:lnTo>
                    <a:pt x="243" y="70"/>
                  </a:lnTo>
                  <a:lnTo>
                    <a:pt x="229" y="61"/>
                  </a:lnTo>
                  <a:lnTo>
                    <a:pt x="214" y="66"/>
                  </a:lnTo>
                  <a:lnTo>
                    <a:pt x="199" y="70"/>
                  </a:lnTo>
                  <a:lnTo>
                    <a:pt x="181" y="59"/>
                  </a:lnTo>
                  <a:lnTo>
                    <a:pt x="162" y="46"/>
                  </a:lnTo>
                  <a:lnTo>
                    <a:pt x="147" y="46"/>
                  </a:lnTo>
                  <a:lnTo>
                    <a:pt x="133" y="44"/>
                  </a:lnTo>
                  <a:lnTo>
                    <a:pt x="138" y="24"/>
                  </a:lnTo>
                  <a:lnTo>
                    <a:pt x="145" y="3"/>
                  </a:lnTo>
                  <a:lnTo>
                    <a:pt x="142" y="2"/>
                  </a:lnTo>
                  <a:lnTo>
                    <a:pt x="138" y="0"/>
                  </a:lnTo>
                  <a:lnTo>
                    <a:pt x="133" y="2"/>
                  </a:lnTo>
                  <a:lnTo>
                    <a:pt x="127" y="5"/>
                  </a:lnTo>
                  <a:lnTo>
                    <a:pt x="120" y="9"/>
                  </a:lnTo>
                  <a:lnTo>
                    <a:pt x="114" y="16"/>
                  </a:lnTo>
                  <a:lnTo>
                    <a:pt x="107" y="26"/>
                  </a:lnTo>
                  <a:lnTo>
                    <a:pt x="99" y="37"/>
                  </a:lnTo>
                  <a:lnTo>
                    <a:pt x="97" y="57"/>
                  </a:lnTo>
                  <a:lnTo>
                    <a:pt x="99" y="79"/>
                  </a:lnTo>
                  <a:lnTo>
                    <a:pt x="105" y="100"/>
                  </a:lnTo>
                  <a:lnTo>
                    <a:pt x="110" y="116"/>
                  </a:lnTo>
                  <a:lnTo>
                    <a:pt x="110" y="129"/>
                  </a:lnTo>
                  <a:lnTo>
                    <a:pt x="110" y="138"/>
                  </a:lnTo>
                  <a:lnTo>
                    <a:pt x="109" y="144"/>
                  </a:lnTo>
                  <a:lnTo>
                    <a:pt x="107" y="148"/>
                  </a:lnTo>
                  <a:lnTo>
                    <a:pt x="103" y="149"/>
                  </a:lnTo>
                  <a:lnTo>
                    <a:pt x="101" y="151"/>
                  </a:lnTo>
                  <a:lnTo>
                    <a:pt x="96" y="153"/>
                  </a:lnTo>
                  <a:lnTo>
                    <a:pt x="90" y="153"/>
                  </a:lnTo>
                  <a:lnTo>
                    <a:pt x="85" y="151"/>
                  </a:lnTo>
                  <a:lnTo>
                    <a:pt x="79" y="146"/>
                  </a:lnTo>
                  <a:lnTo>
                    <a:pt x="79" y="153"/>
                  </a:lnTo>
                  <a:lnTo>
                    <a:pt x="75" y="157"/>
                  </a:lnTo>
                  <a:lnTo>
                    <a:pt x="70" y="159"/>
                  </a:lnTo>
                  <a:lnTo>
                    <a:pt x="66" y="161"/>
                  </a:lnTo>
                  <a:lnTo>
                    <a:pt x="64" y="172"/>
                  </a:lnTo>
                  <a:lnTo>
                    <a:pt x="64" y="183"/>
                  </a:lnTo>
                  <a:lnTo>
                    <a:pt x="57" y="183"/>
                  </a:lnTo>
                  <a:lnTo>
                    <a:pt x="49" y="181"/>
                  </a:lnTo>
                  <a:lnTo>
                    <a:pt x="51" y="183"/>
                  </a:lnTo>
                  <a:lnTo>
                    <a:pt x="49" y="186"/>
                  </a:lnTo>
                  <a:lnTo>
                    <a:pt x="48" y="188"/>
                  </a:lnTo>
                  <a:lnTo>
                    <a:pt x="46" y="188"/>
                  </a:lnTo>
                  <a:lnTo>
                    <a:pt x="40" y="192"/>
                  </a:lnTo>
                  <a:lnTo>
                    <a:pt x="35" y="194"/>
                  </a:lnTo>
                  <a:lnTo>
                    <a:pt x="31" y="209"/>
                  </a:lnTo>
                  <a:lnTo>
                    <a:pt x="29" y="222"/>
                  </a:lnTo>
                  <a:lnTo>
                    <a:pt x="25" y="231"/>
                  </a:lnTo>
                  <a:lnTo>
                    <a:pt x="22" y="24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5" name="Freeform 44"/>
            <p:cNvSpPr>
              <a:spLocks/>
            </p:cNvSpPr>
            <p:nvPr/>
          </p:nvSpPr>
          <p:spPr bwMode="auto">
            <a:xfrm>
              <a:off x="4667572" y="2487427"/>
              <a:ext cx="308379" cy="248344"/>
            </a:xfrm>
            <a:custGeom>
              <a:avLst/>
              <a:gdLst>
                <a:gd name="T0" fmla="*/ 345 w 591"/>
                <a:gd name="T1" fmla="*/ 475 h 488"/>
                <a:gd name="T2" fmla="*/ 390 w 591"/>
                <a:gd name="T3" fmla="*/ 466 h 488"/>
                <a:gd name="T4" fmla="*/ 421 w 591"/>
                <a:gd name="T5" fmla="*/ 457 h 488"/>
                <a:gd name="T6" fmla="*/ 454 w 591"/>
                <a:gd name="T7" fmla="*/ 446 h 488"/>
                <a:gd name="T8" fmla="*/ 490 w 591"/>
                <a:gd name="T9" fmla="*/ 446 h 488"/>
                <a:gd name="T10" fmla="*/ 528 w 591"/>
                <a:gd name="T11" fmla="*/ 455 h 488"/>
                <a:gd name="T12" fmla="*/ 550 w 591"/>
                <a:gd name="T13" fmla="*/ 444 h 488"/>
                <a:gd name="T14" fmla="*/ 556 w 591"/>
                <a:gd name="T15" fmla="*/ 414 h 488"/>
                <a:gd name="T16" fmla="*/ 591 w 591"/>
                <a:gd name="T17" fmla="*/ 376 h 488"/>
                <a:gd name="T18" fmla="*/ 582 w 591"/>
                <a:gd name="T19" fmla="*/ 364 h 488"/>
                <a:gd name="T20" fmla="*/ 560 w 591"/>
                <a:gd name="T21" fmla="*/ 357 h 488"/>
                <a:gd name="T22" fmla="*/ 539 w 591"/>
                <a:gd name="T23" fmla="*/ 329 h 488"/>
                <a:gd name="T24" fmla="*/ 545 w 591"/>
                <a:gd name="T25" fmla="*/ 294 h 488"/>
                <a:gd name="T26" fmla="*/ 563 w 591"/>
                <a:gd name="T27" fmla="*/ 274 h 488"/>
                <a:gd name="T28" fmla="*/ 586 w 591"/>
                <a:gd name="T29" fmla="*/ 274 h 488"/>
                <a:gd name="T30" fmla="*/ 586 w 591"/>
                <a:gd name="T31" fmla="*/ 248 h 488"/>
                <a:gd name="T32" fmla="*/ 563 w 591"/>
                <a:gd name="T33" fmla="*/ 246 h 488"/>
                <a:gd name="T34" fmla="*/ 550 w 591"/>
                <a:gd name="T35" fmla="*/ 244 h 488"/>
                <a:gd name="T36" fmla="*/ 543 w 591"/>
                <a:gd name="T37" fmla="*/ 228 h 488"/>
                <a:gd name="T38" fmla="*/ 543 w 591"/>
                <a:gd name="T39" fmla="*/ 207 h 488"/>
                <a:gd name="T40" fmla="*/ 532 w 591"/>
                <a:gd name="T41" fmla="*/ 189 h 488"/>
                <a:gd name="T42" fmla="*/ 497 w 591"/>
                <a:gd name="T43" fmla="*/ 180 h 488"/>
                <a:gd name="T44" fmla="*/ 456 w 591"/>
                <a:gd name="T45" fmla="*/ 178 h 488"/>
                <a:gd name="T46" fmla="*/ 436 w 591"/>
                <a:gd name="T47" fmla="*/ 163 h 488"/>
                <a:gd name="T48" fmla="*/ 438 w 591"/>
                <a:gd name="T49" fmla="*/ 148 h 488"/>
                <a:gd name="T50" fmla="*/ 447 w 591"/>
                <a:gd name="T51" fmla="*/ 135 h 488"/>
                <a:gd name="T52" fmla="*/ 443 w 591"/>
                <a:gd name="T53" fmla="*/ 108 h 488"/>
                <a:gd name="T54" fmla="*/ 412 w 591"/>
                <a:gd name="T55" fmla="*/ 71 h 488"/>
                <a:gd name="T56" fmla="*/ 349 w 591"/>
                <a:gd name="T57" fmla="*/ 84 h 488"/>
                <a:gd name="T58" fmla="*/ 323 w 591"/>
                <a:gd name="T59" fmla="*/ 69 h 488"/>
                <a:gd name="T60" fmla="*/ 301 w 591"/>
                <a:gd name="T61" fmla="*/ 49 h 488"/>
                <a:gd name="T62" fmla="*/ 277 w 591"/>
                <a:gd name="T63" fmla="*/ 50 h 488"/>
                <a:gd name="T64" fmla="*/ 249 w 591"/>
                <a:gd name="T65" fmla="*/ 45 h 488"/>
                <a:gd name="T66" fmla="*/ 229 w 591"/>
                <a:gd name="T67" fmla="*/ 26 h 488"/>
                <a:gd name="T68" fmla="*/ 201 w 591"/>
                <a:gd name="T69" fmla="*/ 21 h 488"/>
                <a:gd name="T70" fmla="*/ 172 w 591"/>
                <a:gd name="T71" fmla="*/ 2 h 488"/>
                <a:gd name="T72" fmla="*/ 157 w 591"/>
                <a:gd name="T73" fmla="*/ 15 h 488"/>
                <a:gd name="T74" fmla="*/ 135 w 591"/>
                <a:gd name="T75" fmla="*/ 36 h 488"/>
                <a:gd name="T76" fmla="*/ 113 w 591"/>
                <a:gd name="T77" fmla="*/ 65 h 488"/>
                <a:gd name="T78" fmla="*/ 83 w 591"/>
                <a:gd name="T79" fmla="*/ 91 h 488"/>
                <a:gd name="T80" fmla="*/ 46 w 591"/>
                <a:gd name="T81" fmla="*/ 130 h 488"/>
                <a:gd name="T82" fmla="*/ 24 w 591"/>
                <a:gd name="T83" fmla="*/ 139 h 488"/>
                <a:gd name="T84" fmla="*/ 9 w 591"/>
                <a:gd name="T85" fmla="*/ 193 h 488"/>
                <a:gd name="T86" fmla="*/ 13 w 591"/>
                <a:gd name="T87" fmla="*/ 211 h 488"/>
                <a:gd name="T88" fmla="*/ 6 w 591"/>
                <a:gd name="T89" fmla="*/ 219 h 488"/>
                <a:gd name="T90" fmla="*/ 0 w 591"/>
                <a:gd name="T91" fmla="*/ 243 h 488"/>
                <a:gd name="T92" fmla="*/ 9 w 591"/>
                <a:gd name="T93" fmla="*/ 276 h 488"/>
                <a:gd name="T94" fmla="*/ 65 w 591"/>
                <a:gd name="T95" fmla="*/ 292 h 488"/>
                <a:gd name="T96" fmla="*/ 150 w 591"/>
                <a:gd name="T97" fmla="*/ 344 h 488"/>
                <a:gd name="T98" fmla="*/ 161 w 591"/>
                <a:gd name="T99" fmla="*/ 374 h 488"/>
                <a:gd name="T100" fmla="*/ 170 w 591"/>
                <a:gd name="T101" fmla="*/ 389 h 488"/>
                <a:gd name="T102" fmla="*/ 223 w 591"/>
                <a:gd name="T103" fmla="*/ 409 h 488"/>
                <a:gd name="T104" fmla="*/ 259 w 591"/>
                <a:gd name="T105" fmla="*/ 424 h 488"/>
                <a:gd name="T106" fmla="*/ 279 w 591"/>
                <a:gd name="T107" fmla="*/ 424 h 488"/>
                <a:gd name="T108" fmla="*/ 301 w 591"/>
                <a:gd name="T109" fmla="*/ 414 h 488"/>
                <a:gd name="T110" fmla="*/ 294 w 591"/>
                <a:gd name="T111" fmla="*/ 475 h 488"/>
                <a:gd name="T112" fmla="*/ 303 w 591"/>
                <a:gd name="T113" fmla="*/ 486 h 488"/>
                <a:gd name="T114" fmla="*/ 323 w 591"/>
                <a:gd name="T115" fmla="*/ 477 h 488"/>
                <a:gd name="T116" fmla="*/ 345 w 591"/>
                <a:gd name="T117" fmla="*/ 475 h 4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91"/>
                <a:gd name="T178" fmla="*/ 0 h 488"/>
                <a:gd name="T179" fmla="*/ 591 w 591"/>
                <a:gd name="T180" fmla="*/ 488 h 4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91" h="488">
                  <a:moveTo>
                    <a:pt x="345" y="475"/>
                  </a:moveTo>
                  <a:lnTo>
                    <a:pt x="345" y="475"/>
                  </a:lnTo>
                  <a:lnTo>
                    <a:pt x="364" y="470"/>
                  </a:lnTo>
                  <a:lnTo>
                    <a:pt x="381" y="468"/>
                  </a:lnTo>
                  <a:lnTo>
                    <a:pt x="390" y="466"/>
                  </a:lnTo>
                  <a:lnTo>
                    <a:pt x="401" y="464"/>
                  </a:lnTo>
                  <a:lnTo>
                    <a:pt x="410" y="461"/>
                  </a:lnTo>
                  <a:lnTo>
                    <a:pt x="421" y="457"/>
                  </a:lnTo>
                  <a:lnTo>
                    <a:pt x="434" y="448"/>
                  </a:lnTo>
                  <a:lnTo>
                    <a:pt x="440" y="442"/>
                  </a:lnTo>
                  <a:lnTo>
                    <a:pt x="454" y="446"/>
                  </a:lnTo>
                  <a:lnTo>
                    <a:pt x="469" y="449"/>
                  </a:lnTo>
                  <a:lnTo>
                    <a:pt x="480" y="448"/>
                  </a:lnTo>
                  <a:lnTo>
                    <a:pt x="490" y="446"/>
                  </a:lnTo>
                  <a:lnTo>
                    <a:pt x="497" y="453"/>
                  </a:lnTo>
                  <a:lnTo>
                    <a:pt x="508" y="461"/>
                  </a:lnTo>
                  <a:lnTo>
                    <a:pt x="528" y="455"/>
                  </a:lnTo>
                  <a:lnTo>
                    <a:pt x="547" y="446"/>
                  </a:lnTo>
                  <a:lnTo>
                    <a:pt x="549" y="444"/>
                  </a:lnTo>
                  <a:lnTo>
                    <a:pt x="550" y="444"/>
                  </a:lnTo>
                  <a:lnTo>
                    <a:pt x="547" y="433"/>
                  </a:lnTo>
                  <a:lnTo>
                    <a:pt x="543" y="424"/>
                  </a:lnTo>
                  <a:lnTo>
                    <a:pt x="556" y="414"/>
                  </a:lnTo>
                  <a:lnTo>
                    <a:pt x="571" y="403"/>
                  </a:lnTo>
                  <a:lnTo>
                    <a:pt x="582" y="389"/>
                  </a:lnTo>
                  <a:lnTo>
                    <a:pt x="591" y="376"/>
                  </a:lnTo>
                  <a:lnTo>
                    <a:pt x="589" y="370"/>
                  </a:lnTo>
                  <a:lnTo>
                    <a:pt x="587" y="368"/>
                  </a:lnTo>
                  <a:lnTo>
                    <a:pt x="582" y="364"/>
                  </a:lnTo>
                  <a:lnTo>
                    <a:pt x="576" y="363"/>
                  </a:lnTo>
                  <a:lnTo>
                    <a:pt x="569" y="361"/>
                  </a:lnTo>
                  <a:lnTo>
                    <a:pt x="560" y="357"/>
                  </a:lnTo>
                  <a:lnTo>
                    <a:pt x="550" y="350"/>
                  </a:lnTo>
                  <a:lnTo>
                    <a:pt x="541" y="340"/>
                  </a:lnTo>
                  <a:lnTo>
                    <a:pt x="539" y="329"/>
                  </a:lnTo>
                  <a:lnTo>
                    <a:pt x="539" y="318"/>
                  </a:lnTo>
                  <a:lnTo>
                    <a:pt x="541" y="307"/>
                  </a:lnTo>
                  <a:lnTo>
                    <a:pt x="545" y="294"/>
                  </a:lnTo>
                  <a:lnTo>
                    <a:pt x="550" y="285"/>
                  </a:lnTo>
                  <a:lnTo>
                    <a:pt x="558" y="278"/>
                  </a:lnTo>
                  <a:lnTo>
                    <a:pt x="563" y="274"/>
                  </a:lnTo>
                  <a:lnTo>
                    <a:pt x="567" y="270"/>
                  </a:lnTo>
                  <a:lnTo>
                    <a:pt x="578" y="272"/>
                  </a:lnTo>
                  <a:lnTo>
                    <a:pt x="586" y="274"/>
                  </a:lnTo>
                  <a:lnTo>
                    <a:pt x="586" y="267"/>
                  </a:lnTo>
                  <a:lnTo>
                    <a:pt x="586" y="257"/>
                  </a:lnTo>
                  <a:lnTo>
                    <a:pt x="586" y="248"/>
                  </a:lnTo>
                  <a:lnTo>
                    <a:pt x="584" y="243"/>
                  </a:lnTo>
                  <a:lnTo>
                    <a:pt x="573" y="244"/>
                  </a:lnTo>
                  <a:lnTo>
                    <a:pt x="563" y="246"/>
                  </a:lnTo>
                  <a:lnTo>
                    <a:pt x="558" y="246"/>
                  </a:lnTo>
                  <a:lnTo>
                    <a:pt x="554" y="246"/>
                  </a:lnTo>
                  <a:lnTo>
                    <a:pt x="550" y="244"/>
                  </a:lnTo>
                  <a:lnTo>
                    <a:pt x="549" y="243"/>
                  </a:lnTo>
                  <a:lnTo>
                    <a:pt x="545" y="235"/>
                  </a:lnTo>
                  <a:lnTo>
                    <a:pt x="543" y="228"/>
                  </a:lnTo>
                  <a:lnTo>
                    <a:pt x="543" y="222"/>
                  </a:lnTo>
                  <a:lnTo>
                    <a:pt x="543" y="215"/>
                  </a:lnTo>
                  <a:lnTo>
                    <a:pt x="543" y="207"/>
                  </a:lnTo>
                  <a:lnTo>
                    <a:pt x="541" y="202"/>
                  </a:lnTo>
                  <a:lnTo>
                    <a:pt x="538" y="196"/>
                  </a:lnTo>
                  <a:lnTo>
                    <a:pt x="532" y="189"/>
                  </a:lnTo>
                  <a:lnTo>
                    <a:pt x="521" y="183"/>
                  </a:lnTo>
                  <a:lnTo>
                    <a:pt x="510" y="182"/>
                  </a:lnTo>
                  <a:lnTo>
                    <a:pt x="497" y="180"/>
                  </a:lnTo>
                  <a:lnTo>
                    <a:pt x="482" y="180"/>
                  </a:lnTo>
                  <a:lnTo>
                    <a:pt x="469" y="178"/>
                  </a:lnTo>
                  <a:lnTo>
                    <a:pt x="456" y="178"/>
                  </a:lnTo>
                  <a:lnTo>
                    <a:pt x="447" y="174"/>
                  </a:lnTo>
                  <a:lnTo>
                    <a:pt x="438" y="169"/>
                  </a:lnTo>
                  <a:lnTo>
                    <a:pt x="436" y="163"/>
                  </a:lnTo>
                  <a:lnTo>
                    <a:pt x="434" y="158"/>
                  </a:lnTo>
                  <a:lnTo>
                    <a:pt x="436" y="152"/>
                  </a:lnTo>
                  <a:lnTo>
                    <a:pt x="438" y="148"/>
                  </a:lnTo>
                  <a:lnTo>
                    <a:pt x="441" y="145"/>
                  </a:lnTo>
                  <a:lnTo>
                    <a:pt x="445" y="139"/>
                  </a:lnTo>
                  <a:lnTo>
                    <a:pt x="447" y="135"/>
                  </a:lnTo>
                  <a:lnTo>
                    <a:pt x="447" y="130"/>
                  </a:lnTo>
                  <a:lnTo>
                    <a:pt x="445" y="119"/>
                  </a:lnTo>
                  <a:lnTo>
                    <a:pt x="443" y="108"/>
                  </a:lnTo>
                  <a:lnTo>
                    <a:pt x="438" y="93"/>
                  </a:lnTo>
                  <a:lnTo>
                    <a:pt x="432" y="76"/>
                  </a:lnTo>
                  <a:lnTo>
                    <a:pt x="412" y="71"/>
                  </a:lnTo>
                  <a:lnTo>
                    <a:pt x="395" y="63"/>
                  </a:lnTo>
                  <a:lnTo>
                    <a:pt x="371" y="73"/>
                  </a:lnTo>
                  <a:lnTo>
                    <a:pt x="349" y="84"/>
                  </a:lnTo>
                  <a:lnTo>
                    <a:pt x="342" y="78"/>
                  </a:lnTo>
                  <a:lnTo>
                    <a:pt x="338" y="69"/>
                  </a:lnTo>
                  <a:lnTo>
                    <a:pt x="323" y="69"/>
                  </a:lnTo>
                  <a:lnTo>
                    <a:pt x="310" y="69"/>
                  </a:lnTo>
                  <a:lnTo>
                    <a:pt x="305" y="58"/>
                  </a:lnTo>
                  <a:lnTo>
                    <a:pt x="301" y="49"/>
                  </a:lnTo>
                  <a:lnTo>
                    <a:pt x="294" y="49"/>
                  </a:lnTo>
                  <a:lnTo>
                    <a:pt x="284" y="50"/>
                  </a:lnTo>
                  <a:lnTo>
                    <a:pt x="277" y="50"/>
                  </a:lnTo>
                  <a:lnTo>
                    <a:pt x="270" y="50"/>
                  </a:lnTo>
                  <a:lnTo>
                    <a:pt x="260" y="49"/>
                  </a:lnTo>
                  <a:lnTo>
                    <a:pt x="249" y="45"/>
                  </a:lnTo>
                  <a:lnTo>
                    <a:pt x="240" y="36"/>
                  </a:lnTo>
                  <a:lnTo>
                    <a:pt x="235" y="26"/>
                  </a:lnTo>
                  <a:lnTo>
                    <a:pt x="229" y="26"/>
                  </a:lnTo>
                  <a:lnTo>
                    <a:pt x="222" y="26"/>
                  </a:lnTo>
                  <a:lnTo>
                    <a:pt x="212" y="26"/>
                  </a:lnTo>
                  <a:lnTo>
                    <a:pt x="201" y="21"/>
                  </a:lnTo>
                  <a:lnTo>
                    <a:pt x="188" y="10"/>
                  </a:lnTo>
                  <a:lnTo>
                    <a:pt x="175" y="0"/>
                  </a:lnTo>
                  <a:lnTo>
                    <a:pt x="172" y="2"/>
                  </a:lnTo>
                  <a:lnTo>
                    <a:pt x="166" y="4"/>
                  </a:lnTo>
                  <a:lnTo>
                    <a:pt x="163" y="10"/>
                  </a:lnTo>
                  <a:lnTo>
                    <a:pt x="157" y="15"/>
                  </a:lnTo>
                  <a:lnTo>
                    <a:pt x="148" y="21"/>
                  </a:lnTo>
                  <a:lnTo>
                    <a:pt x="137" y="26"/>
                  </a:lnTo>
                  <a:lnTo>
                    <a:pt x="135" y="36"/>
                  </a:lnTo>
                  <a:lnTo>
                    <a:pt x="131" y="45"/>
                  </a:lnTo>
                  <a:lnTo>
                    <a:pt x="122" y="54"/>
                  </a:lnTo>
                  <a:lnTo>
                    <a:pt x="113" y="65"/>
                  </a:lnTo>
                  <a:lnTo>
                    <a:pt x="109" y="74"/>
                  </a:lnTo>
                  <a:lnTo>
                    <a:pt x="102" y="87"/>
                  </a:lnTo>
                  <a:lnTo>
                    <a:pt x="83" y="91"/>
                  </a:lnTo>
                  <a:lnTo>
                    <a:pt x="63" y="93"/>
                  </a:lnTo>
                  <a:lnTo>
                    <a:pt x="54" y="111"/>
                  </a:lnTo>
                  <a:lnTo>
                    <a:pt x="46" y="130"/>
                  </a:lnTo>
                  <a:lnTo>
                    <a:pt x="35" y="135"/>
                  </a:lnTo>
                  <a:lnTo>
                    <a:pt x="24" y="139"/>
                  </a:lnTo>
                  <a:lnTo>
                    <a:pt x="15" y="163"/>
                  </a:lnTo>
                  <a:lnTo>
                    <a:pt x="6" y="183"/>
                  </a:lnTo>
                  <a:lnTo>
                    <a:pt x="9" y="193"/>
                  </a:lnTo>
                  <a:lnTo>
                    <a:pt x="15" y="204"/>
                  </a:lnTo>
                  <a:lnTo>
                    <a:pt x="15" y="209"/>
                  </a:lnTo>
                  <a:lnTo>
                    <a:pt x="13" y="211"/>
                  </a:lnTo>
                  <a:lnTo>
                    <a:pt x="11" y="213"/>
                  </a:lnTo>
                  <a:lnTo>
                    <a:pt x="7" y="215"/>
                  </a:lnTo>
                  <a:lnTo>
                    <a:pt x="6" y="219"/>
                  </a:lnTo>
                  <a:lnTo>
                    <a:pt x="4" y="222"/>
                  </a:lnTo>
                  <a:lnTo>
                    <a:pt x="2" y="231"/>
                  </a:lnTo>
                  <a:lnTo>
                    <a:pt x="0" y="243"/>
                  </a:lnTo>
                  <a:lnTo>
                    <a:pt x="4" y="257"/>
                  </a:lnTo>
                  <a:lnTo>
                    <a:pt x="9" y="276"/>
                  </a:lnTo>
                  <a:lnTo>
                    <a:pt x="30" y="279"/>
                  </a:lnTo>
                  <a:lnTo>
                    <a:pt x="48" y="285"/>
                  </a:lnTo>
                  <a:lnTo>
                    <a:pt x="65" y="292"/>
                  </a:lnTo>
                  <a:lnTo>
                    <a:pt x="83" y="300"/>
                  </a:lnTo>
                  <a:lnTo>
                    <a:pt x="116" y="320"/>
                  </a:lnTo>
                  <a:lnTo>
                    <a:pt x="150" y="344"/>
                  </a:lnTo>
                  <a:lnTo>
                    <a:pt x="153" y="355"/>
                  </a:lnTo>
                  <a:lnTo>
                    <a:pt x="157" y="368"/>
                  </a:lnTo>
                  <a:lnTo>
                    <a:pt x="161" y="374"/>
                  </a:lnTo>
                  <a:lnTo>
                    <a:pt x="163" y="379"/>
                  </a:lnTo>
                  <a:lnTo>
                    <a:pt x="166" y="385"/>
                  </a:lnTo>
                  <a:lnTo>
                    <a:pt x="170" y="389"/>
                  </a:lnTo>
                  <a:lnTo>
                    <a:pt x="187" y="387"/>
                  </a:lnTo>
                  <a:lnTo>
                    <a:pt x="212" y="385"/>
                  </a:lnTo>
                  <a:lnTo>
                    <a:pt x="223" y="409"/>
                  </a:lnTo>
                  <a:lnTo>
                    <a:pt x="233" y="429"/>
                  </a:lnTo>
                  <a:lnTo>
                    <a:pt x="244" y="427"/>
                  </a:lnTo>
                  <a:lnTo>
                    <a:pt x="259" y="424"/>
                  </a:lnTo>
                  <a:lnTo>
                    <a:pt x="266" y="425"/>
                  </a:lnTo>
                  <a:lnTo>
                    <a:pt x="273" y="425"/>
                  </a:lnTo>
                  <a:lnTo>
                    <a:pt x="279" y="424"/>
                  </a:lnTo>
                  <a:lnTo>
                    <a:pt x="284" y="422"/>
                  </a:lnTo>
                  <a:lnTo>
                    <a:pt x="294" y="416"/>
                  </a:lnTo>
                  <a:lnTo>
                    <a:pt x="301" y="414"/>
                  </a:lnTo>
                  <a:lnTo>
                    <a:pt x="299" y="435"/>
                  </a:lnTo>
                  <a:lnTo>
                    <a:pt x="294" y="453"/>
                  </a:lnTo>
                  <a:lnTo>
                    <a:pt x="294" y="475"/>
                  </a:lnTo>
                  <a:lnTo>
                    <a:pt x="292" y="486"/>
                  </a:lnTo>
                  <a:lnTo>
                    <a:pt x="299" y="488"/>
                  </a:lnTo>
                  <a:lnTo>
                    <a:pt x="303" y="486"/>
                  </a:lnTo>
                  <a:lnTo>
                    <a:pt x="308" y="485"/>
                  </a:lnTo>
                  <a:lnTo>
                    <a:pt x="312" y="483"/>
                  </a:lnTo>
                  <a:lnTo>
                    <a:pt x="323" y="477"/>
                  </a:lnTo>
                  <a:lnTo>
                    <a:pt x="332" y="470"/>
                  </a:lnTo>
                  <a:lnTo>
                    <a:pt x="338" y="472"/>
                  </a:lnTo>
                  <a:lnTo>
                    <a:pt x="345" y="47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6" name="Freeform 45"/>
            <p:cNvSpPr>
              <a:spLocks/>
            </p:cNvSpPr>
            <p:nvPr/>
          </p:nvSpPr>
          <p:spPr bwMode="auto">
            <a:xfrm>
              <a:off x="4326320" y="2514907"/>
              <a:ext cx="154972" cy="123154"/>
            </a:xfrm>
            <a:custGeom>
              <a:avLst/>
              <a:gdLst>
                <a:gd name="T0" fmla="*/ 44 w 297"/>
                <a:gd name="T1" fmla="*/ 196 h 242"/>
                <a:gd name="T2" fmla="*/ 85 w 297"/>
                <a:gd name="T3" fmla="*/ 211 h 242"/>
                <a:gd name="T4" fmla="*/ 115 w 297"/>
                <a:gd name="T5" fmla="*/ 218 h 242"/>
                <a:gd name="T6" fmla="*/ 131 w 297"/>
                <a:gd name="T7" fmla="*/ 213 h 242"/>
                <a:gd name="T8" fmla="*/ 148 w 297"/>
                <a:gd name="T9" fmla="*/ 214 h 242"/>
                <a:gd name="T10" fmla="*/ 179 w 297"/>
                <a:gd name="T11" fmla="*/ 227 h 242"/>
                <a:gd name="T12" fmla="*/ 229 w 297"/>
                <a:gd name="T13" fmla="*/ 240 h 242"/>
                <a:gd name="T14" fmla="*/ 249 w 297"/>
                <a:gd name="T15" fmla="*/ 242 h 242"/>
                <a:gd name="T16" fmla="*/ 260 w 297"/>
                <a:gd name="T17" fmla="*/ 238 h 242"/>
                <a:gd name="T18" fmla="*/ 273 w 297"/>
                <a:gd name="T19" fmla="*/ 237 h 242"/>
                <a:gd name="T20" fmla="*/ 288 w 297"/>
                <a:gd name="T21" fmla="*/ 235 h 242"/>
                <a:gd name="T22" fmla="*/ 296 w 297"/>
                <a:gd name="T23" fmla="*/ 233 h 242"/>
                <a:gd name="T24" fmla="*/ 297 w 297"/>
                <a:gd name="T25" fmla="*/ 227 h 242"/>
                <a:gd name="T26" fmla="*/ 297 w 297"/>
                <a:gd name="T27" fmla="*/ 216 h 242"/>
                <a:gd name="T28" fmla="*/ 297 w 297"/>
                <a:gd name="T29" fmla="*/ 209 h 242"/>
                <a:gd name="T30" fmla="*/ 290 w 297"/>
                <a:gd name="T31" fmla="*/ 200 h 242"/>
                <a:gd name="T32" fmla="*/ 272 w 297"/>
                <a:gd name="T33" fmla="*/ 177 h 242"/>
                <a:gd name="T34" fmla="*/ 249 w 297"/>
                <a:gd name="T35" fmla="*/ 150 h 242"/>
                <a:gd name="T36" fmla="*/ 233 w 297"/>
                <a:gd name="T37" fmla="*/ 128 h 242"/>
                <a:gd name="T38" fmla="*/ 216 w 297"/>
                <a:gd name="T39" fmla="*/ 109 h 242"/>
                <a:gd name="T40" fmla="*/ 196 w 297"/>
                <a:gd name="T41" fmla="*/ 87 h 242"/>
                <a:gd name="T42" fmla="*/ 183 w 297"/>
                <a:gd name="T43" fmla="*/ 70 h 242"/>
                <a:gd name="T44" fmla="*/ 181 w 297"/>
                <a:gd name="T45" fmla="*/ 55 h 242"/>
                <a:gd name="T46" fmla="*/ 192 w 297"/>
                <a:gd name="T47" fmla="*/ 39 h 242"/>
                <a:gd name="T48" fmla="*/ 188 w 297"/>
                <a:gd name="T49" fmla="*/ 30 h 242"/>
                <a:gd name="T50" fmla="*/ 164 w 297"/>
                <a:gd name="T51" fmla="*/ 33 h 242"/>
                <a:gd name="T52" fmla="*/ 146 w 297"/>
                <a:gd name="T53" fmla="*/ 39 h 242"/>
                <a:gd name="T54" fmla="*/ 131 w 297"/>
                <a:gd name="T55" fmla="*/ 28 h 242"/>
                <a:gd name="T56" fmla="*/ 113 w 297"/>
                <a:gd name="T57" fmla="*/ 13 h 242"/>
                <a:gd name="T58" fmla="*/ 96 w 297"/>
                <a:gd name="T59" fmla="*/ 2 h 242"/>
                <a:gd name="T60" fmla="*/ 74 w 297"/>
                <a:gd name="T61" fmla="*/ 6 h 242"/>
                <a:gd name="T62" fmla="*/ 59 w 297"/>
                <a:gd name="T63" fmla="*/ 22 h 242"/>
                <a:gd name="T64" fmla="*/ 55 w 297"/>
                <a:gd name="T65" fmla="*/ 50 h 242"/>
                <a:gd name="T66" fmla="*/ 46 w 297"/>
                <a:gd name="T67" fmla="*/ 72 h 242"/>
                <a:gd name="T68" fmla="*/ 30 w 297"/>
                <a:gd name="T69" fmla="*/ 83 h 242"/>
                <a:gd name="T70" fmla="*/ 9 w 297"/>
                <a:gd name="T71" fmla="*/ 96 h 242"/>
                <a:gd name="T72" fmla="*/ 0 w 297"/>
                <a:gd name="T73" fmla="*/ 105 h 242"/>
                <a:gd name="T74" fmla="*/ 2 w 297"/>
                <a:gd name="T75" fmla="*/ 111 h 242"/>
                <a:gd name="T76" fmla="*/ 13 w 297"/>
                <a:gd name="T77" fmla="*/ 124 h 242"/>
                <a:gd name="T78" fmla="*/ 22 w 297"/>
                <a:gd name="T79" fmla="*/ 139 h 242"/>
                <a:gd name="T80" fmla="*/ 28 w 297"/>
                <a:gd name="T81" fmla="*/ 159 h 242"/>
                <a:gd name="T82" fmla="*/ 26 w 297"/>
                <a:gd name="T83" fmla="*/ 179 h 24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7"/>
                <a:gd name="T127" fmla="*/ 0 h 242"/>
                <a:gd name="T128" fmla="*/ 297 w 297"/>
                <a:gd name="T129" fmla="*/ 242 h 24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7" h="242">
                  <a:moveTo>
                    <a:pt x="24" y="189"/>
                  </a:moveTo>
                  <a:lnTo>
                    <a:pt x="44" y="196"/>
                  </a:lnTo>
                  <a:lnTo>
                    <a:pt x="65" y="203"/>
                  </a:lnTo>
                  <a:lnTo>
                    <a:pt x="85" y="211"/>
                  </a:lnTo>
                  <a:lnTo>
                    <a:pt x="107" y="218"/>
                  </a:lnTo>
                  <a:lnTo>
                    <a:pt x="115" y="218"/>
                  </a:lnTo>
                  <a:lnTo>
                    <a:pt x="126" y="214"/>
                  </a:lnTo>
                  <a:lnTo>
                    <a:pt x="131" y="213"/>
                  </a:lnTo>
                  <a:lnTo>
                    <a:pt x="139" y="213"/>
                  </a:lnTo>
                  <a:lnTo>
                    <a:pt x="148" y="214"/>
                  </a:lnTo>
                  <a:lnTo>
                    <a:pt x="157" y="220"/>
                  </a:lnTo>
                  <a:lnTo>
                    <a:pt x="179" y="227"/>
                  </a:lnTo>
                  <a:lnTo>
                    <a:pt x="212" y="237"/>
                  </a:lnTo>
                  <a:lnTo>
                    <a:pt x="229" y="240"/>
                  </a:lnTo>
                  <a:lnTo>
                    <a:pt x="244" y="242"/>
                  </a:lnTo>
                  <a:lnTo>
                    <a:pt x="249" y="242"/>
                  </a:lnTo>
                  <a:lnTo>
                    <a:pt x="255" y="240"/>
                  </a:lnTo>
                  <a:lnTo>
                    <a:pt x="260" y="238"/>
                  </a:lnTo>
                  <a:lnTo>
                    <a:pt x="264" y="235"/>
                  </a:lnTo>
                  <a:lnTo>
                    <a:pt x="273" y="237"/>
                  </a:lnTo>
                  <a:lnTo>
                    <a:pt x="281" y="237"/>
                  </a:lnTo>
                  <a:lnTo>
                    <a:pt x="288" y="235"/>
                  </a:lnTo>
                  <a:lnTo>
                    <a:pt x="296" y="233"/>
                  </a:lnTo>
                  <a:lnTo>
                    <a:pt x="297" y="227"/>
                  </a:lnTo>
                  <a:lnTo>
                    <a:pt x="297" y="220"/>
                  </a:lnTo>
                  <a:lnTo>
                    <a:pt x="297" y="216"/>
                  </a:lnTo>
                  <a:lnTo>
                    <a:pt x="297" y="213"/>
                  </a:lnTo>
                  <a:lnTo>
                    <a:pt x="297" y="209"/>
                  </a:lnTo>
                  <a:lnTo>
                    <a:pt x="296" y="207"/>
                  </a:lnTo>
                  <a:lnTo>
                    <a:pt x="290" y="200"/>
                  </a:lnTo>
                  <a:lnTo>
                    <a:pt x="285" y="185"/>
                  </a:lnTo>
                  <a:lnTo>
                    <a:pt x="272" y="177"/>
                  </a:lnTo>
                  <a:lnTo>
                    <a:pt x="257" y="168"/>
                  </a:lnTo>
                  <a:lnTo>
                    <a:pt x="249" y="150"/>
                  </a:lnTo>
                  <a:lnTo>
                    <a:pt x="242" y="133"/>
                  </a:lnTo>
                  <a:lnTo>
                    <a:pt x="233" y="128"/>
                  </a:lnTo>
                  <a:lnTo>
                    <a:pt x="225" y="122"/>
                  </a:lnTo>
                  <a:lnTo>
                    <a:pt x="216" y="109"/>
                  </a:lnTo>
                  <a:lnTo>
                    <a:pt x="207" y="98"/>
                  </a:lnTo>
                  <a:lnTo>
                    <a:pt x="196" y="87"/>
                  </a:lnTo>
                  <a:lnTo>
                    <a:pt x="188" y="78"/>
                  </a:lnTo>
                  <a:lnTo>
                    <a:pt x="183" y="70"/>
                  </a:lnTo>
                  <a:lnTo>
                    <a:pt x="181" y="63"/>
                  </a:lnTo>
                  <a:lnTo>
                    <a:pt x="181" y="55"/>
                  </a:lnTo>
                  <a:lnTo>
                    <a:pt x="185" y="48"/>
                  </a:lnTo>
                  <a:lnTo>
                    <a:pt x="192" y="39"/>
                  </a:lnTo>
                  <a:lnTo>
                    <a:pt x="200" y="31"/>
                  </a:lnTo>
                  <a:lnTo>
                    <a:pt x="188" y="30"/>
                  </a:lnTo>
                  <a:lnTo>
                    <a:pt x="177" y="30"/>
                  </a:lnTo>
                  <a:lnTo>
                    <a:pt x="164" y="33"/>
                  </a:lnTo>
                  <a:lnTo>
                    <a:pt x="152" y="39"/>
                  </a:lnTo>
                  <a:lnTo>
                    <a:pt x="146" y="39"/>
                  </a:lnTo>
                  <a:lnTo>
                    <a:pt x="139" y="33"/>
                  </a:lnTo>
                  <a:lnTo>
                    <a:pt x="131" y="28"/>
                  </a:lnTo>
                  <a:lnTo>
                    <a:pt x="122" y="20"/>
                  </a:lnTo>
                  <a:lnTo>
                    <a:pt x="113" y="13"/>
                  </a:lnTo>
                  <a:lnTo>
                    <a:pt x="105" y="7"/>
                  </a:lnTo>
                  <a:lnTo>
                    <a:pt x="96" y="2"/>
                  </a:lnTo>
                  <a:lnTo>
                    <a:pt x="91" y="0"/>
                  </a:lnTo>
                  <a:lnTo>
                    <a:pt x="74" y="6"/>
                  </a:lnTo>
                  <a:lnTo>
                    <a:pt x="57" y="9"/>
                  </a:lnTo>
                  <a:lnTo>
                    <a:pt x="59" y="22"/>
                  </a:lnTo>
                  <a:lnTo>
                    <a:pt x="57" y="37"/>
                  </a:lnTo>
                  <a:lnTo>
                    <a:pt x="55" y="50"/>
                  </a:lnTo>
                  <a:lnTo>
                    <a:pt x="55" y="67"/>
                  </a:lnTo>
                  <a:lnTo>
                    <a:pt x="46" y="72"/>
                  </a:lnTo>
                  <a:lnTo>
                    <a:pt x="33" y="76"/>
                  </a:lnTo>
                  <a:lnTo>
                    <a:pt x="30" y="83"/>
                  </a:lnTo>
                  <a:lnTo>
                    <a:pt x="22" y="92"/>
                  </a:lnTo>
                  <a:lnTo>
                    <a:pt x="9" y="96"/>
                  </a:lnTo>
                  <a:lnTo>
                    <a:pt x="2" y="102"/>
                  </a:lnTo>
                  <a:lnTo>
                    <a:pt x="0" y="105"/>
                  </a:lnTo>
                  <a:lnTo>
                    <a:pt x="0" y="107"/>
                  </a:lnTo>
                  <a:lnTo>
                    <a:pt x="2" y="111"/>
                  </a:lnTo>
                  <a:lnTo>
                    <a:pt x="4" y="116"/>
                  </a:lnTo>
                  <a:lnTo>
                    <a:pt x="13" y="124"/>
                  </a:lnTo>
                  <a:lnTo>
                    <a:pt x="19" y="131"/>
                  </a:lnTo>
                  <a:lnTo>
                    <a:pt x="22" y="139"/>
                  </a:lnTo>
                  <a:lnTo>
                    <a:pt x="26" y="144"/>
                  </a:lnTo>
                  <a:lnTo>
                    <a:pt x="28" y="159"/>
                  </a:lnTo>
                  <a:lnTo>
                    <a:pt x="28" y="172"/>
                  </a:lnTo>
                  <a:lnTo>
                    <a:pt x="26" y="179"/>
                  </a:lnTo>
                  <a:lnTo>
                    <a:pt x="24" y="18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7" name="Freeform 46"/>
            <p:cNvSpPr>
              <a:spLocks/>
            </p:cNvSpPr>
            <p:nvPr/>
          </p:nvSpPr>
          <p:spPr bwMode="auto">
            <a:xfrm>
              <a:off x="4199003" y="2481829"/>
              <a:ext cx="158103" cy="166411"/>
            </a:xfrm>
            <a:custGeom>
              <a:avLst/>
              <a:gdLst>
                <a:gd name="T0" fmla="*/ 30 w 303"/>
                <a:gd name="T1" fmla="*/ 315 h 327"/>
                <a:gd name="T2" fmla="*/ 67 w 303"/>
                <a:gd name="T3" fmla="*/ 327 h 327"/>
                <a:gd name="T4" fmla="*/ 91 w 303"/>
                <a:gd name="T5" fmla="*/ 322 h 327"/>
                <a:gd name="T6" fmla="*/ 91 w 303"/>
                <a:gd name="T7" fmla="*/ 283 h 327"/>
                <a:gd name="T8" fmla="*/ 104 w 303"/>
                <a:gd name="T9" fmla="*/ 279 h 327"/>
                <a:gd name="T10" fmla="*/ 133 w 303"/>
                <a:gd name="T11" fmla="*/ 281 h 327"/>
                <a:gd name="T12" fmla="*/ 152 w 303"/>
                <a:gd name="T13" fmla="*/ 303 h 327"/>
                <a:gd name="T14" fmla="*/ 163 w 303"/>
                <a:gd name="T15" fmla="*/ 302 h 327"/>
                <a:gd name="T16" fmla="*/ 142 w 303"/>
                <a:gd name="T17" fmla="*/ 259 h 327"/>
                <a:gd name="T18" fmla="*/ 155 w 303"/>
                <a:gd name="T19" fmla="*/ 239 h 327"/>
                <a:gd name="T20" fmla="*/ 159 w 303"/>
                <a:gd name="T21" fmla="*/ 213 h 327"/>
                <a:gd name="T22" fmla="*/ 189 w 303"/>
                <a:gd name="T23" fmla="*/ 224 h 327"/>
                <a:gd name="T24" fmla="*/ 222 w 303"/>
                <a:gd name="T25" fmla="*/ 242 h 327"/>
                <a:gd name="T26" fmla="*/ 257 w 303"/>
                <a:gd name="T27" fmla="*/ 248 h 327"/>
                <a:gd name="T28" fmla="*/ 272 w 303"/>
                <a:gd name="T29" fmla="*/ 237 h 327"/>
                <a:gd name="T30" fmla="*/ 266 w 303"/>
                <a:gd name="T31" fmla="*/ 204 h 327"/>
                <a:gd name="T32" fmla="*/ 248 w 303"/>
                <a:gd name="T33" fmla="*/ 181 h 327"/>
                <a:gd name="T34" fmla="*/ 244 w 303"/>
                <a:gd name="T35" fmla="*/ 170 h 327"/>
                <a:gd name="T36" fmla="*/ 266 w 303"/>
                <a:gd name="T37" fmla="*/ 157 h 327"/>
                <a:gd name="T38" fmla="*/ 290 w 303"/>
                <a:gd name="T39" fmla="*/ 137 h 327"/>
                <a:gd name="T40" fmla="*/ 301 w 303"/>
                <a:gd name="T41" fmla="*/ 102 h 327"/>
                <a:gd name="T42" fmla="*/ 290 w 303"/>
                <a:gd name="T43" fmla="*/ 60 h 327"/>
                <a:gd name="T44" fmla="*/ 261 w 303"/>
                <a:gd name="T45" fmla="*/ 48 h 327"/>
                <a:gd name="T46" fmla="*/ 220 w 303"/>
                <a:gd name="T47" fmla="*/ 15 h 327"/>
                <a:gd name="T48" fmla="*/ 196 w 303"/>
                <a:gd name="T49" fmla="*/ 0 h 327"/>
                <a:gd name="T50" fmla="*/ 185 w 303"/>
                <a:gd name="T51" fmla="*/ 11 h 327"/>
                <a:gd name="T52" fmla="*/ 168 w 303"/>
                <a:gd name="T53" fmla="*/ 32 h 327"/>
                <a:gd name="T54" fmla="*/ 174 w 303"/>
                <a:gd name="T55" fmla="*/ 58 h 327"/>
                <a:gd name="T56" fmla="*/ 163 w 303"/>
                <a:gd name="T57" fmla="*/ 58 h 327"/>
                <a:gd name="T58" fmla="*/ 152 w 303"/>
                <a:gd name="T59" fmla="*/ 54 h 327"/>
                <a:gd name="T60" fmla="*/ 139 w 303"/>
                <a:gd name="T61" fmla="*/ 63 h 327"/>
                <a:gd name="T62" fmla="*/ 129 w 303"/>
                <a:gd name="T63" fmla="*/ 52 h 327"/>
                <a:gd name="T64" fmla="*/ 105 w 303"/>
                <a:gd name="T65" fmla="*/ 48 h 327"/>
                <a:gd name="T66" fmla="*/ 93 w 303"/>
                <a:gd name="T67" fmla="*/ 39 h 327"/>
                <a:gd name="T68" fmla="*/ 85 w 303"/>
                <a:gd name="T69" fmla="*/ 10 h 327"/>
                <a:gd name="T70" fmla="*/ 72 w 303"/>
                <a:gd name="T71" fmla="*/ 6 h 327"/>
                <a:gd name="T72" fmla="*/ 54 w 303"/>
                <a:gd name="T73" fmla="*/ 23 h 327"/>
                <a:gd name="T74" fmla="*/ 43 w 303"/>
                <a:gd name="T75" fmla="*/ 56 h 327"/>
                <a:gd name="T76" fmla="*/ 54 w 303"/>
                <a:gd name="T77" fmla="*/ 84 h 327"/>
                <a:gd name="T78" fmla="*/ 80 w 303"/>
                <a:gd name="T79" fmla="*/ 91 h 327"/>
                <a:gd name="T80" fmla="*/ 100 w 303"/>
                <a:gd name="T81" fmla="*/ 98 h 327"/>
                <a:gd name="T82" fmla="*/ 128 w 303"/>
                <a:gd name="T83" fmla="*/ 106 h 327"/>
                <a:gd name="T84" fmla="*/ 141 w 303"/>
                <a:gd name="T85" fmla="*/ 102 h 327"/>
                <a:gd name="T86" fmla="*/ 152 w 303"/>
                <a:gd name="T87" fmla="*/ 111 h 327"/>
                <a:gd name="T88" fmla="*/ 146 w 303"/>
                <a:gd name="T89" fmla="*/ 120 h 327"/>
                <a:gd name="T90" fmla="*/ 128 w 303"/>
                <a:gd name="T91" fmla="*/ 137 h 327"/>
                <a:gd name="T92" fmla="*/ 104 w 303"/>
                <a:gd name="T93" fmla="*/ 137 h 327"/>
                <a:gd name="T94" fmla="*/ 70 w 303"/>
                <a:gd name="T95" fmla="*/ 143 h 327"/>
                <a:gd name="T96" fmla="*/ 28 w 303"/>
                <a:gd name="T97" fmla="*/ 209 h 327"/>
                <a:gd name="T98" fmla="*/ 8 w 303"/>
                <a:gd name="T99" fmla="*/ 228 h 327"/>
                <a:gd name="T100" fmla="*/ 0 w 303"/>
                <a:gd name="T101" fmla="*/ 259 h 327"/>
                <a:gd name="T102" fmla="*/ 8 w 303"/>
                <a:gd name="T103" fmla="*/ 268 h 327"/>
                <a:gd name="T104" fmla="*/ 24 w 303"/>
                <a:gd name="T105" fmla="*/ 263 h 327"/>
                <a:gd name="T106" fmla="*/ 39 w 303"/>
                <a:gd name="T107" fmla="*/ 278 h 327"/>
                <a:gd name="T108" fmla="*/ 48 w 303"/>
                <a:gd name="T109" fmla="*/ 296 h 327"/>
                <a:gd name="T110" fmla="*/ 30 w 303"/>
                <a:gd name="T111" fmla="*/ 315 h 32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3"/>
                <a:gd name="T169" fmla="*/ 0 h 327"/>
                <a:gd name="T170" fmla="*/ 303 w 303"/>
                <a:gd name="T171" fmla="*/ 327 h 32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3" h="327">
                  <a:moveTo>
                    <a:pt x="30" y="315"/>
                  </a:moveTo>
                  <a:lnTo>
                    <a:pt x="30" y="315"/>
                  </a:lnTo>
                  <a:lnTo>
                    <a:pt x="45" y="322"/>
                  </a:lnTo>
                  <a:lnTo>
                    <a:pt x="59" y="326"/>
                  </a:lnTo>
                  <a:lnTo>
                    <a:pt x="67" y="327"/>
                  </a:lnTo>
                  <a:lnTo>
                    <a:pt x="76" y="327"/>
                  </a:lnTo>
                  <a:lnTo>
                    <a:pt x="83" y="326"/>
                  </a:lnTo>
                  <a:lnTo>
                    <a:pt x="91" y="322"/>
                  </a:lnTo>
                  <a:lnTo>
                    <a:pt x="91" y="305"/>
                  </a:lnTo>
                  <a:lnTo>
                    <a:pt x="87" y="287"/>
                  </a:lnTo>
                  <a:lnTo>
                    <a:pt x="91" y="283"/>
                  </a:lnTo>
                  <a:lnTo>
                    <a:pt x="94" y="281"/>
                  </a:lnTo>
                  <a:lnTo>
                    <a:pt x="98" y="281"/>
                  </a:lnTo>
                  <a:lnTo>
                    <a:pt x="104" y="279"/>
                  </a:lnTo>
                  <a:lnTo>
                    <a:pt x="115" y="279"/>
                  </a:lnTo>
                  <a:lnTo>
                    <a:pt x="124" y="279"/>
                  </a:lnTo>
                  <a:lnTo>
                    <a:pt x="133" y="281"/>
                  </a:lnTo>
                  <a:lnTo>
                    <a:pt x="139" y="287"/>
                  </a:lnTo>
                  <a:lnTo>
                    <a:pt x="146" y="292"/>
                  </a:lnTo>
                  <a:lnTo>
                    <a:pt x="152" y="303"/>
                  </a:lnTo>
                  <a:lnTo>
                    <a:pt x="155" y="305"/>
                  </a:lnTo>
                  <a:lnTo>
                    <a:pt x="159" y="305"/>
                  </a:lnTo>
                  <a:lnTo>
                    <a:pt x="163" y="302"/>
                  </a:lnTo>
                  <a:lnTo>
                    <a:pt x="163" y="298"/>
                  </a:lnTo>
                  <a:lnTo>
                    <a:pt x="152" y="279"/>
                  </a:lnTo>
                  <a:lnTo>
                    <a:pt x="142" y="259"/>
                  </a:lnTo>
                  <a:lnTo>
                    <a:pt x="150" y="254"/>
                  </a:lnTo>
                  <a:lnTo>
                    <a:pt x="159" y="250"/>
                  </a:lnTo>
                  <a:lnTo>
                    <a:pt x="155" y="239"/>
                  </a:lnTo>
                  <a:lnTo>
                    <a:pt x="150" y="228"/>
                  </a:lnTo>
                  <a:lnTo>
                    <a:pt x="152" y="220"/>
                  </a:lnTo>
                  <a:lnTo>
                    <a:pt x="159" y="213"/>
                  </a:lnTo>
                  <a:lnTo>
                    <a:pt x="168" y="207"/>
                  </a:lnTo>
                  <a:lnTo>
                    <a:pt x="174" y="207"/>
                  </a:lnTo>
                  <a:lnTo>
                    <a:pt x="189" y="224"/>
                  </a:lnTo>
                  <a:lnTo>
                    <a:pt x="202" y="235"/>
                  </a:lnTo>
                  <a:lnTo>
                    <a:pt x="213" y="241"/>
                  </a:lnTo>
                  <a:lnTo>
                    <a:pt x="222" y="242"/>
                  </a:lnTo>
                  <a:lnTo>
                    <a:pt x="235" y="242"/>
                  </a:lnTo>
                  <a:lnTo>
                    <a:pt x="244" y="244"/>
                  </a:lnTo>
                  <a:lnTo>
                    <a:pt x="257" y="248"/>
                  </a:lnTo>
                  <a:lnTo>
                    <a:pt x="268" y="254"/>
                  </a:lnTo>
                  <a:lnTo>
                    <a:pt x="270" y="244"/>
                  </a:lnTo>
                  <a:lnTo>
                    <a:pt x="272" y="237"/>
                  </a:lnTo>
                  <a:lnTo>
                    <a:pt x="272" y="224"/>
                  </a:lnTo>
                  <a:lnTo>
                    <a:pt x="270" y="209"/>
                  </a:lnTo>
                  <a:lnTo>
                    <a:pt x="266" y="204"/>
                  </a:lnTo>
                  <a:lnTo>
                    <a:pt x="263" y="196"/>
                  </a:lnTo>
                  <a:lnTo>
                    <a:pt x="257" y="189"/>
                  </a:lnTo>
                  <a:lnTo>
                    <a:pt x="248" y="181"/>
                  </a:lnTo>
                  <a:lnTo>
                    <a:pt x="246" y="176"/>
                  </a:lnTo>
                  <a:lnTo>
                    <a:pt x="244" y="172"/>
                  </a:lnTo>
                  <a:lnTo>
                    <a:pt x="244" y="170"/>
                  </a:lnTo>
                  <a:lnTo>
                    <a:pt x="246" y="167"/>
                  </a:lnTo>
                  <a:lnTo>
                    <a:pt x="253" y="161"/>
                  </a:lnTo>
                  <a:lnTo>
                    <a:pt x="266" y="157"/>
                  </a:lnTo>
                  <a:lnTo>
                    <a:pt x="274" y="148"/>
                  </a:lnTo>
                  <a:lnTo>
                    <a:pt x="277" y="141"/>
                  </a:lnTo>
                  <a:lnTo>
                    <a:pt x="290" y="137"/>
                  </a:lnTo>
                  <a:lnTo>
                    <a:pt x="299" y="132"/>
                  </a:lnTo>
                  <a:lnTo>
                    <a:pt x="299" y="115"/>
                  </a:lnTo>
                  <a:lnTo>
                    <a:pt x="301" y="102"/>
                  </a:lnTo>
                  <a:lnTo>
                    <a:pt x="303" y="87"/>
                  </a:lnTo>
                  <a:lnTo>
                    <a:pt x="301" y="74"/>
                  </a:lnTo>
                  <a:lnTo>
                    <a:pt x="290" y="60"/>
                  </a:lnTo>
                  <a:lnTo>
                    <a:pt x="279" y="47"/>
                  </a:lnTo>
                  <a:lnTo>
                    <a:pt x="270" y="47"/>
                  </a:lnTo>
                  <a:lnTo>
                    <a:pt x="261" y="48"/>
                  </a:lnTo>
                  <a:lnTo>
                    <a:pt x="248" y="35"/>
                  </a:lnTo>
                  <a:lnTo>
                    <a:pt x="233" y="28"/>
                  </a:lnTo>
                  <a:lnTo>
                    <a:pt x="220" y="15"/>
                  </a:lnTo>
                  <a:lnTo>
                    <a:pt x="207" y="2"/>
                  </a:lnTo>
                  <a:lnTo>
                    <a:pt x="202" y="2"/>
                  </a:lnTo>
                  <a:lnTo>
                    <a:pt x="196" y="0"/>
                  </a:lnTo>
                  <a:lnTo>
                    <a:pt x="190" y="2"/>
                  </a:lnTo>
                  <a:lnTo>
                    <a:pt x="187" y="4"/>
                  </a:lnTo>
                  <a:lnTo>
                    <a:pt x="185" y="11"/>
                  </a:lnTo>
                  <a:lnTo>
                    <a:pt x="185" y="21"/>
                  </a:lnTo>
                  <a:lnTo>
                    <a:pt x="176" y="24"/>
                  </a:lnTo>
                  <a:lnTo>
                    <a:pt x="168" y="32"/>
                  </a:lnTo>
                  <a:lnTo>
                    <a:pt x="174" y="41"/>
                  </a:lnTo>
                  <a:lnTo>
                    <a:pt x="178" y="54"/>
                  </a:lnTo>
                  <a:lnTo>
                    <a:pt x="174" y="58"/>
                  </a:lnTo>
                  <a:lnTo>
                    <a:pt x="170" y="60"/>
                  </a:lnTo>
                  <a:lnTo>
                    <a:pt x="166" y="60"/>
                  </a:lnTo>
                  <a:lnTo>
                    <a:pt x="163" y="58"/>
                  </a:lnTo>
                  <a:lnTo>
                    <a:pt x="159" y="56"/>
                  </a:lnTo>
                  <a:lnTo>
                    <a:pt x="155" y="54"/>
                  </a:lnTo>
                  <a:lnTo>
                    <a:pt x="152" y="54"/>
                  </a:lnTo>
                  <a:lnTo>
                    <a:pt x="148" y="56"/>
                  </a:lnTo>
                  <a:lnTo>
                    <a:pt x="144" y="61"/>
                  </a:lnTo>
                  <a:lnTo>
                    <a:pt x="139" y="63"/>
                  </a:lnTo>
                  <a:lnTo>
                    <a:pt x="133" y="61"/>
                  </a:lnTo>
                  <a:lnTo>
                    <a:pt x="131" y="56"/>
                  </a:lnTo>
                  <a:lnTo>
                    <a:pt x="129" y="52"/>
                  </a:lnTo>
                  <a:lnTo>
                    <a:pt x="124" y="50"/>
                  </a:lnTo>
                  <a:lnTo>
                    <a:pt x="117" y="48"/>
                  </a:lnTo>
                  <a:lnTo>
                    <a:pt x="105" y="48"/>
                  </a:lnTo>
                  <a:lnTo>
                    <a:pt x="93" y="50"/>
                  </a:lnTo>
                  <a:lnTo>
                    <a:pt x="85" y="48"/>
                  </a:lnTo>
                  <a:lnTo>
                    <a:pt x="93" y="39"/>
                  </a:lnTo>
                  <a:lnTo>
                    <a:pt x="98" y="24"/>
                  </a:lnTo>
                  <a:lnTo>
                    <a:pt x="93" y="15"/>
                  </a:lnTo>
                  <a:lnTo>
                    <a:pt x="85" y="10"/>
                  </a:lnTo>
                  <a:lnTo>
                    <a:pt x="81" y="8"/>
                  </a:lnTo>
                  <a:lnTo>
                    <a:pt x="78" y="6"/>
                  </a:lnTo>
                  <a:lnTo>
                    <a:pt x="72" y="6"/>
                  </a:lnTo>
                  <a:lnTo>
                    <a:pt x="67" y="6"/>
                  </a:lnTo>
                  <a:lnTo>
                    <a:pt x="61" y="11"/>
                  </a:lnTo>
                  <a:lnTo>
                    <a:pt x="54" y="23"/>
                  </a:lnTo>
                  <a:lnTo>
                    <a:pt x="48" y="34"/>
                  </a:lnTo>
                  <a:lnTo>
                    <a:pt x="45" y="45"/>
                  </a:lnTo>
                  <a:lnTo>
                    <a:pt x="43" y="56"/>
                  </a:lnTo>
                  <a:lnTo>
                    <a:pt x="43" y="67"/>
                  </a:lnTo>
                  <a:lnTo>
                    <a:pt x="46" y="76"/>
                  </a:lnTo>
                  <a:lnTo>
                    <a:pt x="54" y="84"/>
                  </a:lnTo>
                  <a:lnTo>
                    <a:pt x="65" y="84"/>
                  </a:lnTo>
                  <a:lnTo>
                    <a:pt x="74" y="82"/>
                  </a:lnTo>
                  <a:lnTo>
                    <a:pt x="80" y="91"/>
                  </a:lnTo>
                  <a:lnTo>
                    <a:pt x="85" y="100"/>
                  </a:lnTo>
                  <a:lnTo>
                    <a:pt x="93" y="100"/>
                  </a:lnTo>
                  <a:lnTo>
                    <a:pt x="100" y="98"/>
                  </a:lnTo>
                  <a:lnTo>
                    <a:pt x="109" y="104"/>
                  </a:lnTo>
                  <a:lnTo>
                    <a:pt x="120" y="108"/>
                  </a:lnTo>
                  <a:lnTo>
                    <a:pt x="128" y="106"/>
                  </a:lnTo>
                  <a:lnTo>
                    <a:pt x="133" y="104"/>
                  </a:lnTo>
                  <a:lnTo>
                    <a:pt x="137" y="102"/>
                  </a:lnTo>
                  <a:lnTo>
                    <a:pt x="141" y="102"/>
                  </a:lnTo>
                  <a:lnTo>
                    <a:pt x="144" y="102"/>
                  </a:lnTo>
                  <a:lnTo>
                    <a:pt x="148" y="104"/>
                  </a:lnTo>
                  <a:lnTo>
                    <a:pt x="152" y="111"/>
                  </a:lnTo>
                  <a:lnTo>
                    <a:pt x="152" y="115"/>
                  </a:lnTo>
                  <a:lnTo>
                    <a:pt x="150" y="119"/>
                  </a:lnTo>
                  <a:lnTo>
                    <a:pt x="146" y="120"/>
                  </a:lnTo>
                  <a:lnTo>
                    <a:pt x="137" y="122"/>
                  </a:lnTo>
                  <a:lnTo>
                    <a:pt x="131" y="126"/>
                  </a:lnTo>
                  <a:lnTo>
                    <a:pt x="128" y="137"/>
                  </a:lnTo>
                  <a:lnTo>
                    <a:pt x="124" y="146"/>
                  </a:lnTo>
                  <a:lnTo>
                    <a:pt x="115" y="143"/>
                  </a:lnTo>
                  <a:lnTo>
                    <a:pt x="104" y="137"/>
                  </a:lnTo>
                  <a:lnTo>
                    <a:pt x="87" y="133"/>
                  </a:lnTo>
                  <a:lnTo>
                    <a:pt x="74" y="133"/>
                  </a:lnTo>
                  <a:lnTo>
                    <a:pt x="70" y="143"/>
                  </a:lnTo>
                  <a:lnTo>
                    <a:pt x="65" y="159"/>
                  </a:lnTo>
                  <a:lnTo>
                    <a:pt x="48" y="181"/>
                  </a:lnTo>
                  <a:lnTo>
                    <a:pt x="28" y="209"/>
                  </a:lnTo>
                  <a:lnTo>
                    <a:pt x="21" y="217"/>
                  </a:lnTo>
                  <a:lnTo>
                    <a:pt x="13" y="224"/>
                  </a:lnTo>
                  <a:lnTo>
                    <a:pt x="8" y="228"/>
                  </a:lnTo>
                  <a:lnTo>
                    <a:pt x="6" y="235"/>
                  </a:lnTo>
                  <a:lnTo>
                    <a:pt x="2" y="246"/>
                  </a:lnTo>
                  <a:lnTo>
                    <a:pt x="0" y="259"/>
                  </a:lnTo>
                  <a:lnTo>
                    <a:pt x="2" y="266"/>
                  </a:lnTo>
                  <a:lnTo>
                    <a:pt x="4" y="268"/>
                  </a:lnTo>
                  <a:lnTo>
                    <a:pt x="8" y="268"/>
                  </a:lnTo>
                  <a:lnTo>
                    <a:pt x="13" y="266"/>
                  </a:lnTo>
                  <a:lnTo>
                    <a:pt x="19" y="263"/>
                  </a:lnTo>
                  <a:lnTo>
                    <a:pt x="24" y="263"/>
                  </a:lnTo>
                  <a:lnTo>
                    <a:pt x="30" y="266"/>
                  </a:lnTo>
                  <a:lnTo>
                    <a:pt x="35" y="272"/>
                  </a:lnTo>
                  <a:lnTo>
                    <a:pt x="39" y="278"/>
                  </a:lnTo>
                  <a:lnTo>
                    <a:pt x="45" y="283"/>
                  </a:lnTo>
                  <a:lnTo>
                    <a:pt x="48" y="289"/>
                  </a:lnTo>
                  <a:lnTo>
                    <a:pt x="48" y="296"/>
                  </a:lnTo>
                  <a:lnTo>
                    <a:pt x="37" y="305"/>
                  </a:lnTo>
                  <a:lnTo>
                    <a:pt x="30" y="311"/>
                  </a:lnTo>
                  <a:lnTo>
                    <a:pt x="30" y="31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8" name="Freeform 47"/>
            <p:cNvSpPr>
              <a:spLocks/>
            </p:cNvSpPr>
            <p:nvPr/>
          </p:nvSpPr>
          <p:spPr bwMode="auto">
            <a:xfrm>
              <a:off x="4014288" y="2447223"/>
              <a:ext cx="214457" cy="256487"/>
            </a:xfrm>
            <a:custGeom>
              <a:avLst/>
              <a:gdLst>
                <a:gd name="T0" fmla="*/ 1 w 411"/>
                <a:gd name="T1" fmla="*/ 137 h 504"/>
                <a:gd name="T2" fmla="*/ 3 w 411"/>
                <a:gd name="T3" fmla="*/ 152 h 504"/>
                <a:gd name="T4" fmla="*/ 18 w 411"/>
                <a:gd name="T5" fmla="*/ 153 h 504"/>
                <a:gd name="T6" fmla="*/ 44 w 411"/>
                <a:gd name="T7" fmla="*/ 152 h 504"/>
                <a:gd name="T8" fmla="*/ 55 w 411"/>
                <a:gd name="T9" fmla="*/ 164 h 504"/>
                <a:gd name="T10" fmla="*/ 66 w 411"/>
                <a:gd name="T11" fmla="*/ 201 h 504"/>
                <a:gd name="T12" fmla="*/ 84 w 411"/>
                <a:gd name="T13" fmla="*/ 275 h 504"/>
                <a:gd name="T14" fmla="*/ 77 w 411"/>
                <a:gd name="T15" fmla="*/ 303 h 504"/>
                <a:gd name="T16" fmla="*/ 94 w 411"/>
                <a:gd name="T17" fmla="*/ 309 h 504"/>
                <a:gd name="T18" fmla="*/ 108 w 411"/>
                <a:gd name="T19" fmla="*/ 279 h 504"/>
                <a:gd name="T20" fmla="*/ 120 w 411"/>
                <a:gd name="T21" fmla="*/ 290 h 504"/>
                <a:gd name="T22" fmla="*/ 114 w 411"/>
                <a:gd name="T23" fmla="*/ 329 h 504"/>
                <a:gd name="T24" fmla="*/ 136 w 411"/>
                <a:gd name="T25" fmla="*/ 349 h 504"/>
                <a:gd name="T26" fmla="*/ 203 w 411"/>
                <a:gd name="T27" fmla="*/ 351 h 504"/>
                <a:gd name="T28" fmla="*/ 217 w 411"/>
                <a:gd name="T29" fmla="*/ 379 h 504"/>
                <a:gd name="T30" fmla="*/ 251 w 411"/>
                <a:gd name="T31" fmla="*/ 383 h 504"/>
                <a:gd name="T32" fmla="*/ 267 w 411"/>
                <a:gd name="T33" fmla="*/ 419 h 504"/>
                <a:gd name="T34" fmla="*/ 293 w 411"/>
                <a:gd name="T35" fmla="*/ 466 h 504"/>
                <a:gd name="T36" fmla="*/ 312 w 411"/>
                <a:gd name="T37" fmla="*/ 466 h 504"/>
                <a:gd name="T38" fmla="*/ 349 w 411"/>
                <a:gd name="T39" fmla="*/ 497 h 504"/>
                <a:gd name="T40" fmla="*/ 391 w 411"/>
                <a:gd name="T41" fmla="*/ 501 h 504"/>
                <a:gd name="T42" fmla="*/ 411 w 411"/>
                <a:gd name="T43" fmla="*/ 484 h 504"/>
                <a:gd name="T44" fmla="*/ 391 w 411"/>
                <a:gd name="T45" fmla="*/ 432 h 504"/>
                <a:gd name="T46" fmla="*/ 384 w 411"/>
                <a:gd name="T47" fmla="*/ 379 h 504"/>
                <a:gd name="T48" fmla="*/ 399 w 411"/>
                <a:gd name="T49" fmla="*/ 351 h 504"/>
                <a:gd name="T50" fmla="*/ 378 w 411"/>
                <a:gd name="T51" fmla="*/ 331 h 504"/>
                <a:gd name="T52" fmla="*/ 358 w 411"/>
                <a:gd name="T53" fmla="*/ 336 h 504"/>
                <a:gd name="T54" fmla="*/ 354 w 411"/>
                <a:gd name="T55" fmla="*/ 323 h 504"/>
                <a:gd name="T56" fmla="*/ 326 w 411"/>
                <a:gd name="T57" fmla="*/ 331 h 504"/>
                <a:gd name="T58" fmla="*/ 314 w 411"/>
                <a:gd name="T59" fmla="*/ 346 h 504"/>
                <a:gd name="T60" fmla="*/ 299 w 411"/>
                <a:gd name="T61" fmla="*/ 333 h 504"/>
                <a:gd name="T62" fmla="*/ 280 w 411"/>
                <a:gd name="T63" fmla="*/ 327 h 504"/>
                <a:gd name="T64" fmla="*/ 249 w 411"/>
                <a:gd name="T65" fmla="*/ 309 h 504"/>
                <a:gd name="T66" fmla="*/ 229 w 411"/>
                <a:gd name="T67" fmla="*/ 318 h 504"/>
                <a:gd name="T68" fmla="*/ 247 w 411"/>
                <a:gd name="T69" fmla="*/ 283 h 504"/>
                <a:gd name="T70" fmla="*/ 253 w 411"/>
                <a:gd name="T71" fmla="*/ 246 h 504"/>
                <a:gd name="T72" fmla="*/ 256 w 411"/>
                <a:gd name="T73" fmla="*/ 224 h 504"/>
                <a:gd name="T74" fmla="*/ 219 w 411"/>
                <a:gd name="T75" fmla="*/ 225 h 504"/>
                <a:gd name="T76" fmla="*/ 212 w 411"/>
                <a:gd name="T77" fmla="*/ 203 h 504"/>
                <a:gd name="T78" fmla="*/ 223 w 411"/>
                <a:gd name="T79" fmla="*/ 185 h 504"/>
                <a:gd name="T80" fmla="*/ 229 w 411"/>
                <a:gd name="T81" fmla="*/ 133 h 504"/>
                <a:gd name="T82" fmla="*/ 219 w 411"/>
                <a:gd name="T83" fmla="*/ 68 h 504"/>
                <a:gd name="T84" fmla="*/ 217 w 411"/>
                <a:gd name="T85" fmla="*/ 33 h 504"/>
                <a:gd name="T86" fmla="*/ 212 w 411"/>
                <a:gd name="T87" fmla="*/ 15 h 504"/>
                <a:gd name="T88" fmla="*/ 181 w 411"/>
                <a:gd name="T89" fmla="*/ 22 h 504"/>
                <a:gd name="T90" fmla="*/ 136 w 411"/>
                <a:gd name="T91" fmla="*/ 68 h 504"/>
                <a:gd name="T92" fmla="*/ 81 w 411"/>
                <a:gd name="T93" fmla="*/ 85 h 504"/>
                <a:gd name="T94" fmla="*/ 60 w 411"/>
                <a:gd name="T95" fmla="*/ 89 h 504"/>
                <a:gd name="T96" fmla="*/ 42 w 411"/>
                <a:gd name="T97" fmla="*/ 105 h 5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11"/>
                <a:gd name="T148" fmla="*/ 0 h 504"/>
                <a:gd name="T149" fmla="*/ 411 w 411"/>
                <a:gd name="T150" fmla="*/ 504 h 5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11" h="504">
                  <a:moveTo>
                    <a:pt x="1" y="113"/>
                  </a:moveTo>
                  <a:lnTo>
                    <a:pt x="3" y="120"/>
                  </a:lnTo>
                  <a:lnTo>
                    <a:pt x="3" y="129"/>
                  </a:lnTo>
                  <a:lnTo>
                    <a:pt x="1" y="137"/>
                  </a:lnTo>
                  <a:lnTo>
                    <a:pt x="0" y="144"/>
                  </a:lnTo>
                  <a:lnTo>
                    <a:pt x="0" y="146"/>
                  </a:lnTo>
                  <a:lnTo>
                    <a:pt x="1" y="150"/>
                  </a:lnTo>
                  <a:lnTo>
                    <a:pt x="3" y="152"/>
                  </a:lnTo>
                  <a:lnTo>
                    <a:pt x="7" y="153"/>
                  </a:lnTo>
                  <a:lnTo>
                    <a:pt x="11" y="155"/>
                  </a:lnTo>
                  <a:lnTo>
                    <a:pt x="14" y="155"/>
                  </a:lnTo>
                  <a:lnTo>
                    <a:pt x="18" y="153"/>
                  </a:lnTo>
                  <a:lnTo>
                    <a:pt x="22" y="152"/>
                  </a:lnTo>
                  <a:lnTo>
                    <a:pt x="31" y="150"/>
                  </a:lnTo>
                  <a:lnTo>
                    <a:pt x="38" y="150"/>
                  </a:lnTo>
                  <a:lnTo>
                    <a:pt x="44" y="152"/>
                  </a:lnTo>
                  <a:lnTo>
                    <a:pt x="49" y="153"/>
                  </a:lnTo>
                  <a:lnTo>
                    <a:pt x="53" y="155"/>
                  </a:lnTo>
                  <a:lnTo>
                    <a:pt x="55" y="159"/>
                  </a:lnTo>
                  <a:lnTo>
                    <a:pt x="55" y="164"/>
                  </a:lnTo>
                  <a:lnTo>
                    <a:pt x="53" y="170"/>
                  </a:lnTo>
                  <a:lnTo>
                    <a:pt x="49" y="181"/>
                  </a:lnTo>
                  <a:lnTo>
                    <a:pt x="48" y="190"/>
                  </a:lnTo>
                  <a:lnTo>
                    <a:pt x="66" y="201"/>
                  </a:lnTo>
                  <a:lnTo>
                    <a:pt x="84" y="213"/>
                  </a:lnTo>
                  <a:lnTo>
                    <a:pt x="84" y="238"/>
                  </a:lnTo>
                  <a:lnTo>
                    <a:pt x="86" y="264"/>
                  </a:lnTo>
                  <a:lnTo>
                    <a:pt x="84" y="275"/>
                  </a:lnTo>
                  <a:lnTo>
                    <a:pt x="79" y="285"/>
                  </a:lnTo>
                  <a:lnTo>
                    <a:pt x="77" y="290"/>
                  </a:lnTo>
                  <a:lnTo>
                    <a:pt x="77" y="296"/>
                  </a:lnTo>
                  <a:lnTo>
                    <a:pt x="77" y="303"/>
                  </a:lnTo>
                  <a:lnTo>
                    <a:pt x="83" y="309"/>
                  </a:lnTo>
                  <a:lnTo>
                    <a:pt x="86" y="312"/>
                  </a:lnTo>
                  <a:lnTo>
                    <a:pt x="90" y="312"/>
                  </a:lnTo>
                  <a:lnTo>
                    <a:pt x="94" y="309"/>
                  </a:lnTo>
                  <a:lnTo>
                    <a:pt x="97" y="305"/>
                  </a:lnTo>
                  <a:lnTo>
                    <a:pt x="101" y="292"/>
                  </a:lnTo>
                  <a:lnTo>
                    <a:pt x="105" y="281"/>
                  </a:lnTo>
                  <a:lnTo>
                    <a:pt x="108" y="279"/>
                  </a:lnTo>
                  <a:lnTo>
                    <a:pt x="110" y="279"/>
                  </a:lnTo>
                  <a:lnTo>
                    <a:pt x="112" y="279"/>
                  </a:lnTo>
                  <a:lnTo>
                    <a:pt x="116" y="281"/>
                  </a:lnTo>
                  <a:lnTo>
                    <a:pt x="120" y="290"/>
                  </a:lnTo>
                  <a:lnTo>
                    <a:pt x="120" y="301"/>
                  </a:lnTo>
                  <a:lnTo>
                    <a:pt x="118" y="312"/>
                  </a:lnTo>
                  <a:lnTo>
                    <a:pt x="116" y="322"/>
                  </a:lnTo>
                  <a:lnTo>
                    <a:pt x="114" y="329"/>
                  </a:lnTo>
                  <a:lnTo>
                    <a:pt x="116" y="333"/>
                  </a:lnTo>
                  <a:lnTo>
                    <a:pt x="120" y="338"/>
                  </a:lnTo>
                  <a:lnTo>
                    <a:pt x="123" y="342"/>
                  </a:lnTo>
                  <a:lnTo>
                    <a:pt x="136" y="349"/>
                  </a:lnTo>
                  <a:lnTo>
                    <a:pt x="153" y="353"/>
                  </a:lnTo>
                  <a:lnTo>
                    <a:pt x="173" y="353"/>
                  </a:lnTo>
                  <a:lnTo>
                    <a:pt x="193" y="349"/>
                  </a:lnTo>
                  <a:lnTo>
                    <a:pt x="203" y="351"/>
                  </a:lnTo>
                  <a:lnTo>
                    <a:pt x="208" y="355"/>
                  </a:lnTo>
                  <a:lnTo>
                    <a:pt x="212" y="360"/>
                  </a:lnTo>
                  <a:lnTo>
                    <a:pt x="216" y="368"/>
                  </a:lnTo>
                  <a:lnTo>
                    <a:pt x="217" y="379"/>
                  </a:lnTo>
                  <a:lnTo>
                    <a:pt x="223" y="388"/>
                  </a:lnTo>
                  <a:lnTo>
                    <a:pt x="232" y="388"/>
                  </a:lnTo>
                  <a:lnTo>
                    <a:pt x="245" y="384"/>
                  </a:lnTo>
                  <a:lnTo>
                    <a:pt x="251" y="383"/>
                  </a:lnTo>
                  <a:lnTo>
                    <a:pt x="256" y="384"/>
                  </a:lnTo>
                  <a:lnTo>
                    <a:pt x="262" y="388"/>
                  </a:lnTo>
                  <a:lnTo>
                    <a:pt x="267" y="397"/>
                  </a:lnTo>
                  <a:lnTo>
                    <a:pt x="267" y="419"/>
                  </a:lnTo>
                  <a:lnTo>
                    <a:pt x="271" y="440"/>
                  </a:lnTo>
                  <a:lnTo>
                    <a:pt x="282" y="451"/>
                  </a:lnTo>
                  <a:lnTo>
                    <a:pt x="293" y="460"/>
                  </a:lnTo>
                  <a:lnTo>
                    <a:pt x="293" y="466"/>
                  </a:lnTo>
                  <a:lnTo>
                    <a:pt x="293" y="468"/>
                  </a:lnTo>
                  <a:lnTo>
                    <a:pt x="297" y="469"/>
                  </a:lnTo>
                  <a:lnTo>
                    <a:pt x="301" y="469"/>
                  </a:lnTo>
                  <a:lnTo>
                    <a:pt x="312" y="466"/>
                  </a:lnTo>
                  <a:lnTo>
                    <a:pt x="325" y="460"/>
                  </a:lnTo>
                  <a:lnTo>
                    <a:pt x="332" y="477"/>
                  </a:lnTo>
                  <a:lnTo>
                    <a:pt x="339" y="488"/>
                  </a:lnTo>
                  <a:lnTo>
                    <a:pt x="349" y="497"/>
                  </a:lnTo>
                  <a:lnTo>
                    <a:pt x="358" y="503"/>
                  </a:lnTo>
                  <a:lnTo>
                    <a:pt x="369" y="504"/>
                  </a:lnTo>
                  <a:lnTo>
                    <a:pt x="380" y="504"/>
                  </a:lnTo>
                  <a:lnTo>
                    <a:pt x="391" y="501"/>
                  </a:lnTo>
                  <a:lnTo>
                    <a:pt x="402" y="495"/>
                  </a:lnTo>
                  <a:lnTo>
                    <a:pt x="408" y="492"/>
                  </a:lnTo>
                  <a:lnTo>
                    <a:pt x="410" y="488"/>
                  </a:lnTo>
                  <a:lnTo>
                    <a:pt x="411" y="484"/>
                  </a:lnTo>
                  <a:lnTo>
                    <a:pt x="411" y="480"/>
                  </a:lnTo>
                  <a:lnTo>
                    <a:pt x="406" y="469"/>
                  </a:lnTo>
                  <a:lnTo>
                    <a:pt x="393" y="449"/>
                  </a:lnTo>
                  <a:lnTo>
                    <a:pt x="391" y="432"/>
                  </a:lnTo>
                  <a:lnTo>
                    <a:pt x="389" y="416"/>
                  </a:lnTo>
                  <a:lnTo>
                    <a:pt x="386" y="399"/>
                  </a:lnTo>
                  <a:lnTo>
                    <a:pt x="384" y="383"/>
                  </a:lnTo>
                  <a:lnTo>
                    <a:pt x="384" y="379"/>
                  </a:lnTo>
                  <a:lnTo>
                    <a:pt x="391" y="373"/>
                  </a:lnTo>
                  <a:lnTo>
                    <a:pt x="402" y="364"/>
                  </a:lnTo>
                  <a:lnTo>
                    <a:pt x="402" y="357"/>
                  </a:lnTo>
                  <a:lnTo>
                    <a:pt x="399" y="351"/>
                  </a:lnTo>
                  <a:lnTo>
                    <a:pt x="393" y="346"/>
                  </a:lnTo>
                  <a:lnTo>
                    <a:pt x="389" y="340"/>
                  </a:lnTo>
                  <a:lnTo>
                    <a:pt x="384" y="334"/>
                  </a:lnTo>
                  <a:lnTo>
                    <a:pt x="378" y="331"/>
                  </a:lnTo>
                  <a:lnTo>
                    <a:pt x="373" y="331"/>
                  </a:lnTo>
                  <a:lnTo>
                    <a:pt x="367" y="334"/>
                  </a:lnTo>
                  <a:lnTo>
                    <a:pt x="362" y="336"/>
                  </a:lnTo>
                  <a:lnTo>
                    <a:pt x="358" y="336"/>
                  </a:lnTo>
                  <a:lnTo>
                    <a:pt x="356" y="334"/>
                  </a:lnTo>
                  <a:lnTo>
                    <a:pt x="354" y="327"/>
                  </a:lnTo>
                  <a:lnTo>
                    <a:pt x="354" y="325"/>
                  </a:lnTo>
                  <a:lnTo>
                    <a:pt x="354" y="323"/>
                  </a:lnTo>
                  <a:lnTo>
                    <a:pt x="345" y="322"/>
                  </a:lnTo>
                  <a:lnTo>
                    <a:pt x="334" y="323"/>
                  </a:lnTo>
                  <a:lnTo>
                    <a:pt x="328" y="327"/>
                  </a:lnTo>
                  <a:lnTo>
                    <a:pt x="326" y="331"/>
                  </a:lnTo>
                  <a:lnTo>
                    <a:pt x="323" y="334"/>
                  </a:lnTo>
                  <a:lnTo>
                    <a:pt x="321" y="338"/>
                  </a:lnTo>
                  <a:lnTo>
                    <a:pt x="317" y="342"/>
                  </a:lnTo>
                  <a:lnTo>
                    <a:pt x="314" y="346"/>
                  </a:lnTo>
                  <a:lnTo>
                    <a:pt x="306" y="347"/>
                  </a:lnTo>
                  <a:lnTo>
                    <a:pt x="297" y="347"/>
                  </a:lnTo>
                  <a:lnTo>
                    <a:pt x="297" y="340"/>
                  </a:lnTo>
                  <a:lnTo>
                    <a:pt x="299" y="333"/>
                  </a:lnTo>
                  <a:lnTo>
                    <a:pt x="295" y="331"/>
                  </a:lnTo>
                  <a:lnTo>
                    <a:pt x="291" y="329"/>
                  </a:lnTo>
                  <a:lnTo>
                    <a:pt x="286" y="329"/>
                  </a:lnTo>
                  <a:lnTo>
                    <a:pt x="280" y="327"/>
                  </a:lnTo>
                  <a:lnTo>
                    <a:pt x="267" y="327"/>
                  </a:lnTo>
                  <a:lnTo>
                    <a:pt x="254" y="325"/>
                  </a:lnTo>
                  <a:lnTo>
                    <a:pt x="251" y="314"/>
                  </a:lnTo>
                  <a:lnTo>
                    <a:pt x="249" y="309"/>
                  </a:lnTo>
                  <a:lnTo>
                    <a:pt x="243" y="310"/>
                  </a:lnTo>
                  <a:lnTo>
                    <a:pt x="236" y="314"/>
                  </a:lnTo>
                  <a:lnTo>
                    <a:pt x="232" y="316"/>
                  </a:lnTo>
                  <a:lnTo>
                    <a:pt x="229" y="318"/>
                  </a:lnTo>
                  <a:lnTo>
                    <a:pt x="225" y="316"/>
                  </a:lnTo>
                  <a:lnTo>
                    <a:pt x="221" y="314"/>
                  </a:lnTo>
                  <a:lnTo>
                    <a:pt x="232" y="298"/>
                  </a:lnTo>
                  <a:lnTo>
                    <a:pt x="247" y="283"/>
                  </a:lnTo>
                  <a:lnTo>
                    <a:pt x="242" y="272"/>
                  </a:lnTo>
                  <a:lnTo>
                    <a:pt x="238" y="264"/>
                  </a:lnTo>
                  <a:lnTo>
                    <a:pt x="245" y="253"/>
                  </a:lnTo>
                  <a:lnTo>
                    <a:pt x="253" y="246"/>
                  </a:lnTo>
                  <a:lnTo>
                    <a:pt x="256" y="242"/>
                  </a:lnTo>
                  <a:lnTo>
                    <a:pt x="258" y="237"/>
                  </a:lnTo>
                  <a:lnTo>
                    <a:pt x="258" y="231"/>
                  </a:lnTo>
                  <a:lnTo>
                    <a:pt x="256" y="224"/>
                  </a:lnTo>
                  <a:lnTo>
                    <a:pt x="243" y="225"/>
                  </a:lnTo>
                  <a:lnTo>
                    <a:pt x="227" y="229"/>
                  </a:lnTo>
                  <a:lnTo>
                    <a:pt x="223" y="229"/>
                  </a:lnTo>
                  <a:lnTo>
                    <a:pt x="219" y="225"/>
                  </a:lnTo>
                  <a:lnTo>
                    <a:pt x="216" y="222"/>
                  </a:lnTo>
                  <a:lnTo>
                    <a:pt x="214" y="214"/>
                  </a:lnTo>
                  <a:lnTo>
                    <a:pt x="212" y="209"/>
                  </a:lnTo>
                  <a:lnTo>
                    <a:pt x="212" y="203"/>
                  </a:lnTo>
                  <a:lnTo>
                    <a:pt x="212" y="196"/>
                  </a:lnTo>
                  <a:lnTo>
                    <a:pt x="214" y="192"/>
                  </a:lnTo>
                  <a:lnTo>
                    <a:pt x="221" y="188"/>
                  </a:lnTo>
                  <a:lnTo>
                    <a:pt x="223" y="185"/>
                  </a:lnTo>
                  <a:lnTo>
                    <a:pt x="221" y="181"/>
                  </a:lnTo>
                  <a:lnTo>
                    <a:pt x="219" y="170"/>
                  </a:lnTo>
                  <a:lnTo>
                    <a:pt x="225" y="153"/>
                  </a:lnTo>
                  <a:lnTo>
                    <a:pt x="229" y="133"/>
                  </a:lnTo>
                  <a:lnTo>
                    <a:pt x="221" y="118"/>
                  </a:lnTo>
                  <a:lnTo>
                    <a:pt x="210" y="103"/>
                  </a:lnTo>
                  <a:lnTo>
                    <a:pt x="214" y="85"/>
                  </a:lnTo>
                  <a:lnTo>
                    <a:pt x="219" y="68"/>
                  </a:lnTo>
                  <a:lnTo>
                    <a:pt x="227" y="55"/>
                  </a:lnTo>
                  <a:lnTo>
                    <a:pt x="234" y="41"/>
                  </a:lnTo>
                  <a:lnTo>
                    <a:pt x="225" y="39"/>
                  </a:lnTo>
                  <a:lnTo>
                    <a:pt x="217" y="33"/>
                  </a:lnTo>
                  <a:lnTo>
                    <a:pt x="219" y="28"/>
                  </a:lnTo>
                  <a:lnTo>
                    <a:pt x="225" y="22"/>
                  </a:lnTo>
                  <a:lnTo>
                    <a:pt x="219" y="18"/>
                  </a:lnTo>
                  <a:lnTo>
                    <a:pt x="212" y="15"/>
                  </a:lnTo>
                  <a:lnTo>
                    <a:pt x="205" y="7"/>
                  </a:lnTo>
                  <a:lnTo>
                    <a:pt x="199" y="0"/>
                  </a:lnTo>
                  <a:lnTo>
                    <a:pt x="188" y="11"/>
                  </a:lnTo>
                  <a:lnTo>
                    <a:pt x="181" y="22"/>
                  </a:lnTo>
                  <a:lnTo>
                    <a:pt x="162" y="31"/>
                  </a:lnTo>
                  <a:lnTo>
                    <a:pt x="147" y="39"/>
                  </a:lnTo>
                  <a:lnTo>
                    <a:pt x="144" y="52"/>
                  </a:lnTo>
                  <a:lnTo>
                    <a:pt x="136" y="68"/>
                  </a:lnTo>
                  <a:lnTo>
                    <a:pt x="125" y="67"/>
                  </a:lnTo>
                  <a:lnTo>
                    <a:pt x="108" y="67"/>
                  </a:lnTo>
                  <a:lnTo>
                    <a:pt x="94" y="76"/>
                  </a:lnTo>
                  <a:lnTo>
                    <a:pt x="81" y="85"/>
                  </a:lnTo>
                  <a:lnTo>
                    <a:pt x="70" y="79"/>
                  </a:lnTo>
                  <a:lnTo>
                    <a:pt x="64" y="76"/>
                  </a:lnTo>
                  <a:lnTo>
                    <a:pt x="62" y="81"/>
                  </a:lnTo>
                  <a:lnTo>
                    <a:pt x="60" y="89"/>
                  </a:lnTo>
                  <a:lnTo>
                    <a:pt x="59" y="94"/>
                  </a:lnTo>
                  <a:lnTo>
                    <a:pt x="55" y="100"/>
                  </a:lnTo>
                  <a:lnTo>
                    <a:pt x="49" y="103"/>
                  </a:lnTo>
                  <a:lnTo>
                    <a:pt x="42" y="105"/>
                  </a:lnTo>
                  <a:lnTo>
                    <a:pt x="22" y="111"/>
                  </a:lnTo>
                  <a:lnTo>
                    <a:pt x="1" y="11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0" name="Freeform 48"/>
            <p:cNvSpPr>
              <a:spLocks/>
            </p:cNvSpPr>
            <p:nvPr/>
          </p:nvSpPr>
          <p:spPr bwMode="auto">
            <a:xfrm>
              <a:off x="4212569" y="1693030"/>
              <a:ext cx="153407" cy="223917"/>
            </a:xfrm>
            <a:custGeom>
              <a:avLst/>
              <a:gdLst>
                <a:gd name="T0" fmla="*/ 72 w 294"/>
                <a:gd name="T1" fmla="*/ 216 h 440"/>
                <a:gd name="T2" fmla="*/ 87 w 294"/>
                <a:gd name="T3" fmla="*/ 187 h 440"/>
                <a:gd name="T4" fmla="*/ 85 w 294"/>
                <a:gd name="T5" fmla="*/ 229 h 440"/>
                <a:gd name="T6" fmla="*/ 89 w 294"/>
                <a:gd name="T7" fmla="*/ 251 h 440"/>
                <a:gd name="T8" fmla="*/ 96 w 294"/>
                <a:gd name="T9" fmla="*/ 255 h 440"/>
                <a:gd name="T10" fmla="*/ 94 w 294"/>
                <a:gd name="T11" fmla="*/ 277 h 440"/>
                <a:gd name="T12" fmla="*/ 92 w 294"/>
                <a:gd name="T13" fmla="*/ 301 h 440"/>
                <a:gd name="T14" fmla="*/ 118 w 294"/>
                <a:gd name="T15" fmla="*/ 373 h 440"/>
                <a:gd name="T16" fmla="*/ 146 w 294"/>
                <a:gd name="T17" fmla="*/ 418 h 440"/>
                <a:gd name="T18" fmla="*/ 164 w 294"/>
                <a:gd name="T19" fmla="*/ 432 h 440"/>
                <a:gd name="T20" fmla="*/ 188 w 294"/>
                <a:gd name="T21" fmla="*/ 440 h 440"/>
                <a:gd name="T22" fmla="*/ 225 w 294"/>
                <a:gd name="T23" fmla="*/ 436 h 440"/>
                <a:gd name="T24" fmla="*/ 266 w 294"/>
                <a:gd name="T25" fmla="*/ 425 h 440"/>
                <a:gd name="T26" fmla="*/ 277 w 294"/>
                <a:gd name="T27" fmla="*/ 399 h 440"/>
                <a:gd name="T28" fmla="*/ 290 w 294"/>
                <a:gd name="T29" fmla="*/ 342 h 440"/>
                <a:gd name="T30" fmla="*/ 288 w 294"/>
                <a:gd name="T31" fmla="*/ 285 h 440"/>
                <a:gd name="T32" fmla="*/ 288 w 294"/>
                <a:gd name="T33" fmla="*/ 214 h 440"/>
                <a:gd name="T34" fmla="*/ 285 w 294"/>
                <a:gd name="T35" fmla="*/ 166 h 440"/>
                <a:gd name="T36" fmla="*/ 270 w 294"/>
                <a:gd name="T37" fmla="*/ 133 h 440"/>
                <a:gd name="T38" fmla="*/ 253 w 294"/>
                <a:gd name="T39" fmla="*/ 124 h 440"/>
                <a:gd name="T40" fmla="*/ 259 w 294"/>
                <a:gd name="T41" fmla="*/ 118 h 440"/>
                <a:gd name="T42" fmla="*/ 261 w 294"/>
                <a:gd name="T43" fmla="*/ 102 h 440"/>
                <a:gd name="T44" fmla="*/ 253 w 294"/>
                <a:gd name="T45" fmla="*/ 81 h 440"/>
                <a:gd name="T46" fmla="*/ 264 w 294"/>
                <a:gd name="T47" fmla="*/ 85 h 440"/>
                <a:gd name="T48" fmla="*/ 272 w 294"/>
                <a:gd name="T49" fmla="*/ 94 h 440"/>
                <a:gd name="T50" fmla="*/ 281 w 294"/>
                <a:gd name="T51" fmla="*/ 87 h 440"/>
                <a:gd name="T52" fmla="*/ 283 w 294"/>
                <a:gd name="T53" fmla="*/ 67 h 440"/>
                <a:gd name="T54" fmla="*/ 275 w 294"/>
                <a:gd name="T55" fmla="*/ 55 h 440"/>
                <a:gd name="T56" fmla="*/ 255 w 294"/>
                <a:gd name="T57" fmla="*/ 54 h 440"/>
                <a:gd name="T58" fmla="*/ 251 w 294"/>
                <a:gd name="T59" fmla="*/ 35 h 440"/>
                <a:gd name="T60" fmla="*/ 231 w 294"/>
                <a:gd name="T61" fmla="*/ 35 h 440"/>
                <a:gd name="T62" fmla="*/ 192 w 294"/>
                <a:gd name="T63" fmla="*/ 7 h 440"/>
                <a:gd name="T64" fmla="*/ 176 w 294"/>
                <a:gd name="T65" fmla="*/ 0 h 440"/>
                <a:gd name="T66" fmla="*/ 135 w 294"/>
                <a:gd name="T67" fmla="*/ 15 h 440"/>
                <a:gd name="T68" fmla="*/ 109 w 294"/>
                <a:gd name="T69" fmla="*/ 20 h 440"/>
                <a:gd name="T70" fmla="*/ 103 w 294"/>
                <a:gd name="T71" fmla="*/ 44 h 440"/>
                <a:gd name="T72" fmla="*/ 89 w 294"/>
                <a:gd name="T73" fmla="*/ 89 h 440"/>
                <a:gd name="T74" fmla="*/ 76 w 294"/>
                <a:gd name="T75" fmla="*/ 98 h 440"/>
                <a:gd name="T76" fmla="*/ 22 w 294"/>
                <a:gd name="T77" fmla="*/ 98 h 440"/>
                <a:gd name="T78" fmla="*/ 11 w 294"/>
                <a:gd name="T79" fmla="*/ 128 h 440"/>
                <a:gd name="T80" fmla="*/ 44 w 294"/>
                <a:gd name="T81" fmla="*/ 187 h 440"/>
                <a:gd name="T82" fmla="*/ 31 w 294"/>
                <a:gd name="T83" fmla="*/ 196 h 440"/>
                <a:gd name="T84" fmla="*/ 28 w 294"/>
                <a:gd name="T85" fmla="*/ 214 h 440"/>
                <a:gd name="T86" fmla="*/ 43 w 294"/>
                <a:gd name="T87" fmla="*/ 222 h 440"/>
                <a:gd name="T88" fmla="*/ 72 w 294"/>
                <a:gd name="T89" fmla="*/ 224 h 44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94"/>
                <a:gd name="T136" fmla="*/ 0 h 440"/>
                <a:gd name="T137" fmla="*/ 294 w 294"/>
                <a:gd name="T138" fmla="*/ 440 h 44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94" h="440">
                  <a:moveTo>
                    <a:pt x="72" y="224"/>
                  </a:moveTo>
                  <a:lnTo>
                    <a:pt x="72" y="220"/>
                  </a:lnTo>
                  <a:lnTo>
                    <a:pt x="72" y="216"/>
                  </a:lnTo>
                  <a:lnTo>
                    <a:pt x="78" y="201"/>
                  </a:lnTo>
                  <a:lnTo>
                    <a:pt x="81" y="192"/>
                  </a:lnTo>
                  <a:lnTo>
                    <a:pt x="87" y="187"/>
                  </a:lnTo>
                  <a:lnTo>
                    <a:pt x="91" y="185"/>
                  </a:lnTo>
                  <a:lnTo>
                    <a:pt x="89" y="207"/>
                  </a:lnTo>
                  <a:lnTo>
                    <a:pt x="85" y="229"/>
                  </a:lnTo>
                  <a:lnTo>
                    <a:pt x="87" y="238"/>
                  </a:lnTo>
                  <a:lnTo>
                    <a:pt x="87" y="248"/>
                  </a:lnTo>
                  <a:lnTo>
                    <a:pt x="89" y="251"/>
                  </a:lnTo>
                  <a:lnTo>
                    <a:pt x="91" y="255"/>
                  </a:lnTo>
                  <a:lnTo>
                    <a:pt x="92" y="257"/>
                  </a:lnTo>
                  <a:lnTo>
                    <a:pt x="96" y="255"/>
                  </a:lnTo>
                  <a:lnTo>
                    <a:pt x="94" y="264"/>
                  </a:lnTo>
                  <a:lnTo>
                    <a:pt x="91" y="272"/>
                  </a:lnTo>
                  <a:lnTo>
                    <a:pt x="94" y="277"/>
                  </a:lnTo>
                  <a:lnTo>
                    <a:pt x="94" y="285"/>
                  </a:lnTo>
                  <a:lnTo>
                    <a:pt x="94" y="292"/>
                  </a:lnTo>
                  <a:lnTo>
                    <a:pt x="92" y="301"/>
                  </a:lnTo>
                  <a:lnTo>
                    <a:pt x="102" y="323"/>
                  </a:lnTo>
                  <a:lnTo>
                    <a:pt x="113" y="357"/>
                  </a:lnTo>
                  <a:lnTo>
                    <a:pt x="118" y="373"/>
                  </a:lnTo>
                  <a:lnTo>
                    <a:pt x="126" y="390"/>
                  </a:lnTo>
                  <a:lnTo>
                    <a:pt x="135" y="405"/>
                  </a:lnTo>
                  <a:lnTo>
                    <a:pt x="146" y="418"/>
                  </a:lnTo>
                  <a:lnTo>
                    <a:pt x="152" y="423"/>
                  </a:lnTo>
                  <a:lnTo>
                    <a:pt x="159" y="429"/>
                  </a:lnTo>
                  <a:lnTo>
                    <a:pt x="164" y="432"/>
                  </a:lnTo>
                  <a:lnTo>
                    <a:pt x="172" y="436"/>
                  </a:lnTo>
                  <a:lnTo>
                    <a:pt x="181" y="438"/>
                  </a:lnTo>
                  <a:lnTo>
                    <a:pt x="188" y="440"/>
                  </a:lnTo>
                  <a:lnTo>
                    <a:pt x="198" y="438"/>
                  </a:lnTo>
                  <a:lnTo>
                    <a:pt x="209" y="438"/>
                  </a:lnTo>
                  <a:lnTo>
                    <a:pt x="225" y="436"/>
                  </a:lnTo>
                  <a:lnTo>
                    <a:pt x="240" y="434"/>
                  </a:lnTo>
                  <a:lnTo>
                    <a:pt x="251" y="431"/>
                  </a:lnTo>
                  <a:lnTo>
                    <a:pt x="266" y="425"/>
                  </a:lnTo>
                  <a:lnTo>
                    <a:pt x="270" y="416"/>
                  </a:lnTo>
                  <a:lnTo>
                    <a:pt x="272" y="405"/>
                  </a:lnTo>
                  <a:lnTo>
                    <a:pt x="277" y="399"/>
                  </a:lnTo>
                  <a:lnTo>
                    <a:pt x="285" y="392"/>
                  </a:lnTo>
                  <a:lnTo>
                    <a:pt x="288" y="366"/>
                  </a:lnTo>
                  <a:lnTo>
                    <a:pt x="290" y="342"/>
                  </a:lnTo>
                  <a:lnTo>
                    <a:pt x="286" y="329"/>
                  </a:lnTo>
                  <a:lnTo>
                    <a:pt x="283" y="316"/>
                  </a:lnTo>
                  <a:lnTo>
                    <a:pt x="288" y="285"/>
                  </a:lnTo>
                  <a:lnTo>
                    <a:pt x="290" y="261"/>
                  </a:lnTo>
                  <a:lnTo>
                    <a:pt x="288" y="238"/>
                  </a:lnTo>
                  <a:lnTo>
                    <a:pt x="288" y="214"/>
                  </a:lnTo>
                  <a:lnTo>
                    <a:pt x="294" y="200"/>
                  </a:lnTo>
                  <a:lnTo>
                    <a:pt x="294" y="185"/>
                  </a:lnTo>
                  <a:lnTo>
                    <a:pt x="285" y="166"/>
                  </a:lnTo>
                  <a:lnTo>
                    <a:pt x="273" y="146"/>
                  </a:lnTo>
                  <a:lnTo>
                    <a:pt x="272" y="140"/>
                  </a:lnTo>
                  <a:lnTo>
                    <a:pt x="270" y="133"/>
                  </a:lnTo>
                  <a:lnTo>
                    <a:pt x="266" y="129"/>
                  </a:lnTo>
                  <a:lnTo>
                    <a:pt x="261" y="128"/>
                  </a:lnTo>
                  <a:lnTo>
                    <a:pt x="253" y="124"/>
                  </a:lnTo>
                  <a:lnTo>
                    <a:pt x="242" y="124"/>
                  </a:lnTo>
                  <a:lnTo>
                    <a:pt x="249" y="120"/>
                  </a:lnTo>
                  <a:lnTo>
                    <a:pt x="259" y="118"/>
                  </a:lnTo>
                  <a:lnTo>
                    <a:pt x="264" y="113"/>
                  </a:lnTo>
                  <a:lnTo>
                    <a:pt x="268" y="109"/>
                  </a:lnTo>
                  <a:lnTo>
                    <a:pt x="261" y="102"/>
                  </a:lnTo>
                  <a:lnTo>
                    <a:pt x="255" y="94"/>
                  </a:lnTo>
                  <a:lnTo>
                    <a:pt x="253" y="87"/>
                  </a:lnTo>
                  <a:lnTo>
                    <a:pt x="253" y="81"/>
                  </a:lnTo>
                  <a:lnTo>
                    <a:pt x="257" y="78"/>
                  </a:lnTo>
                  <a:lnTo>
                    <a:pt x="261" y="74"/>
                  </a:lnTo>
                  <a:lnTo>
                    <a:pt x="264" y="85"/>
                  </a:lnTo>
                  <a:lnTo>
                    <a:pt x="268" y="91"/>
                  </a:lnTo>
                  <a:lnTo>
                    <a:pt x="270" y="92"/>
                  </a:lnTo>
                  <a:lnTo>
                    <a:pt x="272" y="94"/>
                  </a:lnTo>
                  <a:lnTo>
                    <a:pt x="275" y="94"/>
                  </a:lnTo>
                  <a:lnTo>
                    <a:pt x="277" y="92"/>
                  </a:lnTo>
                  <a:lnTo>
                    <a:pt x="281" y="87"/>
                  </a:lnTo>
                  <a:lnTo>
                    <a:pt x="283" y="80"/>
                  </a:lnTo>
                  <a:lnTo>
                    <a:pt x="283" y="74"/>
                  </a:lnTo>
                  <a:lnTo>
                    <a:pt x="283" y="67"/>
                  </a:lnTo>
                  <a:lnTo>
                    <a:pt x="281" y="61"/>
                  </a:lnTo>
                  <a:lnTo>
                    <a:pt x="279" y="57"/>
                  </a:lnTo>
                  <a:lnTo>
                    <a:pt x="275" y="55"/>
                  </a:lnTo>
                  <a:lnTo>
                    <a:pt x="272" y="54"/>
                  </a:lnTo>
                  <a:lnTo>
                    <a:pt x="264" y="52"/>
                  </a:lnTo>
                  <a:lnTo>
                    <a:pt x="255" y="54"/>
                  </a:lnTo>
                  <a:lnTo>
                    <a:pt x="257" y="43"/>
                  </a:lnTo>
                  <a:lnTo>
                    <a:pt x="259" y="31"/>
                  </a:lnTo>
                  <a:lnTo>
                    <a:pt x="251" y="35"/>
                  </a:lnTo>
                  <a:lnTo>
                    <a:pt x="244" y="37"/>
                  </a:lnTo>
                  <a:lnTo>
                    <a:pt x="237" y="37"/>
                  </a:lnTo>
                  <a:lnTo>
                    <a:pt x="231" y="35"/>
                  </a:lnTo>
                  <a:lnTo>
                    <a:pt x="214" y="26"/>
                  </a:lnTo>
                  <a:lnTo>
                    <a:pt x="200" y="13"/>
                  </a:lnTo>
                  <a:lnTo>
                    <a:pt x="192" y="7"/>
                  </a:lnTo>
                  <a:lnTo>
                    <a:pt x="187" y="4"/>
                  </a:lnTo>
                  <a:lnTo>
                    <a:pt x="181" y="0"/>
                  </a:lnTo>
                  <a:lnTo>
                    <a:pt x="176" y="0"/>
                  </a:lnTo>
                  <a:lnTo>
                    <a:pt x="163" y="7"/>
                  </a:lnTo>
                  <a:lnTo>
                    <a:pt x="152" y="15"/>
                  </a:lnTo>
                  <a:lnTo>
                    <a:pt x="135" y="15"/>
                  </a:lnTo>
                  <a:lnTo>
                    <a:pt x="116" y="17"/>
                  </a:lnTo>
                  <a:lnTo>
                    <a:pt x="113" y="19"/>
                  </a:lnTo>
                  <a:lnTo>
                    <a:pt x="109" y="20"/>
                  </a:lnTo>
                  <a:lnTo>
                    <a:pt x="107" y="26"/>
                  </a:lnTo>
                  <a:lnTo>
                    <a:pt x="107" y="30"/>
                  </a:lnTo>
                  <a:lnTo>
                    <a:pt x="103" y="44"/>
                  </a:lnTo>
                  <a:lnTo>
                    <a:pt x="100" y="65"/>
                  </a:lnTo>
                  <a:lnTo>
                    <a:pt x="96" y="80"/>
                  </a:lnTo>
                  <a:lnTo>
                    <a:pt x="89" y="89"/>
                  </a:lnTo>
                  <a:lnTo>
                    <a:pt x="85" y="92"/>
                  </a:lnTo>
                  <a:lnTo>
                    <a:pt x="79" y="96"/>
                  </a:lnTo>
                  <a:lnTo>
                    <a:pt x="76" y="98"/>
                  </a:lnTo>
                  <a:lnTo>
                    <a:pt x="68" y="98"/>
                  </a:lnTo>
                  <a:lnTo>
                    <a:pt x="46" y="98"/>
                  </a:lnTo>
                  <a:lnTo>
                    <a:pt x="22" y="98"/>
                  </a:lnTo>
                  <a:lnTo>
                    <a:pt x="9" y="104"/>
                  </a:lnTo>
                  <a:lnTo>
                    <a:pt x="0" y="111"/>
                  </a:lnTo>
                  <a:lnTo>
                    <a:pt x="11" y="128"/>
                  </a:lnTo>
                  <a:lnTo>
                    <a:pt x="24" y="150"/>
                  </a:lnTo>
                  <a:lnTo>
                    <a:pt x="37" y="170"/>
                  </a:lnTo>
                  <a:lnTo>
                    <a:pt x="44" y="187"/>
                  </a:lnTo>
                  <a:lnTo>
                    <a:pt x="41" y="189"/>
                  </a:lnTo>
                  <a:lnTo>
                    <a:pt x="35" y="192"/>
                  </a:lnTo>
                  <a:lnTo>
                    <a:pt x="31" y="196"/>
                  </a:lnTo>
                  <a:lnTo>
                    <a:pt x="30" y="200"/>
                  </a:lnTo>
                  <a:lnTo>
                    <a:pt x="28" y="207"/>
                  </a:lnTo>
                  <a:lnTo>
                    <a:pt x="28" y="214"/>
                  </a:lnTo>
                  <a:lnTo>
                    <a:pt x="31" y="218"/>
                  </a:lnTo>
                  <a:lnTo>
                    <a:pt x="35" y="222"/>
                  </a:lnTo>
                  <a:lnTo>
                    <a:pt x="43" y="222"/>
                  </a:lnTo>
                  <a:lnTo>
                    <a:pt x="48" y="222"/>
                  </a:lnTo>
                  <a:lnTo>
                    <a:pt x="61" y="220"/>
                  </a:lnTo>
                  <a:lnTo>
                    <a:pt x="72" y="22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1" name="Freeform 49"/>
            <p:cNvSpPr>
              <a:spLocks/>
            </p:cNvSpPr>
            <p:nvPr/>
          </p:nvSpPr>
          <p:spPr bwMode="auto">
            <a:xfrm>
              <a:off x="4097775" y="1900153"/>
              <a:ext cx="312553" cy="279896"/>
            </a:xfrm>
            <a:custGeom>
              <a:avLst/>
              <a:gdLst>
                <a:gd name="T0" fmla="*/ 481 w 599"/>
                <a:gd name="T1" fmla="*/ 134 h 550"/>
                <a:gd name="T2" fmla="*/ 464 w 599"/>
                <a:gd name="T3" fmla="*/ 125 h 550"/>
                <a:gd name="T4" fmla="*/ 462 w 599"/>
                <a:gd name="T5" fmla="*/ 86 h 550"/>
                <a:gd name="T6" fmla="*/ 397 w 599"/>
                <a:gd name="T7" fmla="*/ 68 h 550"/>
                <a:gd name="T8" fmla="*/ 335 w 599"/>
                <a:gd name="T9" fmla="*/ 62 h 550"/>
                <a:gd name="T10" fmla="*/ 318 w 599"/>
                <a:gd name="T11" fmla="*/ 101 h 550"/>
                <a:gd name="T12" fmla="*/ 288 w 599"/>
                <a:gd name="T13" fmla="*/ 114 h 550"/>
                <a:gd name="T14" fmla="*/ 270 w 599"/>
                <a:gd name="T15" fmla="*/ 75 h 550"/>
                <a:gd name="T16" fmla="*/ 248 w 599"/>
                <a:gd name="T17" fmla="*/ 57 h 550"/>
                <a:gd name="T18" fmla="*/ 266 w 599"/>
                <a:gd name="T19" fmla="*/ 53 h 550"/>
                <a:gd name="T20" fmla="*/ 266 w 599"/>
                <a:gd name="T21" fmla="*/ 14 h 550"/>
                <a:gd name="T22" fmla="*/ 253 w 599"/>
                <a:gd name="T23" fmla="*/ 1 h 550"/>
                <a:gd name="T24" fmla="*/ 233 w 599"/>
                <a:gd name="T25" fmla="*/ 5 h 550"/>
                <a:gd name="T26" fmla="*/ 226 w 599"/>
                <a:gd name="T27" fmla="*/ 16 h 550"/>
                <a:gd name="T28" fmla="*/ 213 w 599"/>
                <a:gd name="T29" fmla="*/ 46 h 550"/>
                <a:gd name="T30" fmla="*/ 226 w 599"/>
                <a:gd name="T31" fmla="*/ 57 h 550"/>
                <a:gd name="T32" fmla="*/ 216 w 599"/>
                <a:gd name="T33" fmla="*/ 77 h 550"/>
                <a:gd name="T34" fmla="*/ 187 w 599"/>
                <a:gd name="T35" fmla="*/ 83 h 550"/>
                <a:gd name="T36" fmla="*/ 179 w 599"/>
                <a:gd name="T37" fmla="*/ 57 h 550"/>
                <a:gd name="T38" fmla="*/ 141 w 599"/>
                <a:gd name="T39" fmla="*/ 46 h 550"/>
                <a:gd name="T40" fmla="*/ 98 w 599"/>
                <a:gd name="T41" fmla="*/ 81 h 550"/>
                <a:gd name="T42" fmla="*/ 93 w 599"/>
                <a:gd name="T43" fmla="*/ 116 h 550"/>
                <a:gd name="T44" fmla="*/ 111 w 599"/>
                <a:gd name="T45" fmla="*/ 129 h 550"/>
                <a:gd name="T46" fmla="*/ 85 w 599"/>
                <a:gd name="T47" fmla="*/ 153 h 550"/>
                <a:gd name="T48" fmla="*/ 45 w 599"/>
                <a:gd name="T49" fmla="*/ 197 h 550"/>
                <a:gd name="T50" fmla="*/ 13 w 599"/>
                <a:gd name="T51" fmla="*/ 229 h 550"/>
                <a:gd name="T52" fmla="*/ 2 w 599"/>
                <a:gd name="T53" fmla="*/ 269 h 550"/>
                <a:gd name="T54" fmla="*/ 28 w 599"/>
                <a:gd name="T55" fmla="*/ 304 h 550"/>
                <a:gd name="T56" fmla="*/ 59 w 599"/>
                <a:gd name="T57" fmla="*/ 347 h 550"/>
                <a:gd name="T58" fmla="*/ 104 w 599"/>
                <a:gd name="T59" fmla="*/ 378 h 550"/>
                <a:gd name="T60" fmla="*/ 155 w 599"/>
                <a:gd name="T61" fmla="*/ 413 h 550"/>
                <a:gd name="T62" fmla="*/ 196 w 599"/>
                <a:gd name="T63" fmla="*/ 450 h 550"/>
                <a:gd name="T64" fmla="*/ 207 w 599"/>
                <a:gd name="T65" fmla="*/ 471 h 550"/>
                <a:gd name="T66" fmla="*/ 224 w 599"/>
                <a:gd name="T67" fmla="*/ 497 h 550"/>
                <a:gd name="T68" fmla="*/ 255 w 599"/>
                <a:gd name="T69" fmla="*/ 504 h 550"/>
                <a:gd name="T70" fmla="*/ 263 w 599"/>
                <a:gd name="T71" fmla="*/ 537 h 550"/>
                <a:gd name="T72" fmla="*/ 296 w 599"/>
                <a:gd name="T73" fmla="*/ 539 h 550"/>
                <a:gd name="T74" fmla="*/ 331 w 599"/>
                <a:gd name="T75" fmla="*/ 548 h 550"/>
                <a:gd name="T76" fmla="*/ 344 w 599"/>
                <a:gd name="T77" fmla="*/ 521 h 550"/>
                <a:gd name="T78" fmla="*/ 364 w 599"/>
                <a:gd name="T79" fmla="*/ 500 h 550"/>
                <a:gd name="T80" fmla="*/ 403 w 599"/>
                <a:gd name="T81" fmla="*/ 439 h 550"/>
                <a:gd name="T82" fmla="*/ 372 w 599"/>
                <a:gd name="T83" fmla="*/ 445 h 550"/>
                <a:gd name="T84" fmla="*/ 322 w 599"/>
                <a:gd name="T85" fmla="*/ 445 h 550"/>
                <a:gd name="T86" fmla="*/ 336 w 599"/>
                <a:gd name="T87" fmla="*/ 421 h 550"/>
                <a:gd name="T88" fmla="*/ 348 w 599"/>
                <a:gd name="T89" fmla="*/ 402 h 550"/>
                <a:gd name="T90" fmla="*/ 377 w 599"/>
                <a:gd name="T91" fmla="*/ 378 h 550"/>
                <a:gd name="T92" fmla="*/ 405 w 599"/>
                <a:gd name="T93" fmla="*/ 323 h 550"/>
                <a:gd name="T94" fmla="*/ 381 w 599"/>
                <a:gd name="T95" fmla="*/ 280 h 550"/>
                <a:gd name="T96" fmla="*/ 386 w 599"/>
                <a:gd name="T97" fmla="*/ 264 h 550"/>
                <a:gd name="T98" fmla="*/ 414 w 599"/>
                <a:gd name="T99" fmla="*/ 288 h 550"/>
                <a:gd name="T100" fmla="*/ 464 w 599"/>
                <a:gd name="T101" fmla="*/ 328 h 550"/>
                <a:gd name="T102" fmla="*/ 477 w 599"/>
                <a:gd name="T103" fmla="*/ 349 h 550"/>
                <a:gd name="T104" fmla="*/ 525 w 599"/>
                <a:gd name="T105" fmla="*/ 362 h 550"/>
                <a:gd name="T106" fmla="*/ 551 w 599"/>
                <a:gd name="T107" fmla="*/ 373 h 550"/>
                <a:gd name="T108" fmla="*/ 554 w 599"/>
                <a:gd name="T109" fmla="*/ 323 h 550"/>
                <a:gd name="T110" fmla="*/ 599 w 599"/>
                <a:gd name="T111" fmla="*/ 249 h 550"/>
                <a:gd name="T112" fmla="*/ 553 w 599"/>
                <a:gd name="T113" fmla="*/ 227 h 550"/>
                <a:gd name="T114" fmla="*/ 534 w 599"/>
                <a:gd name="T115" fmla="*/ 232 h 550"/>
                <a:gd name="T116" fmla="*/ 501 w 599"/>
                <a:gd name="T117" fmla="*/ 164 h 55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99"/>
                <a:gd name="T178" fmla="*/ 0 h 550"/>
                <a:gd name="T179" fmla="*/ 599 w 599"/>
                <a:gd name="T180" fmla="*/ 550 h 55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99" h="550">
                  <a:moveTo>
                    <a:pt x="492" y="125"/>
                  </a:moveTo>
                  <a:lnTo>
                    <a:pt x="492" y="125"/>
                  </a:lnTo>
                  <a:lnTo>
                    <a:pt x="490" y="125"/>
                  </a:lnTo>
                  <a:lnTo>
                    <a:pt x="486" y="129"/>
                  </a:lnTo>
                  <a:lnTo>
                    <a:pt x="481" y="134"/>
                  </a:lnTo>
                  <a:lnTo>
                    <a:pt x="477" y="138"/>
                  </a:lnTo>
                  <a:lnTo>
                    <a:pt x="471" y="138"/>
                  </a:lnTo>
                  <a:lnTo>
                    <a:pt x="469" y="133"/>
                  </a:lnTo>
                  <a:lnTo>
                    <a:pt x="469" y="129"/>
                  </a:lnTo>
                  <a:lnTo>
                    <a:pt x="464" y="125"/>
                  </a:lnTo>
                  <a:lnTo>
                    <a:pt x="460" y="120"/>
                  </a:lnTo>
                  <a:lnTo>
                    <a:pt x="469" y="116"/>
                  </a:lnTo>
                  <a:lnTo>
                    <a:pt x="477" y="107"/>
                  </a:lnTo>
                  <a:lnTo>
                    <a:pt x="471" y="96"/>
                  </a:lnTo>
                  <a:lnTo>
                    <a:pt x="462" y="86"/>
                  </a:lnTo>
                  <a:lnTo>
                    <a:pt x="460" y="75"/>
                  </a:lnTo>
                  <a:lnTo>
                    <a:pt x="457" y="70"/>
                  </a:lnTo>
                  <a:lnTo>
                    <a:pt x="434" y="70"/>
                  </a:lnTo>
                  <a:lnTo>
                    <a:pt x="408" y="73"/>
                  </a:lnTo>
                  <a:lnTo>
                    <a:pt x="397" y="68"/>
                  </a:lnTo>
                  <a:lnTo>
                    <a:pt x="388" y="61"/>
                  </a:lnTo>
                  <a:lnTo>
                    <a:pt x="375" y="59"/>
                  </a:lnTo>
                  <a:lnTo>
                    <a:pt x="357" y="61"/>
                  </a:lnTo>
                  <a:lnTo>
                    <a:pt x="344" y="61"/>
                  </a:lnTo>
                  <a:lnTo>
                    <a:pt x="335" y="62"/>
                  </a:lnTo>
                  <a:lnTo>
                    <a:pt x="331" y="68"/>
                  </a:lnTo>
                  <a:lnTo>
                    <a:pt x="327" y="73"/>
                  </a:lnTo>
                  <a:lnTo>
                    <a:pt x="325" y="83"/>
                  </a:lnTo>
                  <a:lnTo>
                    <a:pt x="322" y="90"/>
                  </a:lnTo>
                  <a:lnTo>
                    <a:pt x="318" y="101"/>
                  </a:lnTo>
                  <a:lnTo>
                    <a:pt x="312" y="109"/>
                  </a:lnTo>
                  <a:lnTo>
                    <a:pt x="309" y="112"/>
                  </a:lnTo>
                  <a:lnTo>
                    <a:pt x="303" y="114"/>
                  </a:lnTo>
                  <a:lnTo>
                    <a:pt x="298" y="116"/>
                  </a:lnTo>
                  <a:lnTo>
                    <a:pt x="288" y="114"/>
                  </a:lnTo>
                  <a:lnTo>
                    <a:pt x="285" y="112"/>
                  </a:lnTo>
                  <a:lnTo>
                    <a:pt x="279" y="110"/>
                  </a:lnTo>
                  <a:lnTo>
                    <a:pt x="275" y="101"/>
                  </a:lnTo>
                  <a:lnTo>
                    <a:pt x="272" y="85"/>
                  </a:lnTo>
                  <a:lnTo>
                    <a:pt x="270" y="75"/>
                  </a:lnTo>
                  <a:lnTo>
                    <a:pt x="268" y="66"/>
                  </a:lnTo>
                  <a:lnTo>
                    <a:pt x="261" y="62"/>
                  </a:lnTo>
                  <a:lnTo>
                    <a:pt x="253" y="61"/>
                  </a:lnTo>
                  <a:lnTo>
                    <a:pt x="248" y="59"/>
                  </a:lnTo>
                  <a:lnTo>
                    <a:pt x="248" y="57"/>
                  </a:lnTo>
                  <a:lnTo>
                    <a:pt x="250" y="55"/>
                  </a:lnTo>
                  <a:lnTo>
                    <a:pt x="253" y="53"/>
                  </a:lnTo>
                  <a:lnTo>
                    <a:pt x="257" y="53"/>
                  </a:lnTo>
                  <a:lnTo>
                    <a:pt x="263" y="55"/>
                  </a:lnTo>
                  <a:lnTo>
                    <a:pt x="266" y="53"/>
                  </a:lnTo>
                  <a:lnTo>
                    <a:pt x="268" y="49"/>
                  </a:lnTo>
                  <a:lnTo>
                    <a:pt x="266" y="46"/>
                  </a:lnTo>
                  <a:lnTo>
                    <a:pt x="263" y="38"/>
                  </a:lnTo>
                  <a:lnTo>
                    <a:pt x="264" y="25"/>
                  </a:lnTo>
                  <a:lnTo>
                    <a:pt x="266" y="14"/>
                  </a:lnTo>
                  <a:lnTo>
                    <a:pt x="264" y="7"/>
                  </a:lnTo>
                  <a:lnTo>
                    <a:pt x="261" y="0"/>
                  </a:lnTo>
                  <a:lnTo>
                    <a:pt x="257" y="0"/>
                  </a:lnTo>
                  <a:lnTo>
                    <a:pt x="255" y="1"/>
                  </a:lnTo>
                  <a:lnTo>
                    <a:pt x="253" y="1"/>
                  </a:lnTo>
                  <a:lnTo>
                    <a:pt x="251" y="3"/>
                  </a:lnTo>
                  <a:lnTo>
                    <a:pt x="250" y="9"/>
                  </a:lnTo>
                  <a:lnTo>
                    <a:pt x="246" y="11"/>
                  </a:lnTo>
                  <a:lnTo>
                    <a:pt x="239" y="9"/>
                  </a:lnTo>
                  <a:lnTo>
                    <a:pt x="233" y="5"/>
                  </a:lnTo>
                  <a:lnTo>
                    <a:pt x="231" y="3"/>
                  </a:lnTo>
                  <a:lnTo>
                    <a:pt x="229" y="3"/>
                  </a:lnTo>
                  <a:lnTo>
                    <a:pt x="227" y="5"/>
                  </a:lnTo>
                  <a:lnTo>
                    <a:pt x="227" y="7"/>
                  </a:lnTo>
                  <a:lnTo>
                    <a:pt x="226" y="16"/>
                  </a:lnTo>
                  <a:lnTo>
                    <a:pt x="222" y="29"/>
                  </a:lnTo>
                  <a:lnTo>
                    <a:pt x="218" y="35"/>
                  </a:lnTo>
                  <a:lnTo>
                    <a:pt x="215" y="38"/>
                  </a:lnTo>
                  <a:lnTo>
                    <a:pt x="213" y="42"/>
                  </a:lnTo>
                  <a:lnTo>
                    <a:pt x="213" y="46"/>
                  </a:lnTo>
                  <a:lnTo>
                    <a:pt x="215" y="49"/>
                  </a:lnTo>
                  <a:lnTo>
                    <a:pt x="216" y="51"/>
                  </a:lnTo>
                  <a:lnTo>
                    <a:pt x="218" y="53"/>
                  </a:lnTo>
                  <a:lnTo>
                    <a:pt x="224" y="55"/>
                  </a:lnTo>
                  <a:lnTo>
                    <a:pt x="226" y="57"/>
                  </a:lnTo>
                  <a:lnTo>
                    <a:pt x="227" y="59"/>
                  </a:lnTo>
                  <a:lnTo>
                    <a:pt x="226" y="62"/>
                  </a:lnTo>
                  <a:lnTo>
                    <a:pt x="226" y="64"/>
                  </a:lnTo>
                  <a:lnTo>
                    <a:pt x="222" y="72"/>
                  </a:lnTo>
                  <a:lnTo>
                    <a:pt x="216" y="77"/>
                  </a:lnTo>
                  <a:lnTo>
                    <a:pt x="213" y="81"/>
                  </a:lnTo>
                  <a:lnTo>
                    <a:pt x="209" y="85"/>
                  </a:lnTo>
                  <a:lnTo>
                    <a:pt x="203" y="88"/>
                  </a:lnTo>
                  <a:lnTo>
                    <a:pt x="196" y="88"/>
                  </a:lnTo>
                  <a:lnTo>
                    <a:pt x="187" y="83"/>
                  </a:lnTo>
                  <a:lnTo>
                    <a:pt x="181" y="77"/>
                  </a:lnTo>
                  <a:lnTo>
                    <a:pt x="179" y="73"/>
                  </a:lnTo>
                  <a:lnTo>
                    <a:pt x="178" y="68"/>
                  </a:lnTo>
                  <a:lnTo>
                    <a:pt x="178" y="64"/>
                  </a:lnTo>
                  <a:lnTo>
                    <a:pt x="179" y="57"/>
                  </a:lnTo>
                  <a:lnTo>
                    <a:pt x="176" y="53"/>
                  </a:lnTo>
                  <a:lnTo>
                    <a:pt x="168" y="49"/>
                  </a:lnTo>
                  <a:lnTo>
                    <a:pt x="159" y="53"/>
                  </a:lnTo>
                  <a:lnTo>
                    <a:pt x="152" y="55"/>
                  </a:lnTo>
                  <a:lnTo>
                    <a:pt x="141" y="46"/>
                  </a:lnTo>
                  <a:lnTo>
                    <a:pt x="131" y="38"/>
                  </a:lnTo>
                  <a:lnTo>
                    <a:pt x="124" y="46"/>
                  </a:lnTo>
                  <a:lnTo>
                    <a:pt x="120" y="55"/>
                  </a:lnTo>
                  <a:lnTo>
                    <a:pt x="111" y="66"/>
                  </a:lnTo>
                  <a:lnTo>
                    <a:pt x="98" y="81"/>
                  </a:lnTo>
                  <a:lnTo>
                    <a:pt x="93" y="90"/>
                  </a:lnTo>
                  <a:lnTo>
                    <a:pt x="89" y="98"/>
                  </a:lnTo>
                  <a:lnTo>
                    <a:pt x="87" y="105"/>
                  </a:lnTo>
                  <a:lnTo>
                    <a:pt x="89" y="112"/>
                  </a:lnTo>
                  <a:lnTo>
                    <a:pt x="93" y="116"/>
                  </a:lnTo>
                  <a:lnTo>
                    <a:pt x="98" y="118"/>
                  </a:lnTo>
                  <a:lnTo>
                    <a:pt x="102" y="118"/>
                  </a:lnTo>
                  <a:lnTo>
                    <a:pt x="106" y="122"/>
                  </a:lnTo>
                  <a:lnTo>
                    <a:pt x="107" y="123"/>
                  </a:lnTo>
                  <a:lnTo>
                    <a:pt x="111" y="129"/>
                  </a:lnTo>
                  <a:lnTo>
                    <a:pt x="109" y="134"/>
                  </a:lnTo>
                  <a:lnTo>
                    <a:pt x="106" y="138"/>
                  </a:lnTo>
                  <a:lnTo>
                    <a:pt x="102" y="142"/>
                  </a:lnTo>
                  <a:lnTo>
                    <a:pt x="96" y="146"/>
                  </a:lnTo>
                  <a:lnTo>
                    <a:pt x="85" y="153"/>
                  </a:lnTo>
                  <a:lnTo>
                    <a:pt x="72" y="160"/>
                  </a:lnTo>
                  <a:lnTo>
                    <a:pt x="67" y="171"/>
                  </a:lnTo>
                  <a:lnTo>
                    <a:pt x="59" y="184"/>
                  </a:lnTo>
                  <a:lnTo>
                    <a:pt x="52" y="192"/>
                  </a:lnTo>
                  <a:lnTo>
                    <a:pt x="45" y="197"/>
                  </a:lnTo>
                  <a:lnTo>
                    <a:pt x="35" y="199"/>
                  </a:lnTo>
                  <a:lnTo>
                    <a:pt x="22" y="199"/>
                  </a:lnTo>
                  <a:lnTo>
                    <a:pt x="21" y="210"/>
                  </a:lnTo>
                  <a:lnTo>
                    <a:pt x="17" y="221"/>
                  </a:lnTo>
                  <a:lnTo>
                    <a:pt x="13" y="229"/>
                  </a:lnTo>
                  <a:lnTo>
                    <a:pt x="9" y="234"/>
                  </a:lnTo>
                  <a:lnTo>
                    <a:pt x="4" y="243"/>
                  </a:lnTo>
                  <a:lnTo>
                    <a:pt x="0" y="253"/>
                  </a:lnTo>
                  <a:lnTo>
                    <a:pt x="0" y="262"/>
                  </a:lnTo>
                  <a:lnTo>
                    <a:pt x="2" y="269"/>
                  </a:lnTo>
                  <a:lnTo>
                    <a:pt x="4" y="275"/>
                  </a:lnTo>
                  <a:lnTo>
                    <a:pt x="8" y="279"/>
                  </a:lnTo>
                  <a:lnTo>
                    <a:pt x="17" y="284"/>
                  </a:lnTo>
                  <a:lnTo>
                    <a:pt x="24" y="297"/>
                  </a:lnTo>
                  <a:lnTo>
                    <a:pt x="28" y="304"/>
                  </a:lnTo>
                  <a:lnTo>
                    <a:pt x="32" y="316"/>
                  </a:lnTo>
                  <a:lnTo>
                    <a:pt x="39" y="321"/>
                  </a:lnTo>
                  <a:lnTo>
                    <a:pt x="48" y="328"/>
                  </a:lnTo>
                  <a:lnTo>
                    <a:pt x="54" y="338"/>
                  </a:lnTo>
                  <a:lnTo>
                    <a:pt x="59" y="347"/>
                  </a:lnTo>
                  <a:lnTo>
                    <a:pt x="74" y="347"/>
                  </a:lnTo>
                  <a:lnTo>
                    <a:pt x="89" y="351"/>
                  </a:lnTo>
                  <a:lnTo>
                    <a:pt x="93" y="364"/>
                  </a:lnTo>
                  <a:lnTo>
                    <a:pt x="96" y="377"/>
                  </a:lnTo>
                  <a:lnTo>
                    <a:pt x="104" y="378"/>
                  </a:lnTo>
                  <a:lnTo>
                    <a:pt x="111" y="382"/>
                  </a:lnTo>
                  <a:lnTo>
                    <a:pt x="115" y="391"/>
                  </a:lnTo>
                  <a:lnTo>
                    <a:pt x="124" y="404"/>
                  </a:lnTo>
                  <a:lnTo>
                    <a:pt x="142" y="410"/>
                  </a:lnTo>
                  <a:lnTo>
                    <a:pt x="155" y="413"/>
                  </a:lnTo>
                  <a:lnTo>
                    <a:pt x="157" y="425"/>
                  </a:lnTo>
                  <a:lnTo>
                    <a:pt x="161" y="439"/>
                  </a:lnTo>
                  <a:lnTo>
                    <a:pt x="172" y="447"/>
                  </a:lnTo>
                  <a:lnTo>
                    <a:pt x="185" y="454"/>
                  </a:lnTo>
                  <a:lnTo>
                    <a:pt x="196" y="450"/>
                  </a:lnTo>
                  <a:lnTo>
                    <a:pt x="207" y="450"/>
                  </a:lnTo>
                  <a:lnTo>
                    <a:pt x="213" y="454"/>
                  </a:lnTo>
                  <a:lnTo>
                    <a:pt x="216" y="462"/>
                  </a:lnTo>
                  <a:lnTo>
                    <a:pt x="213" y="467"/>
                  </a:lnTo>
                  <a:lnTo>
                    <a:pt x="207" y="471"/>
                  </a:lnTo>
                  <a:lnTo>
                    <a:pt x="205" y="474"/>
                  </a:lnTo>
                  <a:lnTo>
                    <a:pt x="205" y="478"/>
                  </a:lnTo>
                  <a:lnTo>
                    <a:pt x="207" y="482"/>
                  </a:lnTo>
                  <a:lnTo>
                    <a:pt x="213" y="487"/>
                  </a:lnTo>
                  <a:lnTo>
                    <a:pt x="224" y="497"/>
                  </a:lnTo>
                  <a:lnTo>
                    <a:pt x="237" y="506"/>
                  </a:lnTo>
                  <a:lnTo>
                    <a:pt x="240" y="504"/>
                  </a:lnTo>
                  <a:lnTo>
                    <a:pt x="244" y="502"/>
                  </a:lnTo>
                  <a:lnTo>
                    <a:pt x="250" y="502"/>
                  </a:lnTo>
                  <a:lnTo>
                    <a:pt x="255" y="504"/>
                  </a:lnTo>
                  <a:lnTo>
                    <a:pt x="259" y="508"/>
                  </a:lnTo>
                  <a:lnTo>
                    <a:pt x="263" y="511"/>
                  </a:lnTo>
                  <a:lnTo>
                    <a:pt x="264" y="519"/>
                  </a:lnTo>
                  <a:lnTo>
                    <a:pt x="263" y="528"/>
                  </a:lnTo>
                  <a:lnTo>
                    <a:pt x="263" y="537"/>
                  </a:lnTo>
                  <a:lnTo>
                    <a:pt x="264" y="541"/>
                  </a:lnTo>
                  <a:lnTo>
                    <a:pt x="268" y="543"/>
                  </a:lnTo>
                  <a:lnTo>
                    <a:pt x="274" y="543"/>
                  </a:lnTo>
                  <a:lnTo>
                    <a:pt x="285" y="539"/>
                  </a:lnTo>
                  <a:lnTo>
                    <a:pt x="296" y="539"/>
                  </a:lnTo>
                  <a:lnTo>
                    <a:pt x="299" y="541"/>
                  </a:lnTo>
                  <a:lnTo>
                    <a:pt x="305" y="547"/>
                  </a:lnTo>
                  <a:lnTo>
                    <a:pt x="311" y="550"/>
                  </a:lnTo>
                  <a:lnTo>
                    <a:pt x="322" y="550"/>
                  </a:lnTo>
                  <a:lnTo>
                    <a:pt x="331" y="548"/>
                  </a:lnTo>
                  <a:lnTo>
                    <a:pt x="338" y="543"/>
                  </a:lnTo>
                  <a:lnTo>
                    <a:pt x="344" y="535"/>
                  </a:lnTo>
                  <a:lnTo>
                    <a:pt x="348" y="528"/>
                  </a:lnTo>
                  <a:lnTo>
                    <a:pt x="348" y="524"/>
                  </a:lnTo>
                  <a:lnTo>
                    <a:pt x="344" y="521"/>
                  </a:lnTo>
                  <a:lnTo>
                    <a:pt x="342" y="517"/>
                  </a:lnTo>
                  <a:lnTo>
                    <a:pt x="342" y="515"/>
                  </a:lnTo>
                  <a:lnTo>
                    <a:pt x="346" y="511"/>
                  </a:lnTo>
                  <a:lnTo>
                    <a:pt x="349" y="506"/>
                  </a:lnTo>
                  <a:lnTo>
                    <a:pt x="364" y="500"/>
                  </a:lnTo>
                  <a:lnTo>
                    <a:pt x="381" y="491"/>
                  </a:lnTo>
                  <a:lnTo>
                    <a:pt x="397" y="482"/>
                  </a:lnTo>
                  <a:lnTo>
                    <a:pt x="414" y="476"/>
                  </a:lnTo>
                  <a:lnTo>
                    <a:pt x="408" y="458"/>
                  </a:lnTo>
                  <a:lnTo>
                    <a:pt x="403" y="439"/>
                  </a:lnTo>
                  <a:lnTo>
                    <a:pt x="394" y="443"/>
                  </a:lnTo>
                  <a:lnTo>
                    <a:pt x="386" y="447"/>
                  </a:lnTo>
                  <a:lnTo>
                    <a:pt x="383" y="445"/>
                  </a:lnTo>
                  <a:lnTo>
                    <a:pt x="383" y="441"/>
                  </a:lnTo>
                  <a:lnTo>
                    <a:pt x="372" y="445"/>
                  </a:lnTo>
                  <a:lnTo>
                    <a:pt x="353" y="454"/>
                  </a:lnTo>
                  <a:lnTo>
                    <a:pt x="346" y="450"/>
                  </a:lnTo>
                  <a:lnTo>
                    <a:pt x="340" y="443"/>
                  </a:lnTo>
                  <a:lnTo>
                    <a:pt x="329" y="447"/>
                  </a:lnTo>
                  <a:lnTo>
                    <a:pt x="322" y="445"/>
                  </a:lnTo>
                  <a:lnTo>
                    <a:pt x="325" y="441"/>
                  </a:lnTo>
                  <a:lnTo>
                    <a:pt x="327" y="436"/>
                  </a:lnTo>
                  <a:lnTo>
                    <a:pt x="329" y="428"/>
                  </a:lnTo>
                  <a:lnTo>
                    <a:pt x="329" y="421"/>
                  </a:lnTo>
                  <a:lnTo>
                    <a:pt x="336" y="421"/>
                  </a:lnTo>
                  <a:lnTo>
                    <a:pt x="340" y="419"/>
                  </a:lnTo>
                  <a:lnTo>
                    <a:pt x="344" y="417"/>
                  </a:lnTo>
                  <a:lnTo>
                    <a:pt x="346" y="413"/>
                  </a:lnTo>
                  <a:lnTo>
                    <a:pt x="346" y="408"/>
                  </a:lnTo>
                  <a:lnTo>
                    <a:pt x="348" y="402"/>
                  </a:lnTo>
                  <a:lnTo>
                    <a:pt x="349" y="399"/>
                  </a:lnTo>
                  <a:lnTo>
                    <a:pt x="353" y="397"/>
                  </a:lnTo>
                  <a:lnTo>
                    <a:pt x="364" y="397"/>
                  </a:lnTo>
                  <a:lnTo>
                    <a:pt x="379" y="395"/>
                  </a:lnTo>
                  <a:lnTo>
                    <a:pt x="377" y="378"/>
                  </a:lnTo>
                  <a:lnTo>
                    <a:pt x="373" y="358"/>
                  </a:lnTo>
                  <a:lnTo>
                    <a:pt x="388" y="347"/>
                  </a:lnTo>
                  <a:lnTo>
                    <a:pt x="405" y="334"/>
                  </a:lnTo>
                  <a:lnTo>
                    <a:pt x="405" y="328"/>
                  </a:lnTo>
                  <a:lnTo>
                    <a:pt x="405" y="323"/>
                  </a:lnTo>
                  <a:lnTo>
                    <a:pt x="403" y="316"/>
                  </a:lnTo>
                  <a:lnTo>
                    <a:pt x="399" y="310"/>
                  </a:lnTo>
                  <a:lnTo>
                    <a:pt x="392" y="299"/>
                  </a:lnTo>
                  <a:lnTo>
                    <a:pt x="383" y="286"/>
                  </a:lnTo>
                  <a:lnTo>
                    <a:pt x="381" y="280"/>
                  </a:lnTo>
                  <a:lnTo>
                    <a:pt x="381" y="273"/>
                  </a:lnTo>
                  <a:lnTo>
                    <a:pt x="381" y="269"/>
                  </a:lnTo>
                  <a:lnTo>
                    <a:pt x="383" y="266"/>
                  </a:lnTo>
                  <a:lnTo>
                    <a:pt x="384" y="264"/>
                  </a:lnTo>
                  <a:lnTo>
                    <a:pt x="386" y="264"/>
                  </a:lnTo>
                  <a:lnTo>
                    <a:pt x="394" y="268"/>
                  </a:lnTo>
                  <a:lnTo>
                    <a:pt x="401" y="271"/>
                  </a:lnTo>
                  <a:lnTo>
                    <a:pt x="405" y="275"/>
                  </a:lnTo>
                  <a:lnTo>
                    <a:pt x="408" y="279"/>
                  </a:lnTo>
                  <a:lnTo>
                    <a:pt x="414" y="288"/>
                  </a:lnTo>
                  <a:lnTo>
                    <a:pt x="421" y="299"/>
                  </a:lnTo>
                  <a:lnTo>
                    <a:pt x="436" y="310"/>
                  </a:lnTo>
                  <a:lnTo>
                    <a:pt x="455" y="319"/>
                  </a:lnTo>
                  <a:lnTo>
                    <a:pt x="460" y="325"/>
                  </a:lnTo>
                  <a:lnTo>
                    <a:pt x="464" y="328"/>
                  </a:lnTo>
                  <a:lnTo>
                    <a:pt x="464" y="334"/>
                  </a:lnTo>
                  <a:lnTo>
                    <a:pt x="466" y="338"/>
                  </a:lnTo>
                  <a:lnTo>
                    <a:pt x="464" y="345"/>
                  </a:lnTo>
                  <a:lnTo>
                    <a:pt x="466" y="349"/>
                  </a:lnTo>
                  <a:lnTo>
                    <a:pt x="477" y="349"/>
                  </a:lnTo>
                  <a:lnTo>
                    <a:pt x="492" y="351"/>
                  </a:lnTo>
                  <a:lnTo>
                    <a:pt x="503" y="356"/>
                  </a:lnTo>
                  <a:lnTo>
                    <a:pt x="516" y="362"/>
                  </a:lnTo>
                  <a:lnTo>
                    <a:pt x="519" y="362"/>
                  </a:lnTo>
                  <a:lnTo>
                    <a:pt x="525" y="362"/>
                  </a:lnTo>
                  <a:lnTo>
                    <a:pt x="529" y="369"/>
                  </a:lnTo>
                  <a:lnTo>
                    <a:pt x="530" y="377"/>
                  </a:lnTo>
                  <a:lnTo>
                    <a:pt x="538" y="377"/>
                  </a:lnTo>
                  <a:lnTo>
                    <a:pt x="545" y="375"/>
                  </a:lnTo>
                  <a:lnTo>
                    <a:pt x="551" y="373"/>
                  </a:lnTo>
                  <a:lnTo>
                    <a:pt x="556" y="369"/>
                  </a:lnTo>
                  <a:lnTo>
                    <a:pt x="551" y="360"/>
                  </a:lnTo>
                  <a:lnTo>
                    <a:pt x="545" y="351"/>
                  </a:lnTo>
                  <a:lnTo>
                    <a:pt x="549" y="334"/>
                  </a:lnTo>
                  <a:lnTo>
                    <a:pt x="554" y="323"/>
                  </a:lnTo>
                  <a:lnTo>
                    <a:pt x="547" y="312"/>
                  </a:lnTo>
                  <a:lnTo>
                    <a:pt x="545" y="301"/>
                  </a:lnTo>
                  <a:lnTo>
                    <a:pt x="571" y="275"/>
                  </a:lnTo>
                  <a:lnTo>
                    <a:pt x="599" y="249"/>
                  </a:lnTo>
                  <a:lnTo>
                    <a:pt x="582" y="236"/>
                  </a:lnTo>
                  <a:lnTo>
                    <a:pt x="567" y="227"/>
                  </a:lnTo>
                  <a:lnTo>
                    <a:pt x="558" y="227"/>
                  </a:lnTo>
                  <a:lnTo>
                    <a:pt x="553" y="227"/>
                  </a:lnTo>
                  <a:lnTo>
                    <a:pt x="554" y="231"/>
                  </a:lnTo>
                  <a:lnTo>
                    <a:pt x="556" y="236"/>
                  </a:lnTo>
                  <a:lnTo>
                    <a:pt x="547" y="236"/>
                  </a:lnTo>
                  <a:lnTo>
                    <a:pt x="540" y="234"/>
                  </a:lnTo>
                  <a:lnTo>
                    <a:pt x="534" y="232"/>
                  </a:lnTo>
                  <a:lnTo>
                    <a:pt x="530" y="229"/>
                  </a:lnTo>
                  <a:lnTo>
                    <a:pt x="523" y="210"/>
                  </a:lnTo>
                  <a:lnTo>
                    <a:pt x="514" y="183"/>
                  </a:lnTo>
                  <a:lnTo>
                    <a:pt x="506" y="173"/>
                  </a:lnTo>
                  <a:lnTo>
                    <a:pt x="501" y="164"/>
                  </a:lnTo>
                  <a:lnTo>
                    <a:pt x="497" y="157"/>
                  </a:lnTo>
                  <a:lnTo>
                    <a:pt x="493" y="149"/>
                  </a:lnTo>
                  <a:lnTo>
                    <a:pt x="492" y="136"/>
                  </a:lnTo>
                  <a:lnTo>
                    <a:pt x="492" y="12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2" name="Freeform 50"/>
            <p:cNvSpPr>
              <a:spLocks/>
            </p:cNvSpPr>
            <p:nvPr/>
          </p:nvSpPr>
          <p:spPr bwMode="auto">
            <a:xfrm>
              <a:off x="3984024" y="1879288"/>
              <a:ext cx="63659" cy="66666"/>
            </a:xfrm>
            <a:custGeom>
              <a:avLst/>
              <a:gdLst>
                <a:gd name="T0" fmla="*/ 28 w 122"/>
                <a:gd name="T1" fmla="*/ 50 h 131"/>
                <a:gd name="T2" fmla="*/ 37 w 122"/>
                <a:gd name="T3" fmla="*/ 44 h 131"/>
                <a:gd name="T4" fmla="*/ 45 w 122"/>
                <a:gd name="T5" fmla="*/ 39 h 131"/>
                <a:gd name="T6" fmla="*/ 48 w 122"/>
                <a:gd name="T7" fmla="*/ 24 h 131"/>
                <a:gd name="T8" fmla="*/ 54 w 122"/>
                <a:gd name="T9" fmla="*/ 11 h 131"/>
                <a:gd name="T10" fmla="*/ 65 w 122"/>
                <a:gd name="T11" fmla="*/ 7 h 131"/>
                <a:gd name="T12" fmla="*/ 78 w 122"/>
                <a:gd name="T13" fmla="*/ 5 h 131"/>
                <a:gd name="T14" fmla="*/ 83 w 122"/>
                <a:gd name="T15" fmla="*/ 2 h 131"/>
                <a:gd name="T16" fmla="*/ 89 w 122"/>
                <a:gd name="T17" fmla="*/ 0 h 131"/>
                <a:gd name="T18" fmla="*/ 94 w 122"/>
                <a:gd name="T19" fmla="*/ 4 h 131"/>
                <a:gd name="T20" fmla="*/ 100 w 122"/>
                <a:gd name="T21" fmla="*/ 9 h 131"/>
                <a:gd name="T22" fmla="*/ 107 w 122"/>
                <a:gd name="T23" fmla="*/ 9 h 131"/>
                <a:gd name="T24" fmla="*/ 113 w 122"/>
                <a:gd name="T25" fmla="*/ 11 h 131"/>
                <a:gd name="T26" fmla="*/ 113 w 122"/>
                <a:gd name="T27" fmla="*/ 17 h 131"/>
                <a:gd name="T28" fmla="*/ 113 w 122"/>
                <a:gd name="T29" fmla="*/ 24 h 131"/>
                <a:gd name="T30" fmla="*/ 120 w 122"/>
                <a:gd name="T31" fmla="*/ 31 h 131"/>
                <a:gd name="T32" fmla="*/ 122 w 122"/>
                <a:gd name="T33" fmla="*/ 41 h 131"/>
                <a:gd name="T34" fmla="*/ 117 w 122"/>
                <a:gd name="T35" fmla="*/ 52 h 131"/>
                <a:gd name="T36" fmla="*/ 107 w 122"/>
                <a:gd name="T37" fmla="*/ 61 h 131"/>
                <a:gd name="T38" fmla="*/ 102 w 122"/>
                <a:gd name="T39" fmla="*/ 78 h 131"/>
                <a:gd name="T40" fmla="*/ 98 w 122"/>
                <a:gd name="T41" fmla="*/ 96 h 131"/>
                <a:gd name="T42" fmla="*/ 91 w 122"/>
                <a:gd name="T43" fmla="*/ 111 h 131"/>
                <a:gd name="T44" fmla="*/ 82 w 122"/>
                <a:gd name="T45" fmla="*/ 126 h 131"/>
                <a:gd name="T46" fmla="*/ 72 w 122"/>
                <a:gd name="T47" fmla="*/ 126 h 131"/>
                <a:gd name="T48" fmla="*/ 65 w 122"/>
                <a:gd name="T49" fmla="*/ 124 h 131"/>
                <a:gd name="T50" fmla="*/ 58 w 122"/>
                <a:gd name="T51" fmla="*/ 126 h 131"/>
                <a:gd name="T52" fmla="*/ 50 w 122"/>
                <a:gd name="T53" fmla="*/ 129 h 131"/>
                <a:gd name="T54" fmla="*/ 43 w 122"/>
                <a:gd name="T55" fmla="*/ 131 h 131"/>
                <a:gd name="T56" fmla="*/ 35 w 122"/>
                <a:gd name="T57" fmla="*/ 131 h 131"/>
                <a:gd name="T58" fmla="*/ 32 w 122"/>
                <a:gd name="T59" fmla="*/ 120 h 131"/>
                <a:gd name="T60" fmla="*/ 26 w 122"/>
                <a:gd name="T61" fmla="*/ 107 h 131"/>
                <a:gd name="T62" fmla="*/ 11 w 122"/>
                <a:gd name="T63" fmla="*/ 103 h 131"/>
                <a:gd name="T64" fmla="*/ 0 w 122"/>
                <a:gd name="T65" fmla="*/ 98 h 131"/>
                <a:gd name="T66" fmla="*/ 0 w 122"/>
                <a:gd name="T67" fmla="*/ 92 h 131"/>
                <a:gd name="T68" fmla="*/ 0 w 122"/>
                <a:gd name="T69" fmla="*/ 87 h 131"/>
                <a:gd name="T70" fmla="*/ 4 w 122"/>
                <a:gd name="T71" fmla="*/ 83 h 131"/>
                <a:gd name="T72" fmla="*/ 8 w 122"/>
                <a:gd name="T73" fmla="*/ 79 h 131"/>
                <a:gd name="T74" fmla="*/ 15 w 122"/>
                <a:gd name="T75" fmla="*/ 74 h 131"/>
                <a:gd name="T76" fmla="*/ 22 w 122"/>
                <a:gd name="T77" fmla="*/ 70 h 131"/>
                <a:gd name="T78" fmla="*/ 24 w 122"/>
                <a:gd name="T79" fmla="*/ 59 h 131"/>
                <a:gd name="T80" fmla="*/ 28 w 122"/>
                <a:gd name="T81" fmla="*/ 50 h 13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2"/>
                <a:gd name="T124" fmla="*/ 0 h 131"/>
                <a:gd name="T125" fmla="*/ 122 w 122"/>
                <a:gd name="T126" fmla="*/ 131 h 13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2" h="131">
                  <a:moveTo>
                    <a:pt x="28" y="50"/>
                  </a:moveTo>
                  <a:lnTo>
                    <a:pt x="37" y="44"/>
                  </a:lnTo>
                  <a:lnTo>
                    <a:pt x="45" y="39"/>
                  </a:lnTo>
                  <a:lnTo>
                    <a:pt x="48" y="24"/>
                  </a:lnTo>
                  <a:lnTo>
                    <a:pt x="54" y="11"/>
                  </a:lnTo>
                  <a:lnTo>
                    <a:pt x="65" y="7"/>
                  </a:lnTo>
                  <a:lnTo>
                    <a:pt x="78" y="5"/>
                  </a:lnTo>
                  <a:lnTo>
                    <a:pt x="83" y="2"/>
                  </a:lnTo>
                  <a:lnTo>
                    <a:pt x="89" y="0"/>
                  </a:lnTo>
                  <a:lnTo>
                    <a:pt x="94" y="4"/>
                  </a:lnTo>
                  <a:lnTo>
                    <a:pt x="100" y="9"/>
                  </a:lnTo>
                  <a:lnTo>
                    <a:pt x="107" y="9"/>
                  </a:lnTo>
                  <a:lnTo>
                    <a:pt x="113" y="11"/>
                  </a:lnTo>
                  <a:lnTo>
                    <a:pt x="113" y="17"/>
                  </a:lnTo>
                  <a:lnTo>
                    <a:pt x="113" y="24"/>
                  </a:lnTo>
                  <a:lnTo>
                    <a:pt x="120" y="31"/>
                  </a:lnTo>
                  <a:lnTo>
                    <a:pt x="122" y="41"/>
                  </a:lnTo>
                  <a:lnTo>
                    <a:pt x="117" y="52"/>
                  </a:lnTo>
                  <a:lnTo>
                    <a:pt x="107" y="61"/>
                  </a:lnTo>
                  <a:lnTo>
                    <a:pt x="102" y="78"/>
                  </a:lnTo>
                  <a:lnTo>
                    <a:pt x="98" y="96"/>
                  </a:lnTo>
                  <a:lnTo>
                    <a:pt x="91" y="111"/>
                  </a:lnTo>
                  <a:lnTo>
                    <a:pt x="82" y="126"/>
                  </a:lnTo>
                  <a:lnTo>
                    <a:pt x="72" y="126"/>
                  </a:lnTo>
                  <a:lnTo>
                    <a:pt x="65" y="124"/>
                  </a:lnTo>
                  <a:lnTo>
                    <a:pt x="58" y="126"/>
                  </a:lnTo>
                  <a:lnTo>
                    <a:pt x="50" y="129"/>
                  </a:lnTo>
                  <a:lnTo>
                    <a:pt x="43" y="131"/>
                  </a:lnTo>
                  <a:lnTo>
                    <a:pt x="35" y="131"/>
                  </a:lnTo>
                  <a:lnTo>
                    <a:pt x="32" y="120"/>
                  </a:lnTo>
                  <a:lnTo>
                    <a:pt x="26" y="107"/>
                  </a:lnTo>
                  <a:lnTo>
                    <a:pt x="11" y="103"/>
                  </a:lnTo>
                  <a:lnTo>
                    <a:pt x="0" y="98"/>
                  </a:lnTo>
                  <a:lnTo>
                    <a:pt x="0" y="92"/>
                  </a:lnTo>
                  <a:lnTo>
                    <a:pt x="0" y="87"/>
                  </a:lnTo>
                  <a:lnTo>
                    <a:pt x="4" y="83"/>
                  </a:lnTo>
                  <a:lnTo>
                    <a:pt x="8" y="79"/>
                  </a:lnTo>
                  <a:lnTo>
                    <a:pt x="15" y="74"/>
                  </a:lnTo>
                  <a:lnTo>
                    <a:pt x="22" y="70"/>
                  </a:lnTo>
                  <a:lnTo>
                    <a:pt x="24" y="59"/>
                  </a:lnTo>
                  <a:lnTo>
                    <a:pt x="28" y="5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3" name="Freeform 51"/>
            <p:cNvSpPr>
              <a:spLocks/>
            </p:cNvSpPr>
            <p:nvPr/>
          </p:nvSpPr>
          <p:spPr bwMode="auto">
            <a:xfrm>
              <a:off x="4070120" y="1921527"/>
              <a:ext cx="57397" cy="67684"/>
            </a:xfrm>
            <a:custGeom>
              <a:avLst/>
              <a:gdLst>
                <a:gd name="T0" fmla="*/ 38 w 110"/>
                <a:gd name="T1" fmla="*/ 48 h 133"/>
                <a:gd name="T2" fmla="*/ 40 w 110"/>
                <a:gd name="T3" fmla="*/ 31 h 133"/>
                <a:gd name="T4" fmla="*/ 46 w 110"/>
                <a:gd name="T5" fmla="*/ 22 h 133"/>
                <a:gd name="T6" fmla="*/ 48 w 110"/>
                <a:gd name="T7" fmla="*/ 28 h 133"/>
                <a:gd name="T8" fmla="*/ 53 w 110"/>
                <a:gd name="T9" fmla="*/ 33 h 133"/>
                <a:gd name="T10" fmla="*/ 68 w 110"/>
                <a:gd name="T11" fmla="*/ 24 h 133"/>
                <a:gd name="T12" fmla="*/ 81 w 110"/>
                <a:gd name="T13" fmla="*/ 13 h 133"/>
                <a:gd name="T14" fmla="*/ 70 w 110"/>
                <a:gd name="T15" fmla="*/ 35 h 133"/>
                <a:gd name="T16" fmla="*/ 61 w 110"/>
                <a:gd name="T17" fmla="*/ 54 h 133"/>
                <a:gd name="T18" fmla="*/ 66 w 110"/>
                <a:gd name="T19" fmla="*/ 50 h 133"/>
                <a:gd name="T20" fmla="*/ 74 w 110"/>
                <a:gd name="T21" fmla="*/ 48 h 133"/>
                <a:gd name="T22" fmla="*/ 75 w 110"/>
                <a:gd name="T23" fmla="*/ 54 h 133"/>
                <a:gd name="T24" fmla="*/ 79 w 110"/>
                <a:gd name="T25" fmla="*/ 59 h 133"/>
                <a:gd name="T26" fmla="*/ 88 w 110"/>
                <a:gd name="T27" fmla="*/ 52 h 133"/>
                <a:gd name="T28" fmla="*/ 94 w 110"/>
                <a:gd name="T29" fmla="*/ 44 h 133"/>
                <a:gd name="T30" fmla="*/ 96 w 110"/>
                <a:gd name="T31" fmla="*/ 37 h 133"/>
                <a:gd name="T32" fmla="*/ 96 w 110"/>
                <a:gd name="T33" fmla="*/ 26 h 133"/>
                <a:gd name="T34" fmla="*/ 99 w 110"/>
                <a:gd name="T35" fmla="*/ 11 h 133"/>
                <a:gd name="T36" fmla="*/ 103 w 110"/>
                <a:gd name="T37" fmla="*/ 0 h 133"/>
                <a:gd name="T38" fmla="*/ 107 w 110"/>
                <a:gd name="T39" fmla="*/ 2 h 133"/>
                <a:gd name="T40" fmla="*/ 109 w 110"/>
                <a:gd name="T41" fmla="*/ 4 h 133"/>
                <a:gd name="T42" fmla="*/ 110 w 110"/>
                <a:gd name="T43" fmla="*/ 7 h 133"/>
                <a:gd name="T44" fmla="*/ 110 w 110"/>
                <a:gd name="T45" fmla="*/ 11 h 133"/>
                <a:gd name="T46" fmla="*/ 110 w 110"/>
                <a:gd name="T47" fmla="*/ 19 h 133"/>
                <a:gd name="T48" fmla="*/ 109 w 110"/>
                <a:gd name="T49" fmla="*/ 30 h 133"/>
                <a:gd name="T50" fmla="*/ 109 w 110"/>
                <a:gd name="T51" fmla="*/ 39 h 133"/>
                <a:gd name="T52" fmla="*/ 109 w 110"/>
                <a:gd name="T53" fmla="*/ 48 h 133"/>
                <a:gd name="T54" fmla="*/ 107 w 110"/>
                <a:gd name="T55" fmla="*/ 56 h 133"/>
                <a:gd name="T56" fmla="*/ 103 w 110"/>
                <a:gd name="T57" fmla="*/ 63 h 133"/>
                <a:gd name="T58" fmla="*/ 96 w 110"/>
                <a:gd name="T59" fmla="*/ 68 h 133"/>
                <a:gd name="T60" fmla="*/ 86 w 110"/>
                <a:gd name="T61" fmla="*/ 72 h 133"/>
                <a:gd name="T62" fmla="*/ 81 w 110"/>
                <a:gd name="T63" fmla="*/ 76 h 133"/>
                <a:gd name="T64" fmla="*/ 77 w 110"/>
                <a:gd name="T65" fmla="*/ 80 h 133"/>
                <a:gd name="T66" fmla="*/ 74 w 110"/>
                <a:gd name="T67" fmla="*/ 89 h 133"/>
                <a:gd name="T68" fmla="*/ 70 w 110"/>
                <a:gd name="T69" fmla="*/ 100 h 133"/>
                <a:gd name="T70" fmla="*/ 64 w 110"/>
                <a:gd name="T71" fmla="*/ 105 h 133"/>
                <a:gd name="T72" fmla="*/ 57 w 110"/>
                <a:gd name="T73" fmla="*/ 109 h 133"/>
                <a:gd name="T74" fmla="*/ 53 w 110"/>
                <a:gd name="T75" fmla="*/ 115 h 133"/>
                <a:gd name="T76" fmla="*/ 50 w 110"/>
                <a:gd name="T77" fmla="*/ 120 h 133"/>
                <a:gd name="T78" fmla="*/ 44 w 110"/>
                <a:gd name="T79" fmla="*/ 126 h 133"/>
                <a:gd name="T80" fmla="*/ 38 w 110"/>
                <a:gd name="T81" fmla="*/ 129 h 133"/>
                <a:gd name="T82" fmla="*/ 29 w 110"/>
                <a:gd name="T83" fmla="*/ 133 h 133"/>
                <a:gd name="T84" fmla="*/ 18 w 110"/>
                <a:gd name="T85" fmla="*/ 133 h 133"/>
                <a:gd name="T86" fmla="*/ 11 w 110"/>
                <a:gd name="T87" fmla="*/ 131 h 133"/>
                <a:gd name="T88" fmla="*/ 3 w 110"/>
                <a:gd name="T89" fmla="*/ 128 h 133"/>
                <a:gd name="T90" fmla="*/ 1 w 110"/>
                <a:gd name="T91" fmla="*/ 124 h 133"/>
                <a:gd name="T92" fmla="*/ 0 w 110"/>
                <a:gd name="T93" fmla="*/ 122 h 133"/>
                <a:gd name="T94" fmla="*/ 0 w 110"/>
                <a:gd name="T95" fmla="*/ 118 h 133"/>
                <a:gd name="T96" fmla="*/ 0 w 110"/>
                <a:gd name="T97" fmla="*/ 115 h 133"/>
                <a:gd name="T98" fmla="*/ 7 w 110"/>
                <a:gd name="T99" fmla="*/ 111 h 133"/>
                <a:gd name="T100" fmla="*/ 14 w 110"/>
                <a:gd name="T101" fmla="*/ 109 h 133"/>
                <a:gd name="T102" fmla="*/ 20 w 110"/>
                <a:gd name="T103" fmla="*/ 107 h 133"/>
                <a:gd name="T104" fmla="*/ 26 w 110"/>
                <a:gd name="T105" fmla="*/ 102 h 133"/>
                <a:gd name="T106" fmla="*/ 22 w 110"/>
                <a:gd name="T107" fmla="*/ 80 h 133"/>
                <a:gd name="T108" fmla="*/ 20 w 110"/>
                <a:gd name="T109" fmla="*/ 57 h 133"/>
                <a:gd name="T110" fmla="*/ 24 w 110"/>
                <a:gd name="T111" fmla="*/ 52 h 133"/>
                <a:gd name="T112" fmla="*/ 27 w 110"/>
                <a:gd name="T113" fmla="*/ 50 h 133"/>
                <a:gd name="T114" fmla="*/ 33 w 110"/>
                <a:gd name="T115" fmla="*/ 48 h 133"/>
                <a:gd name="T116" fmla="*/ 38 w 110"/>
                <a:gd name="T117" fmla="*/ 48 h 13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0"/>
                <a:gd name="T178" fmla="*/ 0 h 133"/>
                <a:gd name="T179" fmla="*/ 110 w 110"/>
                <a:gd name="T180" fmla="*/ 133 h 13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0" h="133">
                  <a:moveTo>
                    <a:pt x="38" y="48"/>
                  </a:moveTo>
                  <a:lnTo>
                    <a:pt x="40" y="31"/>
                  </a:lnTo>
                  <a:lnTo>
                    <a:pt x="46" y="22"/>
                  </a:lnTo>
                  <a:lnTo>
                    <a:pt x="48" y="28"/>
                  </a:lnTo>
                  <a:lnTo>
                    <a:pt x="53" y="33"/>
                  </a:lnTo>
                  <a:lnTo>
                    <a:pt x="68" y="24"/>
                  </a:lnTo>
                  <a:lnTo>
                    <a:pt x="81" y="13"/>
                  </a:lnTo>
                  <a:lnTo>
                    <a:pt x="70" y="35"/>
                  </a:lnTo>
                  <a:lnTo>
                    <a:pt x="61" y="54"/>
                  </a:lnTo>
                  <a:lnTo>
                    <a:pt x="66" y="50"/>
                  </a:lnTo>
                  <a:lnTo>
                    <a:pt x="74" y="48"/>
                  </a:lnTo>
                  <a:lnTo>
                    <a:pt x="75" y="54"/>
                  </a:lnTo>
                  <a:lnTo>
                    <a:pt x="79" y="59"/>
                  </a:lnTo>
                  <a:lnTo>
                    <a:pt x="88" y="52"/>
                  </a:lnTo>
                  <a:lnTo>
                    <a:pt x="94" y="44"/>
                  </a:lnTo>
                  <a:lnTo>
                    <a:pt x="96" y="37"/>
                  </a:lnTo>
                  <a:lnTo>
                    <a:pt x="96" y="26"/>
                  </a:lnTo>
                  <a:lnTo>
                    <a:pt x="99" y="11"/>
                  </a:lnTo>
                  <a:lnTo>
                    <a:pt x="103" y="0"/>
                  </a:lnTo>
                  <a:lnTo>
                    <a:pt x="107" y="2"/>
                  </a:lnTo>
                  <a:lnTo>
                    <a:pt x="109" y="4"/>
                  </a:lnTo>
                  <a:lnTo>
                    <a:pt x="110" y="7"/>
                  </a:lnTo>
                  <a:lnTo>
                    <a:pt x="110" y="11"/>
                  </a:lnTo>
                  <a:lnTo>
                    <a:pt x="110" y="19"/>
                  </a:lnTo>
                  <a:lnTo>
                    <a:pt x="109" y="30"/>
                  </a:lnTo>
                  <a:lnTo>
                    <a:pt x="109" y="39"/>
                  </a:lnTo>
                  <a:lnTo>
                    <a:pt x="109" y="48"/>
                  </a:lnTo>
                  <a:lnTo>
                    <a:pt x="107" y="56"/>
                  </a:lnTo>
                  <a:lnTo>
                    <a:pt x="103" y="63"/>
                  </a:lnTo>
                  <a:lnTo>
                    <a:pt x="96" y="68"/>
                  </a:lnTo>
                  <a:lnTo>
                    <a:pt x="86" y="72"/>
                  </a:lnTo>
                  <a:lnTo>
                    <a:pt x="81" y="76"/>
                  </a:lnTo>
                  <a:lnTo>
                    <a:pt x="77" y="80"/>
                  </a:lnTo>
                  <a:lnTo>
                    <a:pt x="74" y="89"/>
                  </a:lnTo>
                  <a:lnTo>
                    <a:pt x="70" y="100"/>
                  </a:lnTo>
                  <a:lnTo>
                    <a:pt x="64" y="105"/>
                  </a:lnTo>
                  <a:lnTo>
                    <a:pt x="57" y="109"/>
                  </a:lnTo>
                  <a:lnTo>
                    <a:pt x="53" y="115"/>
                  </a:lnTo>
                  <a:lnTo>
                    <a:pt x="50" y="120"/>
                  </a:lnTo>
                  <a:lnTo>
                    <a:pt x="44" y="126"/>
                  </a:lnTo>
                  <a:lnTo>
                    <a:pt x="38" y="129"/>
                  </a:lnTo>
                  <a:lnTo>
                    <a:pt x="29" y="133"/>
                  </a:lnTo>
                  <a:lnTo>
                    <a:pt x="18" y="133"/>
                  </a:lnTo>
                  <a:lnTo>
                    <a:pt x="11" y="131"/>
                  </a:lnTo>
                  <a:lnTo>
                    <a:pt x="3" y="128"/>
                  </a:lnTo>
                  <a:lnTo>
                    <a:pt x="1" y="124"/>
                  </a:lnTo>
                  <a:lnTo>
                    <a:pt x="0" y="122"/>
                  </a:lnTo>
                  <a:lnTo>
                    <a:pt x="0" y="118"/>
                  </a:lnTo>
                  <a:lnTo>
                    <a:pt x="0" y="115"/>
                  </a:lnTo>
                  <a:lnTo>
                    <a:pt x="7" y="111"/>
                  </a:lnTo>
                  <a:lnTo>
                    <a:pt x="14" y="109"/>
                  </a:lnTo>
                  <a:lnTo>
                    <a:pt x="20" y="107"/>
                  </a:lnTo>
                  <a:lnTo>
                    <a:pt x="26" y="102"/>
                  </a:lnTo>
                  <a:lnTo>
                    <a:pt x="22" y="80"/>
                  </a:lnTo>
                  <a:lnTo>
                    <a:pt x="20" y="57"/>
                  </a:lnTo>
                  <a:lnTo>
                    <a:pt x="24" y="52"/>
                  </a:lnTo>
                  <a:lnTo>
                    <a:pt x="27" y="50"/>
                  </a:lnTo>
                  <a:lnTo>
                    <a:pt x="33" y="48"/>
                  </a:lnTo>
                  <a:lnTo>
                    <a:pt x="38" y="4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4" name="Freeform 52"/>
            <p:cNvSpPr>
              <a:spLocks/>
            </p:cNvSpPr>
            <p:nvPr/>
          </p:nvSpPr>
          <p:spPr bwMode="auto">
            <a:xfrm>
              <a:off x="4011158" y="1749518"/>
              <a:ext cx="238981" cy="251907"/>
            </a:xfrm>
            <a:custGeom>
              <a:avLst/>
              <a:gdLst>
                <a:gd name="T0" fmla="*/ 336 w 458"/>
                <a:gd name="T1" fmla="*/ 325 h 495"/>
                <a:gd name="T2" fmla="*/ 340 w 458"/>
                <a:gd name="T3" fmla="*/ 272 h 495"/>
                <a:gd name="T4" fmla="*/ 366 w 458"/>
                <a:gd name="T5" fmla="*/ 248 h 495"/>
                <a:gd name="T6" fmla="*/ 381 w 458"/>
                <a:gd name="T7" fmla="*/ 235 h 495"/>
                <a:gd name="T8" fmla="*/ 392 w 458"/>
                <a:gd name="T9" fmla="*/ 218 h 495"/>
                <a:gd name="T10" fmla="*/ 421 w 458"/>
                <a:gd name="T11" fmla="*/ 211 h 495"/>
                <a:gd name="T12" fmla="*/ 438 w 458"/>
                <a:gd name="T13" fmla="*/ 188 h 495"/>
                <a:gd name="T14" fmla="*/ 441 w 458"/>
                <a:gd name="T15" fmla="*/ 140 h 495"/>
                <a:gd name="T16" fmla="*/ 451 w 458"/>
                <a:gd name="T17" fmla="*/ 122 h 495"/>
                <a:gd name="T18" fmla="*/ 447 w 458"/>
                <a:gd name="T19" fmla="*/ 109 h 495"/>
                <a:gd name="T20" fmla="*/ 417 w 458"/>
                <a:gd name="T21" fmla="*/ 107 h 495"/>
                <a:gd name="T22" fmla="*/ 417 w 458"/>
                <a:gd name="T23" fmla="*/ 85 h 495"/>
                <a:gd name="T24" fmla="*/ 423 w 458"/>
                <a:gd name="T25" fmla="*/ 59 h 495"/>
                <a:gd name="T26" fmla="*/ 369 w 458"/>
                <a:gd name="T27" fmla="*/ 31 h 495"/>
                <a:gd name="T28" fmla="*/ 329 w 458"/>
                <a:gd name="T29" fmla="*/ 61 h 495"/>
                <a:gd name="T30" fmla="*/ 297 w 458"/>
                <a:gd name="T31" fmla="*/ 79 h 495"/>
                <a:gd name="T32" fmla="*/ 262 w 458"/>
                <a:gd name="T33" fmla="*/ 92 h 495"/>
                <a:gd name="T34" fmla="*/ 262 w 458"/>
                <a:gd name="T35" fmla="*/ 120 h 495"/>
                <a:gd name="T36" fmla="*/ 240 w 458"/>
                <a:gd name="T37" fmla="*/ 127 h 495"/>
                <a:gd name="T38" fmla="*/ 229 w 458"/>
                <a:gd name="T39" fmla="*/ 137 h 495"/>
                <a:gd name="T40" fmla="*/ 231 w 458"/>
                <a:gd name="T41" fmla="*/ 153 h 495"/>
                <a:gd name="T42" fmla="*/ 181 w 458"/>
                <a:gd name="T43" fmla="*/ 168 h 495"/>
                <a:gd name="T44" fmla="*/ 179 w 458"/>
                <a:gd name="T45" fmla="*/ 199 h 495"/>
                <a:gd name="T46" fmla="*/ 168 w 458"/>
                <a:gd name="T47" fmla="*/ 233 h 495"/>
                <a:gd name="T48" fmla="*/ 127 w 458"/>
                <a:gd name="T49" fmla="*/ 246 h 495"/>
                <a:gd name="T50" fmla="*/ 0 w 458"/>
                <a:gd name="T51" fmla="*/ 248 h 495"/>
                <a:gd name="T52" fmla="*/ 13 w 458"/>
                <a:gd name="T53" fmla="*/ 262 h 495"/>
                <a:gd name="T54" fmla="*/ 42 w 458"/>
                <a:gd name="T55" fmla="*/ 259 h 495"/>
                <a:gd name="T56" fmla="*/ 61 w 458"/>
                <a:gd name="T57" fmla="*/ 272 h 495"/>
                <a:gd name="T58" fmla="*/ 65 w 458"/>
                <a:gd name="T59" fmla="*/ 307 h 495"/>
                <a:gd name="T60" fmla="*/ 41 w 458"/>
                <a:gd name="T61" fmla="*/ 364 h 495"/>
                <a:gd name="T62" fmla="*/ 41 w 458"/>
                <a:gd name="T63" fmla="*/ 377 h 495"/>
                <a:gd name="T64" fmla="*/ 63 w 458"/>
                <a:gd name="T65" fmla="*/ 382 h 495"/>
                <a:gd name="T66" fmla="*/ 79 w 458"/>
                <a:gd name="T67" fmla="*/ 381 h 495"/>
                <a:gd name="T68" fmla="*/ 79 w 458"/>
                <a:gd name="T69" fmla="*/ 366 h 495"/>
                <a:gd name="T70" fmla="*/ 90 w 458"/>
                <a:gd name="T71" fmla="*/ 384 h 495"/>
                <a:gd name="T72" fmla="*/ 107 w 458"/>
                <a:gd name="T73" fmla="*/ 408 h 495"/>
                <a:gd name="T74" fmla="*/ 124 w 458"/>
                <a:gd name="T75" fmla="*/ 434 h 495"/>
                <a:gd name="T76" fmla="*/ 135 w 458"/>
                <a:gd name="T77" fmla="*/ 443 h 495"/>
                <a:gd name="T78" fmla="*/ 137 w 458"/>
                <a:gd name="T79" fmla="*/ 390 h 495"/>
                <a:gd name="T80" fmla="*/ 153 w 458"/>
                <a:gd name="T81" fmla="*/ 369 h 495"/>
                <a:gd name="T82" fmla="*/ 181 w 458"/>
                <a:gd name="T83" fmla="*/ 362 h 495"/>
                <a:gd name="T84" fmla="*/ 179 w 458"/>
                <a:gd name="T85" fmla="*/ 388 h 495"/>
                <a:gd name="T86" fmla="*/ 201 w 458"/>
                <a:gd name="T87" fmla="*/ 390 h 495"/>
                <a:gd name="T88" fmla="*/ 212 w 458"/>
                <a:gd name="T89" fmla="*/ 349 h 495"/>
                <a:gd name="T90" fmla="*/ 223 w 458"/>
                <a:gd name="T91" fmla="*/ 345 h 495"/>
                <a:gd name="T92" fmla="*/ 222 w 458"/>
                <a:gd name="T93" fmla="*/ 377 h 495"/>
                <a:gd name="T94" fmla="*/ 209 w 458"/>
                <a:gd name="T95" fmla="*/ 406 h 495"/>
                <a:gd name="T96" fmla="*/ 187 w 458"/>
                <a:gd name="T97" fmla="*/ 427 h 495"/>
                <a:gd name="T98" fmla="*/ 166 w 458"/>
                <a:gd name="T99" fmla="*/ 453 h 495"/>
                <a:gd name="T100" fmla="*/ 177 w 458"/>
                <a:gd name="T101" fmla="*/ 466 h 495"/>
                <a:gd name="T102" fmla="*/ 188 w 458"/>
                <a:gd name="T103" fmla="*/ 490 h 495"/>
                <a:gd name="T104" fmla="*/ 205 w 458"/>
                <a:gd name="T105" fmla="*/ 495 h 495"/>
                <a:gd name="T106" fmla="*/ 233 w 458"/>
                <a:gd name="T107" fmla="*/ 466 h 495"/>
                <a:gd name="T108" fmla="*/ 268 w 458"/>
                <a:gd name="T109" fmla="*/ 438 h 495"/>
                <a:gd name="T110" fmla="*/ 273 w 458"/>
                <a:gd name="T111" fmla="*/ 419 h 495"/>
                <a:gd name="T112" fmla="*/ 259 w 458"/>
                <a:gd name="T113" fmla="*/ 412 h 495"/>
                <a:gd name="T114" fmla="*/ 259 w 458"/>
                <a:gd name="T115" fmla="*/ 386 h 495"/>
                <a:gd name="T116" fmla="*/ 290 w 458"/>
                <a:gd name="T117" fmla="*/ 342 h 495"/>
                <a:gd name="T118" fmla="*/ 325 w 458"/>
                <a:gd name="T119" fmla="*/ 349 h 4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58"/>
                <a:gd name="T181" fmla="*/ 0 h 495"/>
                <a:gd name="T182" fmla="*/ 458 w 458"/>
                <a:gd name="T183" fmla="*/ 495 h 4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58" h="495">
                  <a:moveTo>
                    <a:pt x="334" y="345"/>
                  </a:moveTo>
                  <a:lnTo>
                    <a:pt x="331" y="342"/>
                  </a:lnTo>
                  <a:lnTo>
                    <a:pt x="331" y="338"/>
                  </a:lnTo>
                  <a:lnTo>
                    <a:pt x="336" y="325"/>
                  </a:lnTo>
                  <a:lnTo>
                    <a:pt x="345" y="312"/>
                  </a:lnTo>
                  <a:lnTo>
                    <a:pt x="344" y="299"/>
                  </a:lnTo>
                  <a:lnTo>
                    <a:pt x="340" y="284"/>
                  </a:lnTo>
                  <a:lnTo>
                    <a:pt x="340" y="272"/>
                  </a:lnTo>
                  <a:lnTo>
                    <a:pt x="342" y="262"/>
                  </a:lnTo>
                  <a:lnTo>
                    <a:pt x="353" y="257"/>
                  </a:lnTo>
                  <a:lnTo>
                    <a:pt x="364" y="251"/>
                  </a:lnTo>
                  <a:lnTo>
                    <a:pt x="366" y="248"/>
                  </a:lnTo>
                  <a:lnTo>
                    <a:pt x="369" y="242"/>
                  </a:lnTo>
                  <a:lnTo>
                    <a:pt x="373" y="240"/>
                  </a:lnTo>
                  <a:lnTo>
                    <a:pt x="379" y="238"/>
                  </a:lnTo>
                  <a:lnTo>
                    <a:pt x="381" y="235"/>
                  </a:lnTo>
                  <a:lnTo>
                    <a:pt x="382" y="229"/>
                  </a:lnTo>
                  <a:lnTo>
                    <a:pt x="382" y="225"/>
                  </a:lnTo>
                  <a:lnTo>
                    <a:pt x="381" y="220"/>
                  </a:lnTo>
                  <a:lnTo>
                    <a:pt x="392" y="218"/>
                  </a:lnTo>
                  <a:lnTo>
                    <a:pt x="406" y="218"/>
                  </a:lnTo>
                  <a:lnTo>
                    <a:pt x="414" y="214"/>
                  </a:lnTo>
                  <a:lnTo>
                    <a:pt x="417" y="212"/>
                  </a:lnTo>
                  <a:lnTo>
                    <a:pt x="421" y="211"/>
                  </a:lnTo>
                  <a:lnTo>
                    <a:pt x="429" y="211"/>
                  </a:lnTo>
                  <a:lnTo>
                    <a:pt x="432" y="205"/>
                  </a:lnTo>
                  <a:lnTo>
                    <a:pt x="436" y="198"/>
                  </a:lnTo>
                  <a:lnTo>
                    <a:pt x="438" y="188"/>
                  </a:lnTo>
                  <a:lnTo>
                    <a:pt x="438" y="181"/>
                  </a:lnTo>
                  <a:lnTo>
                    <a:pt x="438" y="163"/>
                  </a:lnTo>
                  <a:lnTo>
                    <a:pt x="436" y="144"/>
                  </a:lnTo>
                  <a:lnTo>
                    <a:pt x="441" y="140"/>
                  </a:lnTo>
                  <a:lnTo>
                    <a:pt x="445" y="135"/>
                  </a:lnTo>
                  <a:lnTo>
                    <a:pt x="447" y="129"/>
                  </a:lnTo>
                  <a:lnTo>
                    <a:pt x="447" y="124"/>
                  </a:lnTo>
                  <a:lnTo>
                    <a:pt x="451" y="122"/>
                  </a:lnTo>
                  <a:lnTo>
                    <a:pt x="454" y="120"/>
                  </a:lnTo>
                  <a:lnTo>
                    <a:pt x="456" y="116"/>
                  </a:lnTo>
                  <a:lnTo>
                    <a:pt x="458" y="113"/>
                  </a:lnTo>
                  <a:lnTo>
                    <a:pt x="447" y="109"/>
                  </a:lnTo>
                  <a:lnTo>
                    <a:pt x="434" y="111"/>
                  </a:lnTo>
                  <a:lnTo>
                    <a:pt x="429" y="111"/>
                  </a:lnTo>
                  <a:lnTo>
                    <a:pt x="421" y="111"/>
                  </a:lnTo>
                  <a:lnTo>
                    <a:pt x="417" y="107"/>
                  </a:lnTo>
                  <a:lnTo>
                    <a:pt x="414" y="103"/>
                  </a:lnTo>
                  <a:lnTo>
                    <a:pt x="414" y="96"/>
                  </a:lnTo>
                  <a:lnTo>
                    <a:pt x="416" y="89"/>
                  </a:lnTo>
                  <a:lnTo>
                    <a:pt x="417" y="85"/>
                  </a:lnTo>
                  <a:lnTo>
                    <a:pt x="421" y="81"/>
                  </a:lnTo>
                  <a:lnTo>
                    <a:pt x="427" y="78"/>
                  </a:lnTo>
                  <a:lnTo>
                    <a:pt x="430" y="76"/>
                  </a:lnTo>
                  <a:lnTo>
                    <a:pt x="423" y="59"/>
                  </a:lnTo>
                  <a:lnTo>
                    <a:pt x="410" y="39"/>
                  </a:lnTo>
                  <a:lnTo>
                    <a:pt x="397" y="17"/>
                  </a:lnTo>
                  <a:lnTo>
                    <a:pt x="386" y="0"/>
                  </a:lnTo>
                  <a:lnTo>
                    <a:pt x="369" y="31"/>
                  </a:lnTo>
                  <a:lnTo>
                    <a:pt x="356" y="54"/>
                  </a:lnTo>
                  <a:lnTo>
                    <a:pt x="349" y="59"/>
                  </a:lnTo>
                  <a:lnTo>
                    <a:pt x="340" y="61"/>
                  </a:lnTo>
                  <a:lnTo>
                    <a:pt x="329" y="61"/>
                  </a:lnTo>
                  <a:lnTo>
                    <a:pt x="316" y="61"/>
                  </a:lnTo>
                  <a:lnTo>
                    <a:pt x="308" y="70"/>
                  </a:lnTo>
                  <a:lnTo>
                    <a:pt x="303" y="76"/>
                  </a:lnTo>
                  <a:lnTo>
                    <a:pt x="297" y="79"/>
                  </a:lnTo>
                  <a:lnTo>
                    <a:pt x="290" y="81"/>
                  </a:lnTo>
                  <a:lnTo>
                    <a:pt x="277" y="83"/>
                  </a:lnTo>
                  <a:lnTo>
                    <a:pt x="262" y="83"/>
                  </a:lnTo>
                  <a:lnTo>
                    <a:pt x="262" y="92"/>
                  </a:lnTo>
                  <a:lnTo>
                    <a:pt x="264" y="109"/>
                  </a:lnTo>
                  <a:lnTo>
                    <a:pt x="264" y="113"/>
                  </a:lnTo>
                  <a:lnTo>
                    <a:pt x="264" y="118"/>
                  </a:lnTo>
                  <a:lnTo>
                    <a:pt x="262" y="120"/>
                  </a:lnTo>
                  <a:lnTo>
                    <a:pt x="259" y="124"/>
                  </a:lnTo>
                  <a:lnTo>
                    <a:pt x="255" y="126"/>
                  </a:lnTo>
                  <a:lnTo>
                    <a:pt x="248" y="127"/>
                  </a:lnTo>
                  <a:lnTo>
                    <a:pt x="240" y="127"/>
                  </a:lnTo>
                  <a:lnTo>
                    <a:pt x="231" y="126"/>
                  </a:lnTo>
                  <a:lnTo>
                    <a:pt x="229" y="129"/>
                  </a:lnTo>
                  <a:lnTo>
                    <a:pt x="229" y="133"/>
                  </a:lnTo>
                  <a:lnTo>
                    <a:pt x="229" y="137"/>
                  </a:lnTo>
                  <a:lnTo>
                    <a:pt x="231" y="140"/>
                  </a:lnTo>
                  <a:lnTo>
                    <a:pt x="233" y="146"/>
                  </a:lnTo>
                  <a:lnTo>
                    <a:pt x="233" y="150"/>
                  </a:lnTo>
                  <a:lnTo>
                    <a:pt x="231" y="153"/>
                  </a:lnTo>
                  <a:lnTo>
                    <a:pt x="223" y="157"/>
                  </a:lnTo>
                  <a:lnTo>
                    <a:pt x="205" y="157"/>
                  </a:lnTo>
                  <a:lnTo>
                    <a:pt x="187" y="161"/>
                  </a:lnTo>
                  <a:lnTo>
                    <a:pt x="181" y="168"/>
                  </a:lnTo>
                  <a:lnTo>
                    <a:pt x="179" y="175"/>
                  </a:lnTo>
                  <a:lnTo>
                    <a:pt x="179" y="183"/>
                  </a:lnTo>
                  <a:lnTo>
                    <a:pt x="179" y="190"/>
                  </a:lnTo>
                  <a:lnTo>
                    <a:pt x="179" y="199"/>
                  </a:lnTo>
                  <a:lnTo>
                    <a:pt x="179" y="207"/>
                  </a:lnTo>
                  <a:lnTo>
                    <a:pt x="177" y="216"/>
                  </a:lnTo>
                  <a:lnTo>
                    <a:pt x="174" y="227"/>
                  </a:lnTo>
                  <a:lnTo>
                    <a:pt x="168" y="233"/>
                  </a:lnTo>
                  <a:lnTo>
                    <a:pt x="163" y="236"/>
                  </a:lnTo>
                  <a:lnTo>
                    <a:pt x="155" y="240"/>
                  </a:lnTo>
                  <a:lnTo>
                    <a:pt x="146" y="244"/>
                  </a:lnTo>
                  <a:lnTo>
                    <a:pt x="127" y="246"/>
                  </a:lnTo>
                  <a:lnTo>
                    <a:pt x="105" y="246"/>
                  </a:lnTo>
                  <a:lnTo>
                    <a:pt x="55" y="240"/>
                  </a:lnTo>
                  <a:lnTo>
                    <a:pt x="0" y="229"/>
                  </a:lnTo>
                  <a:lnTo>
                    <a:pt x="0" y="248"/>
                  </a:lnTo>
                  <a:lnTo>
                    <a:pt x="0" y="268"/>
                  </a:lnTo>
                  <a:lnTo>
                    <a:pt x="2" y="268"/>
                  </a:lnTo>
                  <a:lnTo>
                    <a:pt x="2" y="266"/>
                  </a:lnTo>
                  <a:lnTo>
                    <a:pt x="13" y="262"/>
                  </a:lnTo>
                  <a:lnTo>
                    <a:pt x="26" y="260"/>
                  </a:lnTo>
                  <a:lnTo>
                    <a:pt x="31" y="257"/>
                  </a:lnTo>
                  <a:lnTo>
                    <a:pt x="37" y="255"/>
                  </a:lnTo>
                  <a:lnTo>
                    <a:pt x="42" y="259"/>
                  </a:lnTo>
                  <a:lnTo>
                    <a:pt x="48" y="264"/>
                  </a:lnTo>
                  <a:lnTo>
                    <a:pt x="55" y="264"/>
                  </a:lnTo>
                  <a:lnTo>
                    <a:pt x="61" y="266"/>
                  </a:lnTo>
                  <a:lnTo>
                    <a:pt x="61" y="272"/>
                  </a:lnTo>
                  <a:lnTo>
                    <a:pt x="61" y="279"/>
                  </a:lnTo>
                  <a:lnTo>
                    <a:pt x="68" y="286"/>
                  </a:lnTo>
                  <a:lnTo>
                    <a:pt x="70" y="296"/>
                  </a:lnTo>
                  <a:lnTo>
                    <a:pt x="65" y="307"/>
                  </a:lnTo>
                  <a:lnTo>
                    <a:pt x="55" y="316"/>
                  </a:lnTo>
                  <a:lnTo>
                    <a:pt x="52" y="333"/>
                  </a:lnTo>
                  <a:lnTo>
                    <a:pt x="46" y="349"/>
                  </a:lnTo>
                  <a:lnTo>
                    <a:pt x="41" y="364"/>
                  </a:lnTo>
                  <a:lnTo>
                    <a:pt x="31" y="379"/>
                  </a:lnTo>
                  <a:lnTo>
                    <a:pt x="35" y="379"/>
                  </a:lnTo>
                  <a:lnTo>
                    <a:pt x="39" y="379"/>
                  </a:lnTo>
                  <a:lnTo>
                    <a:pt x="41" y="377"/>
                  </a:lnTo>
                  <a:lnTo>
                    <a:pt x="42" y="373"/>
                  </a:lnTo>
                  <a:lnTo>
                    <a:pt x="44" y="371"/>
                  </a:lnTo>
                  <a:lnTo>
                    <a:pt x="50" y="369"/>
                  </a:lnTo>
                  <a:lnTo>
                    <a:pt x="63" y="382"/>
                  </a:lnTo>
                  <a:lnTo>
                    <a:pt x="74" y="388"/>
                  </a:lnTo>
                  <a:lnTo>
                    <a:pt x="78" y="386"/>
                  </a:lnTo>
                  <a:lnTo>
                    <a:pt x="79" y="384"/>
                  </a:lnTo>
                  <a:lnTo>
                    <a:pt x="79" y="381"/>
                  </a:lnTo>
                  <a:lnTo>
                    <a:pt x="78" y="377"/>
                  </a:lnTo>
                  <a:lnTo>
                    <a:pt x="76" y="371"/>
                  </a:lnTo>
                  <a:lnTo>
                    <a:pt x="76" y="366"/>
                  </a:lnTo>
                  <a:lnTo>
                    <a:pt x="79" y="366"/>
                  </a:lnTo>
                  <a:lnTo>
                    <a:pt x="83" y="368"/>
                  </a:lnTo>
                  <a:lnTo>
                    <a:pt x="85" y="369"/>
                  </a:lnTo>
                  <a:lnTo>
                    <a:pt x="89" y="375"/>
                  </a:lnTo>
                  <a:lnTo>
                    <a:pt x="90" y="384"/>
                  </a:lnTo>
                  <a:lnTo>
                    <a:pt x="92" y="395"/>
                  </a:lnTo>
                  <a:lnTo>
                    <a:pt x="94" y="403"/>
                  </a:lnTo>
                  <a:lnTo>
                    <a:pt x="100" y="406"/>
                  </a:lnTo>
                  <a:lnTo>
                    <a:pt x="107" y="408"/>
                  </a:lnTo>
                  <a:lnTo>
                    <a:pt x="116" y="410"/>
                  </a:lnTo>
                  <a:lnTo>
                    <a:pt x="120" y="416"/>
                  </a:lnTo>
                  <a:lnTo>
                    <a:pt x="122" y="423"/>
                  </a:lnTo>
                  <a:lnTo>
                    <a:pt x="124" y="434"/>
                  </a:lnTo>
                  <a:lnTo>
                    <a:pt x="124" y="449"/>
                  </a:lnTo>
                  <a:lnTo>
                    <a:pt x="127" y="447"/>
                  </a:lnTo>
                  <a:lnTo>
                    <a:pt x="133" y="445"/>
                  </a:lnTo>
                  <a:lnTo>
                    <a:pt x="135" y="443"/>
                  </a:lnTo>
                  <a:lnTo>
                    <a:pt x="139" y="440"/>
                  </a:lnTo>
                  <a:lnTo>
                    <a:pt x="135" y="418"/>
                  </a:lnTo>
                  <a:lnTo>
                    <a:pt x="133" y="395"/>
                  </a:lnTo>
                  <a:lnTo>
                    <a:pt x="137" y="390"/>
                  </a:lnTo>
                  <a:lnTo>
                    <a:pt x="140" y="388"/>
                  </a:lnTo>
                  <a:lnTo>
                    <a:pt x="146" y="386"/>
                  </a:lnTo>
                  <a:lnTo>
                    <a:pt x="151" y="386"/>
                  </a:lnTo>
                  <a:lnTo>
                    <a:pt x="153" y="369"/>
                  </a:lnTo>
                  <a:lnTo>
                    <a:pt x="159" y="360"/>
                  </a:lnTo>
                  <a:lnTo>
                    <a:pt x="161" y="366"/>
                  </a:lnTo>
                  <a:lnTo>
                    <a:pt x="166" y="371"/>
                  </a:lnTo>
                  <a:lnTo>
                    <a:pt x="181" y="362"/>
                  </a:lnTo>
                  <a:lnTo>
                    <a:pt x="194" y="351"/>
                  </a:lnTo>
                  <a:lnTo>
                    <a:pt x="183" y="373"/>
                  </a:lnTo>
                  <a:lnTo>
                    <a:pt x="174" y="392"/>
                  </a:lnTo>
                  <a:lnTo>
                    <a:pt x="179" y="388"/>
                  </a:lnTo>
                  <a:lnTo>
                    <a:pt x="187" y="386"/>
                  </a:lnTo>
                  <a:lnTo>
                    <a:pt x="188" y="392"/>
                  </a:lnTo>
                  <a:lnTo>
                    <a:pt x="192" y="397"/>
                  </a:lnTo>
                  <a:lnTo>
                    <a:pt x="201" y="390"/>
                  </a:lnTo>
                  <a:lnTo>
                    <a:pt x="207" y="382"/>
                  </a:lnTo>
                  <a:lnTo>
                    <a:pt x="209" y="375"/>
                  </a:lnTo>
                  <a:lnTo>
                    <a:pt x="209" y="364"/>
                  </a:lnTo>
                  <a:lnTo>
                    <a:pt x="212" y="349"/>
                  </a:lnTo>
                  <a:lnTo>
                    <a:pt x="216" y="338"/>
                  </a:lnTo>
                  <a:lnTo>
                    <a:pt x="220" y="340"/>
                  </a:lnTo>
                  <a:lnTo>
                    <a:pt x="222" y="342"/>
                  </a:lnTo>
                  <a:lnTo>
                    <a:pt x="223" y="345"/>
                  </a:lnTo>
                  <a:lnTo>
                    <a:pt x="223" y="349"/>
                  </a:lnTo>
                  <a:lnTo>
                    <a:pt x="223" y="357"/>
                  </a:lnTo>
                  <a:lnTo>
                    <a:pt x="222" y="368"/>
                  </a:lnTo>
                  <a:lnTo>
                    <a:pt x="222" y="377"/>
                  </a:lnTo>
                  <a:lnTo>
                    <a:pt x="222" y="386"/>
                  </a:lnTo>
                  <a:lnTo>
                    <a:pt x="220" y="394"/>
                  </a:lnTo>
                  <a:lnTo>
                    <a:pt x="216" y="401"/>
                  </a:lnTo>
                  <a:lnTo>
                    <a:pt x="209" y="406"/>
                  </a:lnTo>
                  <a:lnTo>
                    <a:pt x="199" y="410"/>
                  </a:lnTo>
                  <a:lnTo>
                    <a:pt x="194" y="414"/>
                  </a:lnTo>
                  <a:lnTo>
                    <a:pt x="190" y="418"/>
                  </a:lnTo>
                  <a:lnTo>
                    <a:pt x="187" y="427"/>
                  </a:lnTo>
                  <a:lnTo>
                    <a:pt x="183" y="438"/>
                  </a:lnTo>
                  <a:lnTo>
                    <a:pt x="177" y="443"/>
                  </a:lnTo>
                  <a:lnTo>
                    <a:pt x="170" y="447"/>
                  </a:lnTo>
                  <a:lnTo>
                    <a:pt x="166" y="453"/>
                  </a:lnTo>
                  <a:lnTo>
                    <a:pt x="163" y="458"/>
                  </a:lnTo>
                  <a:lnTo>
                    <a:pt x="166" y="458"/>
                  </a:lnTo>
                  <a:lnTo>
                    <a:pt x="172" y="462"/>
                  </a:lnTo>
                  <a:lnTo>
                    <a:pt x="177" y="466"/>
                  </a:lnTo>
                  <a:lnTo>
                    <a:pt x="181" y="471"/>
                  </a:lnTo>
                  <a:lnTo>
                    <a:pt x="185" y="479"/>
                  </a:lnTo>
                  <a:lnTo>
                    <a:pt x="187" y="484"/>
                  </a:lnTo>
                  <a:lnTo>
                    <a:pt x="188" y="490"/>
                  </a:lnTo>
                  <a:lnTo>
                    <a:pt x="188" y="495"/>
                  </a:lnTo>
                  <a:lnTo>
                    <a:pt x="190" y="495"/>
                  </a:lnTo>
                  <a:lnTo>
                    <a:pt x="194" y="495"/>
                  </a:lnTo>
                  <a:lnTo>
                    <a:pt x="205" y="495"/>
                  </a:lnTo>
                  <a:lnTo>
                    <a:pt x="214" y="491"/>
                  </a:lnTo>
                  <a:lnTo>
                    <a:pt x="220" y="486"/>
                  </a:lnTo>
                  <a:lnTo>
                    <a:pt x="225" y="480"/>
                  </a:lnTo>
                  <a:lnTo>
                    <a:pt x="233" y="466"/>
                  </a:lnTo>
                  <a:lnTo>
                    <a:pt x="238" y="456"/>
                  </a:lnTo>
                  <a:lnTo>
                    <a:pt x="251" y="449"/>
                  </a:lnTo>
                  <a:lnTo>
                    <a:pt x="262" y="442"/>
                  </a:lnTo>
                  <a:lnTo>
                    <a:pt x="268" y="438"/>
                  </a:lnTo>
                  <a:lnTo>
                    <a:pt x="272" y="434"/>
                  </a:lnTo>
                  <a:lnTo>
                    <a:pt x="275" y="430"/>
                  </a:lnTo>
                  <a:lnTo>
                    <a:pt x="277" y="425"/>
                  </a:lnTo>
                  <a:lnTo>
                    <a:pt x="273" y="419"/>
                  </a:lnTo>
                  <a:lnTo>
                    <a:pt x="272" y="418"/>
                  </a:lnTo>
                  <a:lnTo>
                    <a:pt x="268" y="414"/>
                  </a:lnTo>
                  <a:lnTo>
                    <a:pt x="264" y="414"/>
                  </a:lnTo>
                  <a:lnTo>
                    <a:pt x="259" y="412"/>
                  </a:lnTo>
                  <a:lnTo>
                    <a:pt x="255" y="408"/>
                  </a:lnTo>
                  <a:lnTo>
                    <a:pt x="253" y="401"/>
                  </a:lnTo>
                  <a:lnTo>
                    <a:pt x="255" y="394"/>
                  </a:lnTo>
                  <a:lnTo>
                    <a:pt x="259" y="386"/>
                  </a:lnTo>
                  <a:lnTo>
                    <a:pt x="264" y="377"/>
                  </a:lnTo>
                  <a:lnTo>
                    <a:pt x="277" y="362"/>
                  </a:lnTo>
                  <a:lnTo>
                    <a:pt x="286" y="351"/>
                  </a:lnTo>
                  <a:lnTo>
                    <a:pt x="290" y="342"/>
                  </a:lnTo>
                  <a:lnTo>
                    <a:pt x="297" y="334"/>
                  </a:lnTo>
                  <a:lnTo>
                    <a:pt x="307" y="342"/>
                  </a:lnTo>
                  <a:lnTo>
                    <a:pt x="318" y="351"/>
                  </a:lnTo>
                  <a:lnTo>
                    <a:pt x="325" y="349"/>
                  </a:lnTo>
                  <a:lnTo>
                    <a:pt x="334" y="34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5" name="Freeform 53"/>
            <p:cNvSpPr>
              <a:spLocks/>
            </p:cNvSpPr>
            <p:nvPr/>
          </p:nvSpPr>
          <p:spPr bwMode="auto">
            <a:xfrm>
              <a:off x="3609899" y="2609054"/>
              <a:ext cx="110098" cy="163358"/>
            </a:xfrm>
            <a:custGeom>
              <a:avLst/>
              <a:gdLst>
                <a:gd name="T0" fmla="*/ 12 w 211"/>
                <a:gd name="T1" fmla="*/ 151 h 321"/>
                <a:gd name="T2" fmla="*/ 2 w 211"/>
                <a:gd name="T3" fmla="*/ 162 h 321"/>
                <a:gd name="T4" fmla="*/ 6 w 211"/>
                <a:gd name="T5" fmla="*/ 186 h 321"/>
                <a:gd name="T6" fmla="*/ 25 w 211"/>
                <a:gd name="T7" fmla="*/ 249 h 321"/>
                <a:gd name="T8" fmla="*/ 26 w 211"/>
                <a:gd name="T9" fmla="*/ 292 h 321"/>
                <a:gd name="T10" fmla="*/ 32 w 211"/>
                <a:gd name="T11" fmla="*/ 307 h 321"/>
                <a:gd name="T12" fmla="*/ 60 w 211"/>
                <a:gd name="T13" fmla="*/ 318 h 321"/>
                <a:gd name="T14" fmla="*/ 113 w 211"/>
                <a:gd name="T15" fmla="*/ 290 h 321"/>
                <a:gd name="T16" fmla="*/ 119 w 211"/>
                <a:gd name="T17" fmla="*/ 251 h 321"/>
                <a:gd name="T18" fmla="*/ 121 w 211"/>
                <a:gd name="T19" fmla="*/ 229 h 321"/>
                <a:gd name="T20" fmla="*/ 124 w 211"/>
                <a:gd name="T21" fmla="*/ 212 h 321"/>
                <a:gd name="T22" fmla="*/ 130 w 211"/>
                <a:gd name="T23" fmla="*/ 192 h 321"/>
                <a:gd name="T24" fmla="*/ 146 w 211"/>
                <a:gd name="T25" fmla="*/ 188 h 321"/>
                <a:gd name="T26" fmla="*/ 159 w 211"/>
                <a:gd name="T27" fmla="*/ 168 h 321"/>
                <a:gd name="T28" fmla="*/ 189 w 211"/>
                <a:gd name="T29" fmla="*/ 155 h 321"/>
                <a:gd name="T30" fmla="*/ 185 w 211"/>
                <a:gd name="T31" fmla="*/ 151 h 321"/>
                <a:gd name="T32" fmla="*/ 159 w 211"/>
                <a:gd name="T33" fmla="*/ 153 h 321"/>
                <a:gd name="T34" fmla="*/ 159 w 211"/>
                <a:gd name="T35" fmla="*/ 150 h 321"/>
                <a:gd name="T36" fmla="*/ 170 w 211"/>
                <a:gd name="T37" fmla="*/ 148 h 321"/>
                <a:gd name="T38" fmla="*/ 187 w 211"/>
                <a:gd name="T39" fmla="*/ 114 h 321"/>
                <a:gd name="T40" fmla="*/ 183 w 211"/>
                <a:gd name="T41" fmla="*/ 90 h 321"/>
                <a:gd name="T42" fmla="*/ 194 w 211"/>
                <a:gd name="T43" fmla="*/ 70 h 321"/>
                <a:gd name="T44" fmla="*/ 209 w 211"/>
                <a:gd name="T45" fmla="*/ 50 h 321"/>
                <a:gd name="T46" fmla="*/ 187 w 211"/>
                <a:gd name="T47" fmla="*/ 15 h 321"/>
                <a:gd name="T48" fmla="*/ 126 w 211"/>
                <a:gd name="T49" fmla="*/ 0 h 321"/>
                <a:gd name="T50" fmla="*/ 122 w 211"/>
                <a:gd name="T51" fmla="*/ 11 h 321"/>
                <a:gd name="T52" fmla="*/ 128 w 211"/>
                <a:gd name="T53" fmla="*/ 24 h 321"/>
                <a:gd name="T54" fmla="*/ 91 w 211"/>
                <a:gd name="T55" fmla="*/ 22 h 321"/>
                <a:gd name="T56" fmla="*/ 102 w 211"/>
                <a:gd name="T57" fmla="*/ 28 h 321"/>
                <a:gd name="T58" fmla="*/ 113 w 211"/>
                <a:gd name="T59" fmla="*/ 39 h 321"/>
                <a:gd name="T60" fmla="*/ 100 w 211"/>
                <a:gd name="T61" fmla="*/ 50 h 321"/>
                <a:gd name="T62" fmla="*/ 115 w 211"/>
                <a:gd name="T63" fmla="*/ 72 h 321"/>
                <a:gd name="T64" fmla="*/ 111 w 211"/>
                <a:gd name="T65" fmla="*/ 79 h 321"/>
                <a:gd name="T66" fmla="*/ 130 w 211"/>
                <a:gd name="T67" fmla="*/ 85 h 321"/>
                <a:gd name="T68" fmla="*/ 143 w 211"/>
                <a:gd name="T69" fmla="*/ 94 h 321"/>
                <a:gd name="T70" fmla="*/ 137 w 211"/>
                <a:gd name="T71" fmla="*/ 105 h 321"/>
                <a:gd name="T72" fmla="*/ 119 w 211"/>
                <a:gd name="T73" fmla="*/ 114 h 321"/>
                <a:gd name="T74" fmla="*/ 95 w 211"/>
                <a:gd name="T75" fmla="*/ 124 h 321"/>
                <a:gd name="T76" fmla="*/ 87 w 211"/>
                <a:gd name="T77" fmla="*/ 146 h 321"/>
                <a:gd name="T78" fmla="*/ 78 w 211"/>
                <a:gd name="T79" fmla="*/ 153 h 321"/>
                <a:gd name="T80" fmla="*/ 54 w 211"/>
                <a:gd name="T81" fmla="*/ 144 h 321"/>
                <a:gd name="T82" fmla="*/ 39 w 211"/>
                <a:gd name="T83" fmla="*/ 151 h 321"/>
                <a:gd name="T84" fmla="*/ 21 w 211"/>
                <a:gd name="T85" fmla="*/ 146 h 321"/>
                <a:gd name="T86" fmla="*/ 4 w 211"/>
                <a:gd name="T87" fmla="*/ 129 h 32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1"/>
                <a:gd name="T133" fmla="*/ 0 h 321"/>
                <a:gd name="T134" fmla="*/ 211 w 211"/>
                <a:gd name="T135" fmla="*/ 321 h 321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1" h="321">
                  <a:moveTo>
                    <a:pt x="4" y="129"/>
                  </a:moveTo>
                  <a:lnTo>
                    <a:pt x="8" y="142"/>
                  </a:lnTo>
                  <a:lnTo>
                    <a:pt x="12" y="151"/>
                  </a:lnTo>
                  <a:lnTo>
                    <a:pt x="6" y="155"/>
                  </a:lnTo>
                  <a:lnTo>
                    <a:pt x="4" y="159"/>
                  </a:lnTo>
                  <a:lnTo>
                    <a:pt x="2" y="162"/>
                  </a:lnTo>
                  <a:lnTo>
                    <a:pt x="0" y="166"/>
                  </a:lnTo>
                  <a:lnTo>
                    <a:pt x="2" y="175"/>
                  </a:lnTo>
                  <a:lnTo>
                    <a:pt x="6" y="186"/>
                  </a:lnTo>
                  <a:lnTo>
                    <a:pt x="15" y="207"/>
                  </a:lnTo>
                  <a:lnTo>
                    <a:pt x="23" y="233"/>
                  </a:lnTo>
                  <a:lnTo>
                    <a:pt x="25" y="249"/>
                  </a:lnTo>
                  <a:lnTo>
                    <a:pt x="25" y="262"/>
                  </a:lnTo>
                  <a:lnTo>
                    <a:pt x="25" y="275"/>
                  </a:lnTo>
                  <a:lnTo>
                    <a:pt x="26" y="292"/>
                  </a:lnTo>
                  <a:lnTo>
                    <a:pt x="26" y="297"/>
                  </a:lnTo>
                  <a:lnTo>
                    <a:pt x="28" y="303"/>
                  </a:lnTo>
                  <a:lnTo>
                    <a:pt x="32" y="307"/>
                  </a:lnTo>
                  <a:lnTo>
                    <a:pt x="36" y="310"/>
                  </a:lnTo>
                  <a:lnTo>
                    <a:pt x="47" y="314"/>
                  </a:lnTo>
                  <a:lnTo>
                    <a:pt x="60" y="318"/>
                  </a:lnTo>
                  <a:lnTo>
                    <a:pt x="85" y="320"/>
                  </a:lnTo>
                  <a:lnTo>
                    <a:pt x="111" y="321"/>
                  </a:lnTo>
                  <a:lnTo>
                    <a:pt x="113" y="290"/>
                  </a:lnTo>
                  <a:lnTo>
                    <a:pt x="115" y="268"/>
                  </a:lnTo>
                  <a:lnTo>
                    <a:pt x="117" y="259"/>
                  </a:lnTo>
                  <a:lnTo>
                    <a:pt x="119" y="251"/>
                  </a:lnTo>
                  <a:lnTo>
                    <a:pt x="119" y="244"/>
                  </a:lnTo>
                  <a:lnTo>
                    <a:pt x="117" y="235"/>
                  </a:lnTo>
                  <a:lnTo>
                    <a:pt x="121" y="229"/>
                  </a:lnTo>
                  <a:lnTo>
                    <a:pt x="124" y="223"/>
                  </a:lnTo>
                  <a:lnTo>
                    <a:pt x="124" y="218"/>
                  </a:lnTo>
                  <a:lnTo>
                    <a:pt x="124" y="212"/>
                  </a:lnTo>
                  <a:lnTo>
                    <a:pt x="122" y="205"/>
                  </a:lnTo>
                  <a:lnTo>
                    <a:pt x="124" y="196"/>
                  </a:lnTo>
                  <a:lnTo>
                    <a:pt x="130" y="192"/>
                  </a:lnTo>
                  <a:lnTo>
                    <a:pt x="135" y="190"/>
                  </a:lnTo>
                  <a:lnTo>
                    <a:pt x="141" y="188"/>
                  </a:lnTo>
                  <a:lnTo>
                    <a:pt x="146" y="188"/>
                  </a:lnTo>
                  <a:lnTo>
                    <a:pt x="152" y="181"/>
                  </a:lnTo>
                  <a:lnTo>
                    <a:pt x="156" y="172"/>
                  </a:lnTo>
                  <a:lnTo>
                    <a:pt x="159" y="168"/>
                  </a:lnTo>
                  <a:lnTo>
                    <a:pt x="165" y="162"/>
                  </a:lnTo>
                  <a:lnTo>
                    <a:pt x="174" y="159"/>
                  </a:lnTo>
                  <a:lnTo>
                    <a:pt x="189" y="155"/>
                  </a:lnTo>
                  <a:lnTo>
                    <a:pt x="189" y="153"/>
                  </a:lnTo>
                  <a:lnTo>
                    <a:pt x="187" y="151"/>
                  </a:lnTo>
                  <a:lnTo>
                    <a:pt x="185" y="151"/>
                  </a:lnTo>
                  <a:lnTo>
                    <a:pt x="182" y="151"/>
                  </a:lnTo>
                  <a:lnTo>
                    <a:pt x="170" y="151"/>
                  </a:lnTo>
                  <a:lnTo>
                    <a:pt x="159" y="153"/>
                  </a:lnTo>
                  <a:lnTo>
                    <a:pt x="158" y="151"/>
                  </a:lnTo>
                  <a:lnTo>
                    <a:pt x="158" y="150"/>
                  </a:lnTo>
                  <a:lnTo>
                    <a:pt x="159" y="150"/>
                  </a:lnTo>
                  <a:lnTo>
                    <a:pt x="161" y="148"/>
                  </a:lnTo>
                  <a:lnTo>
                    <a:pt x="167" y="148"/>
                  </a:lnTo>
                  <a:lnTo>
                    <a:pt x="170" y="148"/>
                  </a:lnTo>
                  <a:lnTo>
                    <a:pt x="178" y="137"/>
                  </a:lnTo>
                  <a:lnTo>
                    <a:pt x="183" y="125"/>
                  </a:lnTo>
                  <a:lnTo>
                    <a:pt x="187" y="114"/>
                  </a:lnTo>
                  <a:lnTo>
                    <a:pt x="189" y="105"/>
                  </a:lnTo>
                  <a:lnTo>
                    <a:pt x="185" y="98"/>
                  </a:lnTo>
                  <a:lnTo>
                    <a:pt x="183" y="90"/>
                  </a:lnTo>
                  <a:lnTo>
                    <a:pt x="180" y="81"/>
                  </a:lnTo>
                  <a:lnTo>
                    <a:pt x="182" y="70"/>
                  </a:lnTo>
                  <a:lnTo>
                    <a:pt x="194" y="70"/>
                  </a:lnTo>
                  <a:lnTo>
                    <a:pt x="211" y="68"/>
                  </a:lnTo>
                  <a:lnTo>
                    <a:pt x="211" y="59"/>
                  </a:lnTo>
                  <a:lnTo>
                    <a:pt x="209" y="50"/>
                  </a:lnTo>
                  <a:lnTo>
                    <a:pt x="204" y="40"/>
                  </a:lnTo>
                  <a:lnTo>
                    <a:pt x="198" y="31"/>
                  </a:lnTo>
                  <a:lnTo>
                    <a:pt x="187" y="15"/>
                  </a:lnTo>
                  <a:lnTo>
                    <a:pt x="174" y="4"/>
                  </a:lnTo>
                  <a:lnTo>
                    <a:pt x="146" y="4"/>
                  </a:lnTo>
                  <a:lnTo>
                    <a:pt x="126" y="0"/>
                  </a:lnTo>
                  <a:lnTo>
                    <a:pt x="122" y="4"/>
                  </a:lnTo>
                  <a:lnTo>
                    <a:pt x="122" y="7"/>
                  </a:lnTo>
                  <a:lnTo>
                    <a:pt x="122" y="11"/>
                  </a:lnTo>
                  <a:lnTo>
                    <a:pt x="124" y="15"/>
                  </a:lnTo>
                  <a:lnTo>
                    <a:pt x="130" y="20"/>
                  </a:lnTo>
                  <a:lnTo>
                    <a:pt x="128" y="24"/>
                  </a:lnTo>
                  <a:lnTo>
                    <a:pt x="109" y="20"/>
                  </a:lnTo>
                  <a:lnTo>
                    <a:pt x="91" y="18"/>
                  </a:lnTo>
                  <a:lnTo>
                    <a:pt x="91" y="22"/>
                  </a:lnTo>
                  <a:lnTo>
                    <a:pt x="93" y="24"/>
                  </a:lnTo>
                  <a:lnTo>
                    <a:pt x="97" y="26"/>
                  </a:lnTo>
                  <a:lnTo>
                    <a:pt x="102" y="28"/>
                  </a:lnTo>
                  <a:lnTo>
                    <a:pt x="106" y="29"/>
                  </a:lnTo>
                  <a:lnTo>
                    <a:pt x="111" y="33"/>
                  </a:lnTo>
                  <a:lnTo>
                    <a:pt x="113" y="39"/>
                  </a:lnTo>
                  <a:lnTo>
                    <a:pt x="115" y="44"/>
                  </a:lnTo>
                  <a:lnTo>
                    <a:pt x="108" y="48"/>
                  </a:lnTo>
                  <a:lnTo>
                    <a:pt x="100" y="50"/>
                  </a:lnTo>
                  <a:lnTo>
                    <a:pt x="109" y="59"/>
                  </a:lnTo>
                  <a:lnTo>
                    <a:pt x="117" y="65"/>
                  </a:lnTo>
                  <a:lnTo>
                    <a:pt x="115" y="72"/>
                  </a:lnTo>
                  <a:lnTo>
                    <a:pt x="111" y="76"/>
                  </a:lnTo>
                  <a:lnTo>
                    <a:pt x="109" y="77"/>
                  </a:lnTo>
                  <a:lnTo>
                    <a:pt x="111" y="79"/>
                  </a:lnTo>
                  <a:lnTo>
                    <a:pt x="113" y="83"/>
                  </a:lnTo>
                  <a:lnTo>
                    <a:pt x="121" y="89"/>
                  </a:lnTo>
                  <a:lnTo>
                    <a:pt x="130" y="85"/>
                  </a:lnTo>
                  <a:lnTo>
                    <a:pt x="137" y="85"/>
                  </a:lnTo>
                  <a:lnTo>
                    <a:pt x="141" y="89"/>
                  </a:lnTo>
                  <a:lnTo>
                    <a:pt x="143" y="94"/>
                  </a:lnTo>
                  <a:lnTo>
                    <a:pt x="143" y="98"/>
                  </a:lnTo>
                  <a:lnTo>
                    <a:pt x="141" y="101"/>
                  </a:lnTo>
                  <a:lnTo>
                    <a:pt x="137" y="105"/>
                  </a:lnTo>
                  <a:lnTo>
                    <a:pt x="132" y="109"/>
                  </a:lnTo>
                  <a:lnTo>
                    <a:pt x="126" y="111"/>
                  </a:lnTo>
                  <a:lnTo>
                    <a:pt x="119" y="114"/>
                  </a:lnTo>
                  <a:lnTo>
                    <a:pt x="111" y="116"/>
                  </a:lnTo>
                  <a:lnTo>
                    <a:pt x="102" y="116"/>
                  </a:lnTo>
                  <a:lnTo>
                    <a:pt x="95" y="124"/>
                  </a:lnTo>
                  <a:lnTo>
                    <a:pt x="91" y="133"/>
                  </a:lnTo>
                  <a:lnTo>
                    <a:pt x="87" y="142"/>
                  </a:lnTo>
                  <a:lnTo>
                    <a:pt x="87" y="146"/>
                  </a:lnTo>
                  <a:lnTo>
                    <a:pt x="84" y="150"/>
                  </a:lnTo>
                  <a:lnTo>
                    <a:pt x="82" y="151"/>
                  </a:lnTo>
                  <a:lnTo>
                    <a:pt x="78" y="153"/>
                  </a:lnTo>
                  <a:lnTo>
                    <a:pt x="69" y="148"/>
                  </a:lnTo>
                  <a:lnTo>
                    <a:pt x="61" y="140"/>
                  </a:lnTo>
                  <a:lnTo>
                    <a:pt x="54" y="144"/>
                  </a:lnTo>
                  <a:lnTo>
                    <a:pt x="47" y="148"/>
                  </a:lnTo>
                  <a:lnTo>
                    <a:pt x="43" y="150"/>
                  </a:lnTo>
                  <a:lnTo>
                    <a:pt x="39" y="151"/>
                  </a:lnTo>
                  <a:lnTo>
                    <a:pt x="34" y="151"/>
                  </a:lnTo>
                  <a:lnTo>
                    <a:pt x="30" y="150"/>
                  </a:lnTo>
                  <a:lnTo>
                    <a:pt x="21" y="146"/>
                  </a:lnTo>
                  <a:lnTo>
                    <a:pt x="13" y="140"/>
                  </a:lnTo>
                  <a:lnTo>
                    <a:pt x="10" y="135"/>
                  </a:lnTo>
                  <a:lnTo>
                    <a:pt x="4" y="12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6" name="Freeform 54"/>
            <p:cNvSpPr>
              <a:spLocks/>
            </p:cNvSpPr>
            <p:nvPr/>
          </p:nvSpPr>
          <p:spPr bwMode="auto">
            <a:xfrm>
              <a:off x="3581201" y="2604983"/>
              <a:ext cx="71486" cy="48346"/>
            </a:xfrm>
            <a:custGeom>
              <a:avLst/>
              <a:gdLst>
                <a:gd name="T0" fmla="*/ 0 w 137"/>
                <a:gd name="T1" fmla="*/ 23 h 95"/>
                <a:gd name="T2" fmla="*/ 0 w 137"/>
                <a:gd name="T3" fmla="*/ 34 h 95"/>
                <a:gd name="T4" fmla="*/ 2 w 137"/>
                <a:gd name="T5" fmla="*/ 45 h 95"/>
                <a:gd name="T6" fmla="*/ 4 w 137"/>
                <a:gd name="T7" fmla="*/ 54 h 95"/>
                <a:gd name="T8" fmla="*/ 6 w 137"/>
                <a:gd name="T9" fmla="*/ 61 h 95"/>
                <a:gd name="T10" fmla="*/ 11 w 137"/>
                <a:gd name="T11" fmla="*/ 69 h 95"/>
                <a:gd name="T12" fmla="*/ 20 w 137"/>
                <a:gd name="T13" fmla="*/ 76 h 95"/>
                <a:gd name="T14" fmla="*/ 31 w 137"/>
                <a:gd name="T15" fmla="*/ 82 h 95"/>
                <a:gd name="T16" fmla="*/ 48 w 137"/>
                <a:gd name="T17" fmla="*/ 85 h 95"/>
                <a:gd name="T18" fmla="*/ 52 w 137"/>
                <a:gd name="T19" fmla="*/ 87 h 95"/>
                <a:gd name="T20" fmla="*/ 54 w 137"/>
                <a:gd name="T21" fmla="*/ 93 h 95"/>
                <a:gd name="T22" fmla="*/ 57 w 137"/>
                <a:gd name="T23" fmla="*/ 95 h 95"/>
                <a:gd name="T24" fmla="*/ 61 w 137"/>
                <a:gd name="T25" fmla="*/ 95 h 95"/>
                <a:gd name="T26" fmla="*/ 67 w 137"/>
                <a:gd name="T27" fmla="*/ 95 h 95"/>
                <a:gd name="T28" fmla="*/ 70 w 137"/>
                <a:gd name="T29" fmla="*/ 93 h 95"/>
                <a:gd name="T30" fmla="*/ 74 w 137"/>
                <a:gd name="T31" fmla="*/ 89 h 95"/>
                <a:gd name="T32" fmla="*/ 76 w 137"/>
                <a:gd name="T33" fmla="*/ 82 h 95"/>
                <a:gd name="T34" fmla="*/ 78 w 137"/>
                <a:gd name="T35" fmla="*/ 73 h 95"/>
                <a:gd name="T36" fmla="*/ 78 w 137"/>
                <a:gd name="T37" fmla="*/ 65 h 95"/>
                <a:gd name="T38" fmla="*/ 78 w 137"/>
                <a:gd name="T39" fmla="*/ 56 h 95"/>
                <a:gd name="T40" fmla="*/ 80 w 137"/>
                <a:gd name="T41" fmla="*/ 48 h 95"/>
                <a:gd name="T42" fmla="*/ 81 w 137"/>
                <a:gd name="T43" fmla="*/ 43 h 95"/>
                <a:gd name="T44" fmla="*/ 87 w 137"/>
                <a:gd name="T45" fmla="*/ 37 h 95"/>
                <a:gd name="T46" fmla="*/ 104 w 137"/>
                <a:gd name="T47" fmla="*/ 48 h 95"/>
                <a:gd name="T48" fmla="*/ 116 w 137"/>
                <a:gd name="T49" fmla="*/ 58 h 95"/>
                <a:gd name="T50" fmla="*/ 126 w 137"/>
                <a:gd name="T51" fmla="*/ 48 h 95"/>
                <a:gd name="T52" fmla="*/ 137 w 137"/>
                <a:gd name="T53" fmla="*/ 41 h 95"/>
                <a:gd name="T54" fmla="*/ 128 w 137"/>
                <a:gd name="T55" fmla="*/ 36 h 95"/>
                <a:gd name="T56" fmla="*/ 118 w 137"/>
                <a:gd name="T57" fmla="*/ 32 h 95"/>
                <a:gd name="T58" fmla="*/ 111 w 137"/>
                <a:gd name="T59" fmla="*/ 15 h 95"/>
                <a:gd name="T60" fmla="*/ 104 w 137"/>
                <a:gd name="T61" fmla="*/ 0 h 95"/>
                <a:gd name="T62" fmla="*/ 96 w 137"/>
                <a:gd name="T63" fmla="*/ 10 h 95"/>
                <a:gd name="T64" fmla="*/ 91 w 137"/>
                <a:gd name="T65" fmla="*/ 19 h 95"/>
                <a:gd name="T66" fmla="*/ 78 w 137"/>
                <a:gd name="T67" fmla="*/ 24 h 95"/>
                <a:gd name="T68" fmla="*/ 65 w 137"/>
                <a:gd name="T69" fmla="*/ 28 h 95"/>
                <a:gd name="T70" fmla="*/ 52 w 137"/>
                <a:gd name="T71" fmla="*/ 21 h 95"/>
                <a:gd name="T72" fmla="*/ 39 w 137"/>
                <a:gd name="T73" fmla="*/ 17 h 95"/>
                <a:gd name="T74" fmla="*/ 31 w 137"/>
                <a:gd name="T75" fmla="*/ 21 h 95"/>
                <a:gd name="T76" fmla="*/ 24 w 137"/>
                <a:gd name="T77" fmla="*/ 24 h 95"/>
                <a:gd name="T78" fmla="*/ 19 w 137"/>
                <a:gd name="T79" fmla="*/ 26 h 95"/>
                <a:gd name="T80" fmla="*/ 13 w 137"/>
                <a:gd name="T81" fmla="*/ 26 h 95"/>
                <a:gd name="T82" fmla="*/ 7 w 137"/>
                <a:gd name="T83" fmla="*/ 24 h 95"/>
                <a:gd name="T84" fmla="*/ 0 w 137"/>
                <a:gd name="T85" fmla="*/ 23 h 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37"/>
                <a:gd name="T130" fmla="*/ 0 h 95"/>
                <a:gd name="T131" fmla="*/ 137 w 137"/>
                <a:gd name="T132" fmla="*/ 95 h 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37" h="95">
                  <a:moveTo>
                    <a:pt x="0" y="23"/>
                  </a:moveTo>
                  <a:lnTo>
                    <a:pt x="0" y="34"/>
                  </a:lnTo>
                  <a:lnTo>
                    <a:pt x="2" y="45"/>
                  </a:lnTo>
                  <a:lnTo>
                    <a:pt x="4" y="54"/>
                  </a:lnTo>
                  <a:lnTo>
                    <a:pt x="6" y="61"/>
                  </a:lnTo>
                  <a:lnTo>
                    <a:pt x="11" y="69"/>
                  </a:lnTo>
                  <a:lnTo>
                    <a:pt x="20" y="76"/>
                  </a:lnTo>
                  <a:lnTo>
                    <a:pt x="31" y="82"/>
                  </a:lnTo>
                  <a:lnTo>
                    <a:pt x="48" y="85"/>
                  </a:lnTo>
                  <a:lnTo>
                    <a:pt x="52" y="87"/>
                  </a:lnTo>
                  <a:lnTo>
                    <a:pt x="54" y="93"/>
                  </a:lnTo>
                  <a:lnTo>
                    <a:pt x="57" y="95"/>
                  </a:lnTo>
                  <a:lnTo>
                    <a:pt x="61" y="95"/>
                  </a:lnTo>
                  <a:lnTo>
                    <a:pt x="67" y="95"/>
                  </a:lnTo>
                  <a:lnTo>
                    <a:pt x="70" y="93"/>
                  </a:lnTo>
                  <a:lnTo>
                    <a:pt x="74" y="89"/>
                  </a:lnTo>
                  <a:lnTo>
                    <a:pt x="76" y="82"/>
                  </a:lnTo>
                  <a:lnTo>
                    <a:pt x="78" y="73"/>
                  </a:lnTo>
                  <a:lnTo>
                    <a:pt x="78" y="65"/>
                  </a:lnTo>
                  <a:lnTo>
                    <a:pt x="78" y="56"/>
                  </a:lnTo>
                  <a:lnTo>
                    <a:pt x="80" y="48"/>
                  </a:lnTo>
                  <a:lnTo>
                    <a:pt x="81" y="43"/>
                  </a:lnTo>
                  <a:lnTo>
                    <a:pt x="87" y="37"/>
                  </a:lnTo>
                  <a:lnTo>
                    <a:pt x="104" y="48"/>
                  </a:lnTo>
                  <a:lnTo>
                    <a:pt x="116" y="58"/>
                  </a:lnTo>
                  <a:lnTo>
                    <a:pt x="126" y="48"/>
                  </a:lnTo>
                  <a:lnTo>
                    <a:pt x="137" y="41"/>
                  </a:lnTo>
                  <a:lnTo>
                    <a:pt x="128" y="36"/>
                  </a:lnTo>
                  <a:lnTo>
                    <a:pt x="118" y="32"/>
                  </a:lnTo>
                  <a:lnTo>
                    <a:pt x="111" y="15"/>
                  </a:lnTo>
                  <a:lnTo>
                    <a:pt x="104" y="0"/>
                  </a:lnTo>
                  <a:lnTo>
                    <a:pt x="96" y="10"/>
                  </a:lnTo>
                  <a:lnTo>
                    <a:pt x="91" y="19"/>
                  </a:lnTo>
                  <a:lnTo>
                    <a:pt x="78" y="24"/>
                  </a:lnTo>
                  <a:lnTo>
                    <a:pt x="65" y="28"/>
                  </a:lnTo>
                  <a:lnTo>
                    <a:pt x="52" y="21"/>
                  </a:lnTo>
                  <a:lnTo>
                    <a:pt x="39" y="17"/>
                  </a:lnTo>
                  <a:lnTo>
                    <a:pt x="31" y="21"/>
                  </a:lnTo>
                  <a:lnTo>
                    <a:pt x="24" y="24"/>
                  </a:lnTo>
                  <a:lnTo>
                    <a:pt x="19" y="26"/>
                  </a:lnTo>
                  <a:lnTo>
                    <a:pt x="13" y="26"/>
                  </a:lnTo>
                  <a:lnTo>
                    <a:pt x="7" y="2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7" name="Freeform 55"/>
            <p:cNvSpPr>
              <a:spLocks/>
            </p:cNvSpPr>
            <p:nvPr/>
          </p:nvSpPr>
          <p:spPr bwMode="auto">
            <a:xfrm>
              <a:off x="3609378" y="2623813"/>
              <a:ext cx="75138" cy="63104"/>
            </a:xfrm>
            <a:custGeom>
              <a:avLst/>
              <a:gdLst>
                <a:gd name="T0" fmla="*/ 3 w 144"/>
                <a:gd name="T1" fmla="*/ 76 h 124"/>
                <a:gd name="T2" fmla="*/ 11 w 144"/>
                <a:gd name="T3" fmla="*/ 106 h 124"/>
                <a:gd name="T4" fmla="*/ 22 w 144"/>
                <a:gd name="T5" fmla="*/ 117 h 124"/>
                <a:gd name="T6" fmla="*/ 35 w 144"/>
                <a:gd name="T7" fmla="*/ 122 h 124"/>
                <a:gd name="T8" fmla="*/ 44 w 144"/>
                <a:gd name="T9" fmla="*/ 121 h 124"/>
                <a:gd name="T10" fmla="*/ 55 w 144"/>
                <a:gd name="T11" fmla="*/ 115 h 124"/>
                <a:gd name="T12" fmla="*/ 70 w 144"/>
                <a:gd name="T13" fmla="*/ 119 h 124"/>
                <a:gd name="T14" fmla="*/ 83 w 144"/>
                <a:gd name="T15" fmla="*/ 122 h 124"/>
                <a:gd name="T16" fmla="*/ 88 w 144"/>
                <a:gd name="T17" fmla="*/ 117 h 124"/>
                <a:gd name="T18" fmla="*/ 92 w 144"/>
                <a:gd name="T19" fmla="*/ 104 h 124"/>
                <a:gd name="T20" fmla="*/ 103 w 144"/>
                <a:gd name="T21" fmla="*/ 87 h 124"/>
                <a:gd name="T22" fmla="*/ 120 w 144"/>
                <a:gd name="T23" fmla="*/ 85 h 124"/>
                <a:gd name="T24" fmla="*/ 133 w 144"/>
                <a:gd name="T25" fmla="*/ 80 h 124"/>
                <a:gd name="T26" fmla="*/ 142 w 144"/>
                <a:gd name="T27" fmla="*/ 72 h 124"/>
                <a:gd name="T28" fmla="*/ 144 w 144"/>
                <a:gd name="T29" fmla="*/ 65 h 124"/>
                <a:gd name="T30" fmla="*/ 138 w 144"/>
                <a:gd name="T31" fmla="*/ 56 h 124"/>
                <a:gd name="T32" fmla="*/ 122 w 144"/>
                <a:gd name="T33" fmla="*/ 60 h 124"/>
                <a:gd name="T34" fmla="*/ 112 w 144"/>
                <a:gd name="T35" fmla="*/ 50 h 124"/>
                <a:gd name="T36" fmla="*/ 112 w 144"/>
                <a:gd name="T37" fmla="*/ 47 h 124"/>
                <a:gd name="T38" fmla="*/ 118 w 144"/>
                <a:gd name="T39" fmla="*/ 36 h 124"/>
                <a:gd name="T40" fmla="*/ 101 w 144"/>
                <a:gd name="T41" fmla="*/ 21 h 124"/>
                <a:gd name="T42" fmla="*/ 96 w 144"/>
                <a:gd name="T43" fmla="*/ 21 h 124"/>
                <a:gd name="T44" fmla="*/ 88 w 144"/>
                <a:gd name="T45" fmla="*/ 11 h 124"/>
                <a:gd name="T46" fmla="*/ 83 w 144"/>
                <a:gd name="T47" fmla="*/ 4 h 124"/>
                <a:gd name="T48" fmla="*/ 72 w 144"/>
                <a:gd name="T49" fmla="*/ 11 h 124"/>
                <a:gd name="T50" fmla="*/ 50 w 144"/>
                <a:gd name="T51" fmla="*/ 11 h 124"/>
                <a:gd name="T52" fmla="*/ 27 w 144"/>
                <a:gd name="T53" fmla="*/ 6 h 124"/>
                <a:gd name="T54" fmla="*/ 24 w 144"/>
                <a:gd name="T55" fmla="*/ 19 h 124"/>
                <a:gd name="T56" fmla="*/ 24 w 144"/>
                <a:gd name="T57" fmla="*/ 36 h 124"/>
                <a:gd name="T58" fmla="*/ 20 w 144"/>
                <a:gd name="T59" fmla="*/ 52 h 124"/>
                <a:gd name="T60" fmla="*/ 13 w 144"/>
                <a:gd name="T61" fmla="*/ 58 h 124"/>
                <a:gd name="T62" fmla="*/ 3 w 144"/>
                <a:gd name="T63" fmla="*/ 58 h 12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4"/>
                <a:gd name="T97" fmla="*/ 0 h 124"/>
                <a:gd name="T98" fmla="*/ 144 w 144"/>
                <a:gd name="T99" fmla="*/ 124 h 12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4" h="124">
                  <a:moveTo>
                    <a:pt x="0" y="56"/>
                  </a:moveTo>
                  <a:lnTo>
                    <a:pt x="3" y="76"/>
                  </a:lnTo>
                  <a:lnTo>
                    <a:pt x="5" y="100"/>
                  </a:lnTo>
                  <a:lnTo>
                    <a:pt x="11" y="106"/>
                  </a:lnTo>
                  <a:lnTo>
                    <a:pt x="14" y="111"/>
                  </a:lnTo>
                  <a:lnTo>
                    <a:pt x="22" y="117"/>
                  </a:lnTo>
                  <a:lnTo>
                    <a:pt x="31" y="121"/>
                  </a:lnTo>
                  <a:lnTo>
                    <a:pt x="35" y="122"/>
                  </a:lnTo>
                  <a:lnTo>
                    <a:pt x="40" y="122"/>
                  </a:lnTo>
                  <a:lnTo>
                    <a:pt x="44" y="121"/>
                  </a:lnTo>
                  <a:lnTo>
                    <a:pt x="48" y="119"/>
                  </a:lnTo>
                  <a:lnTo>
                    <a:pt x="55" y="115"/>
                  </a:lnTo>
                  <a:lnTo>
                    <a:pt x="62" y="111"/>
                  </a:lnTo>
                  <a:lnTo>
                    <a:pt x="70" y="119"/>
                  </a:lnTo>
                  <a:lnTo>
                    <a:pt x="79" y="124"/>
                  </a:lnTo>
                  <a:lnTo>
                    <a:pt x="83" y="122"/>
                  </a:lnTo>
                  <a:lnTo>
                    <a:pt x="85" y="121"/>
                  </a:lnTo>
                  <a:lnTo>
                    <a:pt x="88" y="117"/>
                  </a:lnTo>
                  <a:lnTo>
                    <a:pt x="88" y="113"/>
                  </a:lnTo>
                  <a:lnTo>
                    <a:pt x="92" y="104"/>
                  </a:lnTo>
                  <a:lnTo>
                    <a:pt x="96" y="95"/>
                  </a:lnTo>
                  <a:lnTo>
                    <a:pt x="103" y="87"/>
                  </a:lnTo>
                  <a:lnTo>
                    <a:pt x="112" y="87"/>
                  </a:lnTo>
                  <a:lnTo>
                    <a:pt x="120" y="85"/>
                  </a:lnTo>
                  <a:lnTo>
                    <a:pt x="127" y="82"/>
                  </a:lnTo>
                  <a:lnTo>
                    <a:pt x="133" y="80"/>
                  </a:lnTo>
                  <a:lnTo>
                    <a:pt x="138" y="76"/>
                  </a:lnTo>
                  <a:lnTo>
                    <a:pt x="142" y="72"/>
                  </a:lnTo>
                  <a:lnTo>
                    <a:pt x="144" y="69"/>
                  </a:lnTo>
                  <a:lnTo>
                    <a:pt x="144" y="65"/>
                  </a:lnTo>
                  <a:lnTo>
                    <a:pt x="142" y="60"/>
                  </a:lnTo>
                  <a:lnTo>
                    <a:pt x="138" y="56"/>
                  </a:lnTo>
                  <a:lnTo>
                    <a:pt x="131" y="56"/>
                  </a:lnTo>
                  <a:lnTo>
                    <a:pt x="122" y="60"/>
                  </a:lnTo>
                  <a:lnTo>
                    <a:pt x="114" y="54"/>
                  </a:lnTo>
                  <a:lnTo>
                    <a:pt x="112" y="50"/>
                  </a:lnTo>
                  <a:lnTo>
                    <a:pt x="110" y="48"/>
                  </a:lnTo>
                  <a:lnTo>
                    <a:pt x="112" y="47"/>
                  </a:lnTo>
                  <a:lnTo>
                    <a:pt x="116" y="43"/>
                  </a:lnTo>
                  <a:lnTo>
                    <a:pt x="118" y="36"/>
                  </a:lnTo>
                  <a:lnTo>
                    <a:pt x="110" y="30"/>
                  </a:lnTo>
                  <a:lnTo>
                    <a:pt x="101" y="21"/>
                  </a:lnTo>
                  <a:lnTo>
                    <a:pt x="96" y="21"/>
                  </a:lnTo>
                  <a:lnTo>
                    <a:pt x="90" y="19"/>
                  </a:lnTo>
                  <a:lnTo>
                    <a:pt x="88" y="11"/>
                  </a:lnTo>
                  <a:lnTo>
                    <a:pt x="83" y="4"/>
                  </a:lnTo>
                  <a:lnTo>
                    <a:pt x="72" y="11"/>
                  </a:lnTo>
                  <a:lnTo>
                    <a:pt x="62" y="21"/>
                  </a:lnTo>
                  <a:lnTo>
                    <a:pt x="50" y="11"/>
                  </a:lnTo>
                  <a:lnTo>
                    <a:pt x="33" y="0"/>
                  </a:lnTo>
                  <a:lnTo>
                    <a:pt x="27" y="6"/>
                  </a:lnTo>
                  <a:lnTo>
                    <a:pt x="26" y="11"/>
                  </a:lnTo>
                  <a:lnTo>
                    <a:pt x="24" y="19"/>
                  </a:lnTo>
                  <a:lnTo>
                    <a:pt x="24" y="28"/>
                  </a:lnTo>
                  <a:lnTo>
                    <a:pt x="24" y="36"/>
                  </a:lnTo>
                  <a:lnTo>
                    <a:pt x="22" y="45"/>
                  </a:lnTo>
                  <a:lnTo>
                    <a:pt x="20" y="52"/>
                  </a:lnTo>
                  <a:lnTo>
                    <a:pt x="16" y="56"/>
                  </a:lnTo>
                  <a:lnTo>
                    <a:pt x="13" y="58"/>
                  </a:lnTo>
                  <a:lnTo>
                    <a:pt x="7" y="58"/>
                  </a:lnTo>
                  <a:lnTo>
                    <a:pt x="3" y="58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8" name="Freeform 56"/>
            <p:cNvSpPr>
              <a:spLocks/>
            </p:cNvSpPr>
            <p:nvPr/>
          </p:nvSpPr>
          <p:spPr bwMode="auto">
            <a:xfrm>
              <a:off x="3747131" y="2491498"/>
              <a:ext cx="89748" cy="156233"/>
            </a:xfrm>
            <a:custGeom>
              <a:avLst/>
              <a:gdLst>
                <a:gd name="T0" fmla="*/ 140 w 172"/>
                <a:gd name="T1" fmla="*/ 281 h 307"/>
                <a:gd name="T2" fmla="*/ 125 w 172"/>
                <a:gd name="T3" fmla="*/ 257 h 307"/>
                <a:gd name="T4" fmla="*/ 127 w 172"/>
                <a:gd name="T5" fmla="*/ 242 h 307"/>
                <a:gd name="T6" fmla="*/ 135 w 172"/>
                <a:gd name="T7" fmla="*/ 240 h 307"/>
                <a:gd name="T8" fmla="*/ 148 w 172"/>
                <a:gd name="T9" fmla="*/ 249 h 307"/>
                <a:gd name="T10" fmla="*/ 157 w 172"/>
                <a:gd name="T11" fmla="*/ 235 h 307"/>
                <a:gd name="T12" fmla="*/ 164 w 172"/>
                <a:gd name="T13" fmla="*/ 194 h 307"/>
                <a:gd name="T14" fmla="*/ 170 w 172"/>
                <a:gd name="T15" fmla="*/ 168 h 307"/>
                <a:gd name="T16" fmla="*/ 159 w 172"/>
                <a:gd name="T17" fmla="*/ 153 h 307"/>
                <a:gd name="T18" fmla="*/ 135 w 172"/>
                <a:gd name="T19" fmla="*/ 135 h 307"/>
                <a:gd name="T20" fmla="*/ 142 w 172"/>
                <a:gd name="T21" fmla="*/ 116 h 307"/>
                <a:gd name="T22" fmla="*/ 153 w 172"/>
                <a:gd name="T23" fmla="*/ 101 h 307"/>
                <a:gd name="T24" fmla="*/ 149 w 172"/>
                <a:gd name="T25" fmla="*/ 90 h 307"/>
                <a:gd name="T26" fmla="*/ 144 w 172"/>
                <a:gd name="T27" fmla="*/ 79 h 307"/>
                <a:gd name="T28" fmla="*/ 142 w 172"/>
                <a:gd name="T29" fmla="*/ 68 h 307"/>
                <a:gd name="T30" fmla="*/ 149 w 172"/>
                <a:gd name="T31" fmla="*/ 59 h 307"/>
                <a:gd name="T32" fmla="*/ 161 w 172"/>
                <a:gd name="T33" fmla="*/ 48 h 307"/>
                <a:gd name="T34" fmla="*/ 157 w 172"/>
                <a:gd name="T35" fmla="*/ 35 h 307"/>
                <a:gd name="T36" fmla="*/ 151 w 172"/>
                <a:gd name="T37" fmla="*/ 24 h 307"/>
                <a:gd name="T38" fmla="*/ 144 w 172"/>
                <a:gd name="T39" fmla="*/ 22 h 307"/>
                <a:gd name="T40" fmla="*/ 129 w 172"/>
                <a:gd name="T41" fmla="*/ 15 h 307"/>
                <a:gd name="T42" fmla="*/ 114 w 172"/>
                <a:gd name="T43" fmla="*/ 9 h 307"/>
                <a:gd name="T44" fmla="*/ 107 w 172"/>
                <a:gd name="T45" fmla="*/ 7 h 307"/>
                <a:gd name="T46" fmla="*/ 100 w 172"/>
                <a:gd name="T47" fmla="*/ 2 h 307"/>
                <a:gd name="T48" fmla="*/ 88 w 172"/>
                <a:gd name="T49" fmla="*/ 0 h 307"/>
                <a:gd name="T50" fmla="*/ 81 w 172"/>
                <a:gd name="T51" fmla="*/ 4 h 307"/>
                <a:gd name="T52" fmla="*/ 81 w 172"/>
                <a:gd name="T53" fmla="*/ 15 h 307"/>
                <a:gd name="T54" fmla="*/ 81 w 172"/>
                <a:gd name="T55" fmla="*/ 31 h 307"/>
                <a:gd name="T56" fmla="*/ 85 w 172"/>
                <a:gd name="T57" fmla="*/ 42 h 307"/>
                <a:gd name="T58" fmla="*/ 92 w 172"/>
                <a:gd name="T59" fmla="*/ 46 h 307"/>
                <a:gd name="T60" fmla="*/ 81 w 172"/>
                <a:gd name="T61" fmla="*/ 63 h 307"/>
                <a:gd name="T62" fmla="*/ 70 w 172"/>
                <a:gd name="T63" fmla="*/ 101 h 307"/>
                <a:gd name="T64" fmla="*/ 72 w 172"/>
                <a:gd name="T65" fmla="*/ 142 h 307"/>
                <a:gd name="T66" fmla="*/ 74 w 172"/>
                <a:gd name="T67" fmla="*/ 175 h 307"/>
                <a:gd name="T68" fmla="*/ 70 w 172"/>
                <a:gd name="T69" fmla="*/ 190 h 307"/>
                <a:gd name="T70" fmla="*/ 57 w 172"/>
                <a:gd name="T71" fmla="*/ 194 h 307"/>
                <a:gd name="T72" fmla="*/ 35 w 172"/>
                <a:gd name="T73" fmla="*/ 188 h 307"/>
                <a:gd name="T74" fmla="*/ 24 w 172"/>
                <a:gd name="T75" fmla="*/ 179 h 307"/>
                <a:gd name="T76" fmla="*/ 20 w 172"/>
                <a:gd name="T77" fmla="*/ 186 h 307"/>
                <a:gd name="T78" fmla="*/ 22 w 172"/>
                <a:gd name="T79" fmla="*/ 203 h 307"/>
                <a:gd name="T80" fmla="*/ 24 w 172"/>
                <a:gd name="T81" fmla="*/ 214 h 307"/>
                <a:gd name="T82" fmla="*/ 16 w 172"/>
                <a:gd name="T83" fmla="*/ 225 h 307"/>
                <a:gd name="T84" fmla="*/ 0 w 172"/>
                <a:gd name="T85" fmla="*/ 236 h 307"/>
                <a:gd name="T86" fmla="*/ 4 w 172"/>
                <a:gd name="T87" fmla="*/ 244 h 307"/>
                <a:gd name="T88" fmla="*/ 15 w 172"/>
                <a:gd name="T89" fmla="*/ 251 h 307"/>
                <a:gd name="T90" fmla="*/ 22 w 172"/>
                <a:gd name="T91" fmla="*/ 270 h 307"/>
                <a:gd name="T92" fmla="*/ 33 w 172"/>
                <a:gd name="T93" fmla="*/ 284 h 307"/>
                <a:gd name="T94" fmla="*/ 53 w 172"/>
                <a:gd name="T95" fmla="*/ 288 h 307"/>
                <a:gd name="T96" fmla="*/ 87 w 172"/>
                <a:gd name="T97" fmla="*/ 299 h 307"/>
                <a:gd name="T98" fmla="*/ 105 w 172"/>
                <a:gd name="T99" fmla="*/ 307 h 307"/>
                <a:gd name="T100" fmla="*/ 129 w 172"/>
                <a:gd name="T101" fmla="*/ 305 h 307"/>
                <a:gd name="T102" fmla="*/ 144 w 172"/>
                <a:gd name="T103" fmla="*/ 303 h 307"/>
                <a:gd name="T104" fmla="*/ 151 w 172"/>
                <a:gd name="T105" fmla="*/ 297 h 30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72"/>
                <a:gd name="T160" fmla="*/ 0 h 307"/>
                <a:gd name="T161" fmla="*/ 172 w 172"/>
                <a:gd name="T162" fmla="*/ 307 h 30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72" h="307">
                  <a:moveTo>
                    <a:pt x="153" y="294"/>
                  </a:moveTo>
                  <a:lnTo>
                    <a:pt x="140" y="281"/>
                  </a:lnTo>
                  <a:lnTo>
                    <a:pt x="131" y="268"/>
                  </a:lnTo>
                  <a:lnTo>
                    <a:pt x="125" y="257"/>
                  </a:lnTo>
                  <a:lnTo>
                    <a:pt x="124" y="247"/>
                  </a:lnTo>
                  <a:lnTo>
                    <a:pt x="127" y="242"/>
                  </a:lnTo>
                  <a:lnTo>
                    <a:pt x="129" y="240"/>
                  </a:lnTo>
                  <a:lnTo>
                    <a:pt x="135" y="240"/>
                  </a:lnTo>
                  <a:lnTo>
                    <a:pt x="140" y="242"/>
                  </a:lnTo>
                  <a:lnTo>
                    <a:pt x="148" y="249"/>
                  </a:lnTo>
                  <a:lnTo>
                    <a:pt x="153" y="253"/>
                  </a:lnTo>
                  <a:lnTo>
                    <a:pt x="157" y="235"/>
                  </a:lnTo>
                  <a:lnTo>
                    <a:pt x="159" y="214"/>
                  </a:lnTo>
                  <a:lnTo>
                    <a:pt x="164" y="194"/>
                  </a:lnTo>
                  <a:lnTo>
                    <a:pt x="172" y="175"/>
                  </a:lnTo>
                  <a:lnTo>
                    <a:pt x="170" y="168"/>
                  </a:lnTo>
                  <a:lnTo>
                    <a:pt x="166" y="161"/>
                  </a:lnTo>
                  <a:lnTo>
                    <a:pt x="159" y="153"/>
                  </a:lnTo>
                  <a:lnTo>
                    <a:pt x="149" y="146"/>
                  </a:lnTo>
                  <a:lnTo>
                    <a:pt x="135" y="135"/>
                  </a:lnTo>
                  <a:lnTo>
                    <a:pt x="129" y="127"/>
                  </a:lnTo>
                  <a:lnTo>
                    <a:pt x="142" y="116"/>
                  </a:lnTo>
                  <a:lnTo>
                    <a:pt x="153" y="107"/>
                  </a:lnTo>
                  <a:lnTo>
                    <a:pt x="153" y="101"/>
                  </a:lnTo>
                  <a:lnTo>
                    <a:pt x="153" y="96"/>
                  </a:lnTo>
                  <a:lnTo>
                    <a:pt x="149" y="90"/>
                  </a:lnTo>
                  <a:lnTo>
                    <a:pt x="146" y="85"/>
                  </a:lnTo>
                  <a:lnTo>
                    <a:pt x="144" y="79"/>
                  </a:lnTo>
                  <a:lnTo>
                    <a:pt x="142" y="74"/>
                  </a:lnTo>
                  <a:lnTo>
                    <a:pt x="142" y="68"/>
                  </a:lnTo>
                  <a:lnTo>
                    <a:pt x="144" y="63"/>
                  </a:lnTo>
                  <a:lnTo>
                    <a:pt x="149" y="59"/>
                  </a:lnTo>
                  <a:lnTo>
                    <a:pt x="161" y="57"/>
                  </a:lnTo>
                  <a:lnTo>
                    <a:pt x="161" y="48"/>
                  </a:lnTo>
                  <a:lnTo>
                    <a:pt x="159" y="41"/>
                  </a:lnTo>
                  <a:lnTo>
                    <a:pt x="157" y="35"/>
                  </a:lnTo>
                  <a:lnTo>
                    <a:pt x="155" y="28"/>
                  </a:lnTo>
                  <a:lnTo>
                    <a:pt x="151" y="24"/>
                  </a:lnTo>
                  <a:lnTo>
                    <a:pt x="148" y="24"/>
                  </a:lnTo>
                  <a:lnTo>
                    <a:pt x="144" y="22"/>
                  </a:lnTo>
                  <a:lnTo>
                    <a:pt x="138" y="22"/>
                  </a:lnTo>
                  <a:lnTo>
                    <a:pt x="129" y="15"/>
                  </a:lnTo>
                  <a:lnTo>
                    <a:pt x="120" y="7"/>
                  </a:lnTo>
                  <a:lnTo>
                    <a:pt x="114" y="9"/>
                  </a:lnTo>
                  <a:lnTo>
                    <a:pt x="109" y="9"/>
                  </a:lnTo>
                  <a:lnTo>
                    <a:pt x="107" y="7"/>
                  </a:lnTo>
                  <a:lnTo>
                    <a:pt x="103" y="5"/>
                  </a:lnTo>
                  <a:lnTo>
                    <a:pt x="100" y="2"/>
                  </a:lnTo>
                  <a:lnTo>
                    <a:pt x="96" y="0"/>
                  </a:lnTo>
                  <a:lnTo>
                    <a:pt x="88" y="0"/>
                  </a:lnTo>
                  <a:lnTo>
                    <a:pt x="85" y="2"/>
                  </a:lnTo>
                  <a:lnTo>
                    <a:pt x="81" y="4"/>
                  </a:lnTo>
                  <a:lnTo>
                    <a:pt x="77" y="7"/>
                  </a:lnTo>
                  <a:lnTo>
                    <a:pt x="81" y="15"/>
                  </a:lnTo>
                  <a:lnTo>
                    <a:pt x="81" y="24"/>
                  </a:lnTo>
                  <a:lnTo>
                    <a:pt x="81" y="31"/>
                  </a:lnTo>
                  <a:lnTo>
                    <a:pt x="81" y="42"/>
                  </a:lnTo>
                  <a:lnTo>
                    <a:pt x="85" y="42"/>
                  </a:lnTo>
                  <a:lnTo>
                    <a:pt x="88" y="44"/>
                  </a:lnTo>
                  <a:lnTo>
                    <a:pt x="92" y="46"/>
                  </a:lnTo>
                  <a:lnTo>
                    <a:pt x="92" y="52"/>
                  </a:lnTo>
                  <a:lnTo>
                    <a:pt x="81" y="63"/>
                  </a:lnTo>
                  <a:lnTo>
                    <a:pt x="70" y="81"/>
                  </a:lnTo>
                  <a:lnTo>
                    <a:pt x="70" y="101"/>
                  </a:lnTo>
                  <a:lnTo>
                    <a:pt x="74" y="124"/>
                  </a:lnTo>
                  <a:lnTo>
                    <a:pt x="72" y="142"/>
                  </a:lnTo>
                  <a:lnTo>
                    <a:pt x="74" y="164"/>
                  </a:lnTo>
                  <a:lnTo>
                    <a:pt x="74" y="175"/>
                  </a:lnTo>
                  <a:lnTo>
                    <a:pt x="72" y="183"/>
                  </a:lnTo>
                  <a:lnTo>
                    <a:pt x="70" y="190"/>
                  </a:lnTo>
                  <a:lnTo>
                    <a:pt x="68" y="194"/>
                  </a:lnTo>
                  <a:lnTo>
                    <a:pt x="57" y="194"/>
                  </a:lnTo>
                  <a:lnTo>
                    <a:pt x="42" y="194"/>
                  </a:lnTo>
                  <a:lnTo>
                    <a:pt x="35" y="188"/>
                  </a:lnTo>
                  <a:lnTo>
                    <a:pt x="29" y="183"/>
                  </a:lnTo>
                  <a:lnTo>
                    <a:pt x="24" y="179"/>
                  </a:lnTo>
                  <a:lnTo>
                    <a:pt x="16" y="177"/>
                  </a:lnTo>
                  <a:lnTo>
                    <a:pt x="20" y="186"/>
                  </a:lnTo>
                  <a:lnTo>
                    <a:pt x="24" y="199"/>
                  </a:lnTo>
                  <a:lnTo>
                    <a:pt x="22" y="203"/>
                  </a:lnTo>
                  <a:lnTo>
                    <a:pt x="18" y="209"/>
                  </a:lnTo>
                  <a:lnTo>
                    <a:pt x="24" y="214"/>
                  </a:lnTo>
                  <a:lnTo>
                    <a:pt x="29" y="218"/>
                  </a:lnTo>
                  <a:lnTo>
                    <a:pt x="16" y="225"/>
                  </a:lnTo>
                  <a:lnTo>
                    <a:pt x="2" y="233"/>
                  </a:lnTo>
                  <a:lnTo>
                    <a:pt x="0" y="236"/>
                  </a:lnTo>
                  <a:lnTo>
                    <a:pt x="2" y="240"/>
                  </a:lnTo>
                  <a:lnTo>
                    <a:pt x="4" y="244"/>
                  </a:lnTo>
                  <a:lnTo>
                    <a:pt x="7" y="246"/>
                  </a:lnTo>
                  <a:lnTo>
                    <a:pt x="15" y="251"/>
                  </a:lnTo>
                  <a:lnTo>
                    <a:pt x="20" y="257"/>
                  </a:lnTo>
                  <a:lnTo>
                    <a:pt x="22" y="270"/>
                  </a:lnTo>
                  <a:lnTo>
                    <a:pt x="26" y="281"/>
                  </a:lnTo>
                  <a:lnTo>
                    <a:pt x="33" y="284"/>
                  </a:lnTo>
                  <a:lnTo>
                    <a:pt x="42" y="288"/>
                  </a:lnTo>
                  <a:lnTo>
                    <a:pt x="53" y="288"/>
                  </a:lnTo>
                  <a:lnTo>
                    <a:pt x="64" y="286"/>
                  </a:lnTo>
                  <a:lnTo>
                    <a:pt x="87" y="299"/>
                  </a:lnTo>
                  <a:lnTo>
                    <a:pt x="98" y="307"/>
                  </a:lnTo>
                  <a:lnTo>
                    <a:pt x="105" y="307"/>
                  </a:lnTo>
                  <a:lnTo>
                    <a:pt x="116" y="303"/>
                  </a:lnTo>
                  <a:lnTo>
                    <a:pt x="129" y="305"/>
                  </a:lnTo>
                  <a:lnTo>
                    <a:pt x="138" y="305"/>
                  </a:lnTo>
                  <a:lnTo>
                    <a:pt x="144" y="303"/>
                  </a:lnTo>
                  <a:lnTo>
                    <a:pt x="148" y="301"/>
                  </a:lnTo>
                  <a:lnTo>
                    <a:pt x="151" y="297"/>
                  </a:lnTo>
                  <a:lnTo>
                    <a:pt x="153" y="29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9" name="Freeform 57"/>
            <p:cNvSpPr>
              <a:spLocks/>
            </p:cNvSpPr>
            <p:nvPr/>
          </p:nvSpPr>
          <p:spPr bwMode="auto">
            <a:xfrm>
              <a:off x="3571809" y="2573940"/>
              <a:ext cx="63659" cy="45292"/>
            </a:xfrm>
            <a:custGeom>
              <a:avLst/>
              <a:gdLst>
                <a:gd name="T0" fmla="*/ 0 w 122"/>
                <a:gd name="T1" fmla="*/ 23 h 89"/>
                <a:gd name="T2" fmla="*/ 1 w 122"/>
                <a:gd name="T3" fmla="*/ 24 h 89"/>
                <a:gd name="T4" fmla="*/ 3 w 122"/>
                <a:gd name="T5" fmla="*/ 24 h 89"/>
                <a:gd name="T6" fmla="*/ 11 w 122"/>
                <a:gd name="T7" fmla="*/ 41 h 89"/>
                <a:gd name="T8" fmla="*/ 14 w 122"/>
                <a:gd name="T9" fmla="*/ 56 h 89"/>
                <a:gd name="T10" fmla="*/ 18 w 122"/>
                <a:gd name="T11" fmla="*/ 71 h 89"/>
                <a:gd name="T12" fmla="*/ 18 w 122"/>
                <a:gd name="T13" fmla="*/ 85 h 89"/>
                <a:gd name="T14" fmla="*/ 18 w 122"/>
                <a:gd name="T15" fmla="*/ 84 h 89"/>
                <a:gd name="T16" fmla="*/ 18 w 122"/>
                <a:gd name="T17" fmla="*/ 84 h 89"/>
                <a:gd name="T18" fmla="*/ 25 w 122"/>
                <a:gd name="T19" fmla="*/ 85 h 89"/>
                <a:gd name="T20" fmla="*/ 31 w 122"/>
                <a:gd name="T21" fmla="*/ 87 h 89"/>
                <a:gd name="T22" fmla="*/ 37 w 122"/>
                <a:gd name="T23" fmla="*/ 87 h 89"/>
                <a:gd name="T24" fmla="*/ 42 w 122"/>
                <a:gd name="T25" fmla="*/ 85 h 89"/>
                <a:gd name="T26" fmla="*/ 49 w 122"/>
                <a:gd name="T27" fmla="*/ 82 h 89"/>
                <a:gd name="T28" fmla="*/ 57 w 122"/>
                <a:gd name="T29" fmla="*/ 78 h 89"/>
                <a:gd name="T30" fmla="*/ 70 w 122"/>
                <a:gd name="T31" fmla="*/ 82 h 89"/>
                <a:gd name="T32" fmla="*/ 83 w 122"/>
                <a:gd name="T33" fmla="*/ 89 h 89"/>
                <a:gd name="T34" fmla="*/ 96 w 122"/>
                <a:gd name="T35" fmla="*/ 85 h 89"/>
                <a:gd name="T36" fmla="*/ 109 w 122"/>
                <a:gd name="T37" fmla="*/ 80 h 89"/>
                <a:gd name="T38" fmla="*/ 112 w 122"/>
                <a:gd name="T39" fmla="*/ 78 h 89"/>
                <a:gd name="T40" fmla="*/ 114 w 122"/>
                <a:gd name="T41" fmla="*/ 71 h 89"/>
                <a:gd name="T42" fmla="*/ 118 w 122"/>
                <a:gd name="T43" fmla="*/ 65 h 89"/>
                <a:gd name="T44" fmla="*/ 122 w 122"/>
                <a:gd name="T45" fmla="*/ 61 h 89"/>
                <a:gd name="T46" fmla="*/ 120 w 122"/>
                <a:gd name="T47" fmla="*/ 56 h 89"/>
                <a:gd name="T48" fmla="*/ 114 w 122"/>
                <a:gd name="T49" fmla="*/ 52 h 89"/>
                <a:gd name="T50" fmla="*/ 107 w 122"/>
                <a:gd name="T51" fmla="*/ 50 h 89"/>
                <a:gd name="T52" fmla="*/ 98 w 122"/>
                <a:gd name="T53" fmla="*/ 50 h 89"/>
                <a:gd name="T54" fmla="*/ 92 w 122"/>
                <a:gd name="T55" fmla="*/ 49 h 89"/>
                <a:gd name="T56" fmla="*/ 88 w 122"/>
                <a:gd name="T57" fmla="*/ 47 h 89"/>
                <a:gd name="T58" fmla="*/ 83 w 122"/>
                <a:gd name="T59" fmla="*/ 45 h 89"/>
                <a:gd name="T60" fmla="*/ 77 w 122"/>
                <a:gd name="T61" fmla="*/ 39 h 89"/>
                <a:gd name="T62" fmla="*/ 72 w 122"/>
                <a:gd name="T63" fmla="*/ 21 h 89"/>
                <a:gd name="T64" fmla="*/ 70 w 122"/>
                <a:gd name="T65" fmla="*/ 2 h 89"/>
                <a:gd name="T66" fmla="*/ 55 w 122"/>
                <a:gd name="T67" fmla="*/ 0 h 89"/>
                <a:gd name="T68" fmla="*/ 40 w 122"/>
                <a:gd name="T69" fmla="*/ 0 h 89"/>
                <a:gd name="T70" fmla="*/ 27 w 122"/>
                <a:gd name="T71" fmla="*/ 2 h 89"/>
                <a:gd name="T72" fmla="*/ 16 w 122"/>
                <a:gd name="T73" fmla="*/ 8 h 89"/>
                <a:gd name="T74" fmla="*/ 7 w 122"/>
                <a:gd name="T75" fmla="*/ 15 h 89"/>
                <a:gd name="T76" fmla="*/ 0 w 122"/>
                <a:gd name="T77" fmla="*/ 23 h 8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2"/>
                <a:gd name="T118" fmla="*/ 0 h 89"/>
                <a:gd name="T119" fmla="*/ 122 w 122"/>
                <a:gd name="T120" fmla="*/ 89 h 8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2" h="89">
                  <a:moveTo>
                    <a:pt x="0" y="23"/>
                  </a:moveTo>
                  <a:lnTo>
                    <a:pt x="1" y="24"/>
                  </a:lnTo>
                  <a:lnTo>
                    <a:pt x="3" y="24"/>
                  </a:lnTo>
                  <a:lnTo>
                    <a:pt x="11" y="41"/>
                  </a:lnTo>
                  <a:lnTo>
                    <a:pt x="14" y="56"/>
                  </a:lnTo>
                  <a:lnTo>
                    <a:pt x="18" y="71"/>
                  </a:lnTo>
                  <a:lnTo>
                    <a:pt x="18" y="85"/>
                  </a:lnTo>
                  <a:lnTo>
                    <a:pt x="18" y="84"/>
                  </a:lnTo>
                  <a:lnTo>
                    <a:pt x="25" y="85"/>
                  </a:lnTo>
                  <a:lnTo>
                    <a:pt x="31" y="87"/>
                  </a:lnTo>
                  <a:lnTo>
                    <a:pt x="37" y="87"/>
                  </a:lnTo>
                  <a:lnTo>
                    <a:pt x="42" y="85"/>
                  </a:lnTo>
                  <a:lnTo>
                    <a:pt x="49" y="82"/>
                  </a:lnTo>
                  <a:lnTo>
                    <a:pt x="57" y="78"/>
                  </a:lnTo>
                  <a:lnTo>
                    <a:pt x="70" y="82"/>
                  </a:lnTo>
                  <a:lnTo>
                    <a:pt x="83" y="89"/>
                  </a:lnTo>
                  <a:lnTo>
                    <a:pt x="96" y="85"/>
                  </a:lnTo>
                  <a:lnTo>
                    <a:pt x="109" y="80"/>
                  </a:lnTo>
                  <a:lnTo>
                    <a:pt x="112" y="78"/>
                  </a:lnTo>
                  <a:lnTo>
                    <a:pt x="114" y="71"/>
                  </a:lnTo>
                  <a:lnTo>
                    <a:pt x="118" y="65"/>
                  </a:lnTo>
                  <a:lnTo>
                    <a:pt x="122" y="61"/>
                  </a:lnTo>
                  <a:lnTo>
                    <a:pt x="120" y="56"/>
                  </a:lnTo>
                  <a:lnTo>
                    <a:pt x="114" y="52"/>
                  </a:lnTo>
                  <a:lnTo>
                    <a:pt x="107" y="50"/>
                  </a:lnTo>
                  <a:lnTo>
                    <a:pt x="98" y="50"/>
                  </a:lnTo>
                  <a:lnTo>
                    <a:pt x="92" y="49"/>
                  </a:lnTo>
                  <a:lnTo>
                    <a:pt x="88" y="47"/>
                  </a:lnTo>
                  <a:lnTo>
                    <a:pt x="83" y="45"/>
                  </a:lnTo>
                  <a:lnTo>
                    <a:pt x="77" y="39"/>
                  </a:lnTo>
                  <a:lnTo>
                    <a:pt x="72" y="21"/>
                  </a:lnTo>
                  <a:lnTo>
                    <a:pt x="70" y="2"/>
                  </a:lnTo>
                  <a:lnTo>
                    <a:pt x="55" y="0"/>
                  </a:lnTo>
                  <a:lnTo>
                    <a:pt x="40" y="0"/>
                  </a:lnTo>
                  <a:lnTo>
                    <a:pt x="27" y="2"/>
                  </a:lnTo>
                  <a:lnTo>
                    <a:pt x="16" y="8"/>
                  </a:lnTo>
                  <a:lnTo>
                    <a:pt x="7" y="1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0" name="Freeform 58"/>
            <p:cNvSpPr>
              <a:spLocks/>
            </p:cNvSpPr>
            <p:nvPr/>
          </p:nvSpPr>
          <p:spPr bwMode="auto">
            <a:xfrm>
              <a:off x="3545719" y="2519487"/>
              <a:ext cx="64180" cy="66157"/>
            </a:xfrm>
            <a:custGeom>
              <a:avLst/>
              <a:gdLst>
                <a:gd name="T0" fmla="*/ 0 w 123"/>
                <a:gd name="T1" fmla="*/ 35 h 130"/>
                <a:gd name="T2" fmla="*/ 7 w 123"/>
                <a:gd name="T3" fmla="*/ 54 h 130"/>
                <a:gd name="T4" fmla="*/ 11 w 123"/>
                <a:gd name="T5" fmla="*/ 69 h 130"/>
                <a:gd name="T6" fmla="*/ 16 w 123"/>
                <a:gd name="T7" fmla="*/ 83 h 130"/>
                <a:gd name="T8" fmla="*/ 20 w 123"/>
                <a:gd name="T9" fmla="*/ 95 h 130"/>
                <a:gd name="T10" fmla="*/ 35 w 123"/>
                <a:gd name="T11" fmla="*/ 111 h 130"/>
                <a:gd name="T12" fmla="*/ 50 w 123"/>
                <a:gd name="T13" fmla="*/ 130 h 130"/>
                <a:gd name="T14" fmla="*/ 57 w 123"/>
                <a:gd name="T15" fmla="*/ 122 h 130"/>
                <a:gd name="T16" fmla="*/ 66 w 123"/>
                <a:gd name="T17" fmla="*/ 115 h 130"/>
                <a:gd name="T18" fmla="*/ 77 w 123"/>
                <a:gd name="T19" fmla="*/ 109 h 130"/>
                <a:gd name="T20" fmla="*/ 90 w 123"/>
                <a:gd name="T21" fmla="*/ 107 h 130"/>
                <a:gd name="T22" fmla="*/ 96 w 123"/>
                <a:gd name="T23" fmla="*/ 107 h 130"/>
                <a:gd name="T24" fmla="*/ 103 w 123"/>
                <a:gd name="T25" fmla="*/ 107 h 130"/>
                <a:gd name="T26" fmla="*/ 103 w 123"/>
                <a:gd name="T27" fmla="*/ 95 h 130"/>
                <a:gd name="T28" fmla="*/ 105 w 123"/>
                <a:gd name="T29" fmla="*/ 85 h 130"/>
                <a:gd name="T30" fmla="*/ 107 w 123"/>
                <a:gd name="T31" fmla="*/ 82 h 130"/>
                <a:gd name="T32" fmla="*/ 111 w 123"/>
                <a:gd name="T33" fmla="*/ 78 h 130"/>
                <a:gd name="T34" fmla="*/ 116 w 123"/>
                <a:gd name="T35" fmla="*/ 76 h 130"/>
                <a:gd name="T36" fmla="*/ 123 w 123"/>
                <a:gd name="T37" fmla="*/ 72 h 130"/>
                <a:gd name="T38" fmla="*/ 109 w 123"/>
                <a:gd name="T39" fmla="*/ 50 h 130"/>
                <a:gd name="T40" fmla="*/ 92 w 123"/>
                <a:gd name="T41" fmla="*/ 22 h 130"/>
                <a:gd name="T42" fmla="*/ 87 w 123"/>
                <a:gd name="T43" fmla="*/ 28 h 130"/>
                <a:gd name="T44" fmla="*/ 81 w 123"/>
                <a:gd name="T45" fmla="*/ 35 h 130"/>
                <a:gd name="T46" fmla="*/ 74 w 123"/>
                <a:gd name="T47" fmla="*/ 39 h 130"/>
                <a:gd name="T48" fmla="*/ 64 w 123"/>
                <a:gd name="T49" fmla="*/ 43 h 130"/>
                <a:gd name="T50" fmla="*/ 59 w 123"/>
                <a:gd name="T51" fmla="*/ 39 h 130"/>
                <a:gd name="T52" fmla="*/ 55 w 123"/>
                <a:gd name="T53" fmla="*/ 35 h 130"/>
                <a:gd name="T54" fmla="*/ 55 w 123"/>
                <a:gd name="T55" fmla="*/ 30 h 130"/>
                <a:gd name="T56" fmla="*/ 55 w 123"/>
                <a:gd name="T57" fmla="*/ 22 h 130"/>
                <a:gd name="T58" fmla="*/ 55 w 123"/>
                <a:gd name="T59" fmla="*/ 17 h 130"/>
                <a:gd name="T60" fmla="*/ 55 w 123"/>
                <a:gd name="T61" fmla="*/ 11 h 130"/>
                <a:gd name="T62" fmla="*/ 53 w 123"/>
                <a:gd name="T63" fmla="*/ 6 h 130"/>
                <a:gd name="T64" fmla="*/ 50 w 123"/>
                <a:gd name="T65" fmla="*/ 0 h 130"/>
                <a:gd name="T66" fmla="*/ 44 w 123"/>
                <a:gd name="T67" fmla="*/ 0 h 130"/>
                <a:gd name="T68" fmla="*/ 40 w 123"/>
                <a:gd name="T69" fmla="*/ 0 h 130"/>
                <a:gd name="T70" fmla="*/ 39 w 123"/>
                <a:gd name="T71" fmla="*/ 4 h 130"/>
                <a:gd name="T72" fmla="*/ 35 w 123"/>
                <a:gd name="T73" fmla="*/ 6 h 130"/>
                <a:gd name="T74" fmla="*/ 24 w 123"/>
                <a:gd name="T75" fmla="*/ 10 h 130"/>
                <a:gd name="T76" fmla="*/ 15 w 123"/>
                <a:gd name="T77" fmla="*/ 13 h 130"/>
                <a:gd name="T78" fmla="*/ 11 w 123"/>
                <a:gd name="T79" fmla="*/ 15 h 130"/>
                <a:gd name="T80" fmla="*/ 7 w 123"/>
                <a:gd name="T81" fmla="*/ 21 h 130"/>
                <a:gd name="T82" fmla="*/ 3 w 123"/>
                <a:gd name="T83" fmla="*/ 28 h 130"/>
                <a:gd name="T84" fmla="*/ 0 w 123"/>
                <a:gd name="T85" fmla="*/ 35 h 13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3"/>
                <a:gd name="T130" fmla="*/ 0 h 130"/>
                <a:gd name="T131" fmla="*/ 123 w 123"/>
                <a:gd name="T132" fmla="*/ 130 h 13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3" h="130">
                  <a:moveTo>
                    <a:pt x="0" y="35"/>
                  </a:moveTo>
                  <a:lnTo>
                    <a:pt x="7" y="54"/>
                  </a:lnTo>
                  <a:lnTo>
                    <a:pt x="11" y="69"/>
                  </a:lnTo>
                  <a:lnTo>
                    <a:pt x="16" y="83"/>
                  </a:lnTo>
                  <a:lnTo>
                    <a:pt x="20" y="95"/>
                  </a:lnTo>
                  <a:lnTo>
                    <a:pt x="35" y="111"/>
                  </a:lnTo>
                  <a:lnTo>
                    <a:pt x="50" y="130"/>
                  </a:lnTo>
                  <a:lnTo>
                    <a:pt x="57" y="122"/>
                  </a:lnTo>
                  <a:lnTo>
                    <a:pt x="66" y="115"/>
                  </a:lnTo>
                  <a:lnTo>
                    <a:pt x="77" y="109"/>
                  </a:lnTo>
                  <a:lnTo>
                    <a:pt x="90" y="107"/>
                  </a:lnTo>
                  <a:lnTo>
                    <a:pt x="96" y="107"/>
                  </a:lnTo>
                  <a:lnTo>
                    <a:pt x="103" y="107"/>
                  </a:lnTo>
                  <a:lnTo>
                    <a:pt x="103" y="95"/>
                  </a:lnTo>
                  <a:lnTo>
                    <a:pt x="105" y="85"/>
                  </a:lnTo>
                  <a:lnTo>
                    <a:pt x="107" y="82"/>
                  </a:lnTo>
                  <a:lnTo>
                    <a:pt x="111" y="78"/>
                  </a:lnTo>
                  <a:lnTo>
                    <a:pt x="116" y="76"/>
                  </a:lnTo>
                  <a:lnTo>
                    <a:pt x="123" y="72"/>
                  </a:lnTo>
                  <a:lnTo>
                    <a:pt x="109" y="50"/>
                  </a:lnTo>
                  <a:lnTo>
                    <a:pt x="92" y="22"/>
                  </a:lnTo>
                  <a:lnTo>
                    <a:pt x="87" y="28"/>
                  </a:lnTo>
                  <a:lnTo>
                    <a:pt x="81" y="35"/>
                  </a:lnTo>
                  <a:lnTo>
                    <a:pt x="74" y="39"/>
                  </a:lnTo>
                  <a:lnTo>
                    <a:pt x="64" y="43"/>
                  </a:lnTo>
                  <a:lnTo>
                    <a:pt x="59" y="39"/>
                  </a:lnTo>
                  <a:lnTo>
                    <a:pt x="55" y="35"/>
                  </a:lnTo>
                  <a:lnTo>
                    <a:pt x="55" y="30"/>
                  </a:lnTo>
                  <a:lnTo>
                    <a:pt x="55" y="22"/>
                  </a:lnTo>
                  <a:lnTo>
                    <a:pt x="55" y="17"/>
                  </a:lnTo>
                  <a:lnTo>
                    <a:pt x="55" y="11"/>
                  </a:lnTo>
                  <a:lnTo>
                    <a:pt x="53" y="6"/>
                  </a:lnTo>
                  <a:lnTo>
                    <a:pt x="50" y="0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39" y="4"/>
                  </a:lnTo>
                  <a:lnTo>
                    <a:pt x="35" y="6"/>
                  </a:lnTo>
                  <a:lnTo>
                    <a:pt x="24" y="10"/>
                  </a:lnTo>
                  <a:lnTo>
                    <a:pt x="15" y="13"/>
                  </a:lnTo>
                  <a:lnTo>
                    <a:pt x="11" y="15"/>
                  </a:lnTo>
                  <a:lnTo>
                    <a:pt x="7" y="21"/>
                  </a:lnTo>
                  <a:lnTo>
                    <a:pt x="3" y="2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1" name="Freeform 59"/>
            <p:cNvSpPr>
              <a:spLocks/>
            </p:cNvSpPr>
            <p:nvPr/>
          </p:nvSpPr>
          <p:spPr bwMode="auto">
            <a:xfrm>
              <a:off x="3523282" y="2381575"/>
              <a:ext cx="119490" cy="159795"/>
            </a:xfrm>
            <a:custGeom>
              <a:avLst/>
              <a:gdLst>
                <a:gd name="T0" fmla="*/ 183 w 229"/>
                <a:gd name="T1" fmla="*/ 29 h 314"/>
                <a:gd name="T2" fmla="*/ 174 w 229"/>
                <a:gd name="T3" fmla="*/ 27 h 314"/>
                <a:gd name="T4" fmla="*/ 155 w 229"/>
                <a:gd name="T5" fmla="*/ 14 h 314"/>
                <a:gd name="T6" fmla="*/ 139 w 229"/>
                <a:gd name="T7" fmla="*/ 5 h 314"/>
                <a:gd name="T8" fmla="*/ 130 w 229"/>
                <a:gd name="T9" fmla="*/ 22 h 314"/>
                <a:gd name="T10" fmla="*/ 131 w 229"/>
                <a:gd name="T11" fmla="*/ 29 h 314"/>
                <a:gd name="T12" fmla="*/ 131 w 229"/>
                <a:gd name="T13" fmla="*/ 48 h 314"/>
                <a:gd name="T14" fmla="*/ 124 w 229"/>
                <a:gd name="T15" fmla="*/ 57 h 314"/>
                <a:gd name="T16" fmla="*/ 111 w 229"/>
                <a:gd name="T17" fmla="*/ 50 h 314"/>
                <a:gd name="T18" fmla="*/ 106 w 229"/>
                <a:gd name="T19" fmla="*/ 46 h 314"/>
                <a:gd name="T20" fmla="*/ 94 w 229"/>
                <a:gd name="T21" fmla="*/ 44 h 314"/>
                <a:gd name="T22" fmla="*/ 80 w 229"/>
                <a:gd name="T23" fmla="*/ 48 h 314"/>
                <a:gd name="T24" fmla="*/ 67 w 229"/>
                <a:gd name="T25" fmla="*/ 57 h 314"/>
                <a:gd name="T26" fmla="*/ 48 w 229"/>
                <a:gd name="T27" fmla="*/ 57 h 314"/>
                <a:gd name="T28" fmla="*/ 35 w 229"/>
                <a:gd name="T29" fmla="*/ 48 h 314"/>
                <a:gd name="T30" fmla="*/ 22 w 229"/>
                <a:gd name="T31" fmla="*/ 42 h 314"/>
                <a:gd name="T32" fmla="*/ 24 w 229"/>
                <a:gd name="T33" fmla="*/ 29 h 314"/>
                <a:gd name="T34" fmla="*/ 24 w 229"/>
                <a:gd name="T35" fmla="*/ 18 h 314"/>
                <a:gd name="T36" fmla="*/ 15 w 229"/>
                <a:gd name="T37" fmla="*/ 14 h 314"/>
                <a:gd name="T38" fmla="*/ 4 w 229"/>
                <a:gd name="T39" fmla="*/ 18 h 314"/>
                <a:gd name="T40" fmla="*/ 0 w 229"/>
                <a:gd name="T41" fmla="*/ 33 h 314"/>
                <a:gd name="T42" fmla="*/ 0 w 229"/>
                <a:gd name="T43" fmla="*/ 74 h 314"/>
                <a:gd name="T44" fmla="*/ 2 w 229"/>
                <a:gd name="T45" fmla="*/ 127 h 314"/>
                <a:gd name="T46" fmla="*/ 8 w 229"/>
                <a:gd name="T47" fmla="*/ 186 h 314"/>
                <a:gd name="T48" fmla="*/ 8 w 229"/>
                <a:gd name="T49" fmla="*/ 229 h 314"/>
                <a:gd name="T50" fmla="*/ 4 w 229"/>
                <a:gd name="T51" fmla="*/ 255 h 314"/>
                <a:gd name="T52" fmla="*/ 11 w 229"/>
                <a:gd name="T53" fmla="*/ 268 h 314"/>
                <a:gd name="T54" fmla="*/ 22 w 229"/>
                <a:gd name="T55" fmla="*/ 271 h 314"/>
                <a:gd name="T56" fmla="*/ 35 w 229"/>
                <a:gd name="T57" fmla="*/ 290 h 314"/>
                <a:gd name="T58" fmla="*/ 46 w 229"/>
                <a:gd name="T59" fmla="*/ 299 h 314"/>
                <a:gd name="T60" fmla="*/ 54 w 229"/>
                <a:gd name="T61" fmla="*/ 286 h 314"/>
                <a:gd name="T62" fmla="*/ 67 w 229"/>
                <a:gd name="T63" fmla="*/ 281 h 314"/>
                <a:gd name="T64" fmla="*/ 82 w 229"/>
                <a:gd name="T65" fmla="*/ 275 h 314"/>
                <a:gd name="T66" fmla="*/ 87 w 229"/>
                <a:gd name="T67" fmla="*/ 271 h 314"/>
                <a:gd name="T68" fmla="*/ 96 w 229"/>
                <a:gd name="T69" fmla="*/ 277 h 314"/>
                <a:gd name="T70" fmla="*/ 98 w 229"/>
                <a:gd name="T71" fmla="*/ 288 h 314"/>
                <a:gd name="T72" fmla="*/ 98 w 229"/>
                <a:gd name="T73" fmla="*/ 301 h 314"/>
                <a:gd name="T74" fmla="*/ 102 w 229"/>
                <a:gd name="T75" fmla="*/ 310 h 314"/>
                <a:gd name="T76" fmla="*/ 117 w 229"/>
                <a:gd name="T77" fmla="*/ 310 h 314"/>
                <a:gd name="T78" fmla="*/ 130 w 229"/>
                <a:gd name="T79" fmla="*/ 299 h 314"/>
                <a:gd name="T80" fmla="*/ 141 w 229"/>
                <a:gd name="T81" fmla="*/ 281 h 314"/>
                <a:gd name="T82" fmla="*/ 154 w 229"/>
                <a:gd name="T83" fmla="*/ 269 h 314"/>
                <a:gd name="T84" fmla="*/ 165 w 229"/>
                <a:gd name="T85" fmla="*/ 262 h 314"/>
                <a:gd name="T86" fmla="*/ 174 w 229"/>
                <a:gd name="T87" fmla="*/ 242 h 314"/>
                <a:gd name="T88" fmla="*/ 179 w 229"/>
                <a:gd name="T89" fmla="*/ 218 h 314"/>
                <a:gd name="T90" fmla="*/ 178 w 229"/>
                <a:gd name="T91" fmla="*/ 201 h 314"/>
                <a:gd name="T92" fmla="*/ 181 w 229"/>
                <a:gd name="T93" fmla="*/ 192 h 314"/>
                <a:gd name="T94" fmla="*/ 198 w 229"/>
                <a:gd name="T95" fmla="*/ 196 h 314"/>
                <a:gd name="T96" fmla="*/ 211 w 229"/>
                <a:gd name="T97" fmla="*/ 201 h 314"/>
                <a:gd name="T98" fmla="*/ 211 w 229"/>
                <a:gd name="T99" fmla="*/ 196 h 314"/>
                <a:gd name="T100" fmla="*/ 215 w 229"/>
                <a:gd name="T101" fmla="*/ 192 h 314"/>
                <a:gd name="T102" fmla="*/ 222 w 229"/>
                <a:gd name="T103" fmla="*/ 186 h 314"/>
                <a:gd name="T104" fmla="*/ 229 w 229"/>
                <a:gd name="T105" fmla="*/ 172 h 314"/>
                <a:gd name="T106" fmla="*/ 218 w 229"/>
                <a:gd name="T107" fmla="*/ 157 h 314"/>
                <a:gd name="T108" fmla="*/ 209 w 229"/>
                <a:gd name="T109" fmla="*/ 131 h 314"/>
                <a:gd name="T110" fmla="*/ 224 w 229"/>
                <a:gd name="T111" fmla="*/ 112 h 314"/>
                <a:gd name="T112" fmla="*/ 227 w 229"/>
                <a:gd name="T113" fmla="*/ 98 h 314"/>
                <a:gd name="T114" fmla="*/ 222 w 229"/>
                <a:gd name="T115" fmla="*/ 87 h 314"/>
                <a:gd name="T116" fmla="*/ 200 w 229"/>
                <a:gd name="T117" fmla="*/ 74 h 314"/>
                <a:gd name="T118" fmla="*/ 189 w 229"/>
                <a:gd name="T119" fmla="*/ 61 h 314"/>
                <a:gd name="T120" fmla="*/ 192 w 229"/>
                <a:gd name="T121" fmla="*/ 46 h 31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9"/>
                <a:gd name="T184" fmla="*/ 0 h 314"/>
                <a:gd name="T185" fmla="*/ 229 w 229"/>
                <a:gd name="T186" fmla="*/ 314 h 31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9" h="314">
                  <a:moveTo>
                    <a:pt x="187" y="33"/>
                  </a:moveTo>
                  <a:lnTo>
                    <a:pt x="183" y="29"/>
                  </a:lnTo>
                  <a:lnTo>
                    <a:pt x="178" y="24"/>
                  </a:lnTo>
                  <a:lnTo>
                    <a:pt x="174" y="27"/>
                  </a:lnTo>
                  <a:lnTo>
                    <a:pt x="166" y="29"/>
                  </a:lnTo>
                  <a:lnTo>
                    <a:pt x="155" y="14"/>
                  </a:lnTo>
                  <a:lnTo>
                    <a:pt x="142" y="0"/>
                  </a:lnTo>
                  <a:lnTo>
                    <a:pt x="139" y="5"/>
                  </a:lnTo>
                  <a:lnTo>
                    <a:pt x="133" y="16"/>
                  </a:lnTo>
                  <a:lnTo>
                    <a:pt x="130" y="22"/>
                  </a:lnTo>
                  <a:lnTo>
                    <a:pt x="130" y="26"/>
                  </a:lnTo>
                  <a:lnTo>
                    <a:pt x="131" y="29"/>
                  </a:lnTo>
                  <a:lnTo>
                    <a:pt x="135" y="31"/>
                  </a:lnTo>
                  <a:lnTo>
                    <a:pt x="131" y="48"/>
                  </a:lnTo>
                  <a:lnTo>
                    <a:pt x="130" y="66"/>
                  </a:lnTo>
                  <a:lnTo>
                    <a:pt x="124" y="57"/>
                  </a:lnTo>
                  <a:lnTo>
                    <a:pt x="118" y="48"/>
                  </a:lnTo>
                  <a:lnTo>
                    <a:pt x="111" y="50"/>
                  </a:lnTo>
                  <a:lnTo>
                    <a:pt x="109" y="53"/>
                  </a:lnTo>
                  <a:lnTo>
                    <a:pt x="106" y="46"/>
                  </a:lnTo>
                  <a:lnTo>
                    <a:pt x="102" y="40"/>
                  </a:lnTo>
                  <a:lnTo>
                    <a:pt x="94" y="44"/>
                  </a:lnTo>
                  <a:lnTo>
                    <a:pt x="87" y="50"/>
                  </a:lnTo>
                  <a:lnTo>
                    <a:pt x="80" y="48"/>
                  </a:lnTo>
                  <a:lnTo>
                    <a:pt x="74" y="48"/>
                  </a:lnTo>
                  <a:lnTo>
                    <a:pt x="67" y="57"/>
                  </a:lnTo>
                  <a:lnTo>
                    <a:pt x="54" y="66"/>
                  </a:lnTo>
                  <a:lnTo>
                    <a:pt x="48" y="57"/>
                  </a:lnTo>
                  <a:lnTo>
                    <a:pt x="43" y="51"/>
                  </a:lnTo>
                  <a:lnTo>
                    <a:pt x="35" y="48"/>
                  </a:lnTo>
                  <a:lnTo>
                    <a:pt x="28" y="46"/>
                  </a:lnTo>
                  <a:lnTo>
                    <a:pt x="22" y="42"/>
                  </a:lnTo>
                  <a:lnTo>
                    <a:pt x="21" y="38"/>
                  </a:lnTo>
                  <a:lnTo>
                    <a:pt x="24" y="29"/>
                  </a:lnTo>
                  <a:lnTo>
                    <a:pt x="24" y="24"/>
                  </a:lnTo>
                  <a:lnTo>
                    <a:pt x="24" y="18"/>
                  </a:lnTo>
                  <a:lnTo>
                    <a:pt x="22" y="16"/>
                  </a:lnTo>
                  <a:lnTo>
                    <a:pt x="15" y="14"/>
                  </a:lnTo>
                  <a:lnTo>
                    <a:pt x="8" y="14"/>
                  </a:lnTo>
                  <a:lnTo>
                    <a:pt x="4" y="18"/>
                  </a:lnTo>
                  <a:lnTo>
                    <a:pt x="2" y="22"/>
                  </a:lnTo>
                  <a:lnTo>
                    <a:pt x="0" y="33"/>
                  </a:lnTo>
                  <a:lnTo>
                    <a:pt x="2" y="48"/>
                  </a:lnTo>
                  <a:lnTo>
                    <a:pt x="0" y="74"/>
                  </a:lnTo>
                  <a:lnTo>
                    <a:pt x="0" y="98"/>
                  </a:lnTo>
                  <a:lnTo>
                    <a:pt x="2" y="127"/>
                  </a:lnTo>
                  <a:lnTo>
                    <a:pt x="4" y="157"/>
                  </a:lnTo>
                  <a:lnTo>
                    <a:pt x="8" y="186"/>
                  </a:lnTo>
                  <a:lnTo>
                    <a:pt x="11" y="216"/>
                  </a:lnTo>
                  <a:lnTo>
                    <a:pt x="8" y="229"/>
                  </a:lnTo>
                  <a:lnTo>
                    <a:pt x="6" y="244"/>
                  </a:lnTo>
                  <a:lnTo>
                    <a:pt x="4" y="255"/>
                  </a:lnTo>
                  <a:lnTo>
                    <a:pt x="4" y="268"/>
                  </a:lnTo>
                  <a:lnTo>
                    <a:pt x="11" y="268"/>
                  </a:lnTo>
                  <a:lnTo>
                    <a:pt x="17" y="268"/>
                  </a:lnTo>
                  <a:lnTo>
                    <a:pt x="22" y="271"/>
                  </a:lnTo>
                  <a:lnTo>
                    <a:pt x="28" y="277"/>
                  </a:lnTo>
                  <a:lnTo>
                    <a:pt x="35" y="290"/>
                  </a:lnTo>
                  <a:lnTo>
                    <a:pt x="43" y="306"/>
                  </a:lnTo>
                  <a:lnTo>
                    <a:pt x="46" y="299"/>
                  </a:lnTo>
                  <a:lnTo>
                    <a:pt x="50" y="292"/>
                  </a:lnTo>
                  <a:lnTo>
                    <a:pt x="54" y="286"/>
                  </a:lnTo>
                  <a:lnTo>
                    <a:pt x="58" y="284"/>
                  </a:lnTo>
                  <a:lnTo>
                    <a:pt x="67" y="281"/>
                  </a:lnTo>
                  <a:lnTo>
                    <a:pt x="78" y="277"/>
                  </a:lnTo>
                  <a:lnTo>
                    <a:pt x="82" y="275"/>
                  </a:lnTo>
                  <a:lnTo>
                    <a:pt x="83" y="271"/>
                  </a:lnTo>
                  <a:lnTo>
                    <a:pt x="87" y="271"/>
                  </a:lnTo>
                  <a:lnTo>
                    <a:pt x="93" y="271"/>
                  </a:lnTo>
                  <a:lnTo>
                    <a:pt x="96" y="277"/>
                  </a:lnTo>
                  <a:lnTo>
                    <a:pt x="98" y="282"/>
                  </a:lnTo>
                  <a:lnTo>
                    <a:pt x="98" y="288"/>
                  </a:lnTo>
                  <a:lnTo>
                    <a:pt x="98" y="293"/>
                  </a:lnTo>
                  <a:lnTo>
                    <a:pt x="98" y="301"/>
                  </a:lnTo>
                  <a:lnTo>
                    <a:pt x="98" y="306"/>
                  </a:lnTo>
                  <a:lnTo>
                    <a:pt x="102" y="310"/>
                  </a:lnTo>
                  <a:lnTo>
                    <a:pt x="107" y="314"/>
                  </a:lnTo>
                  <a:lnTo>
                    <a:pt x="117" y="310"/>
                  </a:lnTo>
                  <a:lnTo>
                    <a:pt x="124" y="306"/>
                  </a:lnTo>
                  <a:lnTo>
                    <a:pt x="130" y="299"/>
                  </a:lnTo>
                  <a:lnTo>
                    <a:pt x="135" y="293"/>
                  </a:lnTo>
                  <a:lnTo>
                    <a:pt x="141" y="281"/>
                  </a:lnTo>
                  <a:lnTo>
                    <a:pt x="148" y="269"/>
                  </a:lnTo>
                  <a:lnTo>
                    <a:pt x="154" y="269"/>
                  </a:lnTo>
                  <a:lnTo>
                    <a:pt x="161" y="269"/>
                  </a:lnTo>
                  <a:lnTo>
                    <a:pt x="165" y="262"/>
                  </a:lnTo>
                  <a:lnTo>
                    <a:pt x="166" y="253"/>
                  </a:lnTo>
                  <a:lnTo>
                    <a:pt x="174" y="242"/>
                  </a:lnTo>
                  <a:lnTo>
                    <a:pt x="181" y="231"/>
                  </a:lnTo>
                  <a:lnTo>
                    <a:pt x="179" y="218"/>
                  </a:lnTo>
                  <a:lnTo>
                    <a:pt x="178" y="207"/>
                  </a:lnTo>
                  <a:lnTo>
                    <a:pt x="178" y="201"/>
                  </a:lnTo>
                  <a:lnTo>
                    <a:pt x="179" y="197"/>
                  </a:lnTo>
                  <a:lnTo>
                    <a:pt x="181" y="192"/>
                  </a:lnTo>
                  <a:lnTo>
                    <a:pt x="187" y="188"/>
                  </a:lnTo>
                  <a:lnTo>
                    <a:pt x="198" y="196"/>
                  </a:lnTo>
                  <a:lnTo>
                    <a:pt x="209" y="203"/>
                  </a:lnTo>
                  <a:lnTo>
                    <a:pt x="211" y="201"/>
                  </a:lnTo>
                  <a:lnTo>
                    <a:pt x="211" y="197"/>
                  </a:lnTo>
                  <a:lnTo>
                    <a:pt x="211" y="196"/>
                  </a:lnTo>
                  <a:lnTo>
                    <a:pt x="213" y="194"/>
                  </a:lnTo>
                  <a:lnTo>
                    <a:pt x="215" y="192"/>
                  </a:lnTo>
                  <a:lnTo>
                    <a:pt x="218" y="192"/>
                  </a:lnTo>
                  <a:lnTo>
                    <a:pt x="222" y="186"/>
                  </a:lnTo>
                  <a:lnTo>
                    <a:pt x="226" y="179"/>
                  </a:lnTo>
                  <a:lnTo>
                    <a:pt x="229" y="172"/>
                  </a:lnTo>
                  <a:lnTo>
                    <a:pt x="229" y="166"/>
                  </a:lnTo>
                  <a:lnTo>
                    <a:pt x="218" y="157"/>
                  </a:lnTo>
                  <a:lnTo>
                    <a:pt x="207" y="144"/>
                  </a:lnTo>
                  <a:lnTo>
                    <a:pt x="209" y="131"/>
                  </a:lnTo>
                  <a:lnTo>
                    <a:pt x="215" y="120"/>
                  </a:lnTo>
                  <a:lnTo>
                    <a:pt x="224" y="112"/>
                  </a:lnTo>
                  <a:lnTo>
                    <a:pt x="227" y="103"/>
                  </a:lnTo>
                  <a:lnTo>
                    <a:pt x="227" y="98"/>
                  </a:lnTo>
                  <a:lnTo>
                    <a:pt x="226" y="92"/>
                  </a:lnTo>
                  <a:lnTo>
                    <a:pt x="222" y="87"/>
                  </a:lnTo>
                  <a:lnTo>
                    <a:pt x="218" y="83"/>
                  </a:lnTo>
                  <a:lnTo>
                    <a:pt x="200" y="74"/>
                  </a:lnTo>
                  <a:lnTo>
                    <a:pt x="181" y="68"/>
                  </a:lnTo>
                  <a:lnTo>
                    <a:pt x="189" y="61"/>
                  </a:lnTo>
                  <a:lnTo>
                    <a:pt x="194" y="55"/>
                  </a:lnTo>
                  <a:lnTo>
                    <a:pt x="192" y="46"/>
                  </a:lnTo>
                  <a:lnTo>
                    <a:pt x="187" y="33"/>
                  </a:lnTo>
                  <a:close/>
                </a:path>
              </a:pathLst>
            </a:custGeom>
            <a:solidFill>
              <a:srgbClr val="C00000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2" name="Freeform 60"/>
            <p:cNvSpPr>
              <a:spLocks/>
            </p:cNvSpPr>
            <p:nvPr/>
          </p:nvSpPr>
          <p:spPr bwMode="auto">
            <a:xfrm>
              <a:off x="3721041" y="2346461"/>
              <a:ext cx="183149" cy="174045"/>
            </a:xfrm>
            <a:custGeom>
              <a:avLst/>
              <a:gdLst>
                <a:gd name="T0" fmla="*/ 262 w 351"/>
                <a:gd name="T1" fmla="*/ 318 h 342"/>
                <a:gd name="T2" fmla="*/ 264 w 351"/>
                <a:gd name="T3" fmla="*/ 290 h 342"/>
                <a:gd name="T4" fmla="*/ 283 w 351"/>
                <a:gd name="T5" fmla="*/ 283 h 342"/>
                <a:gd name="T6" fmla="*/ 325 w 351"/>
                <a:gd name="T7" fmla="*/ 279 h 342"/>
                <a:gd name="T8" fmla="*/ 351 w 351"/>
                <a:gd name="T9" fmla="*/ 274 h 342"/>
                <a:gd name="T10" fmla="*/ 332 w 351"/>
                <a:gd name="T11" fmla="*/ 226 h 342"/>
                <a:gd name="T12" fmla="*/ 312 w 351"/>
                <a:gd name="T13" fmla="*/ 220 h 342"/>
                <a:gd name="T14" fmla="*/ 305 w 351"/>
                <a:gd name="T15" fmla="*/ 205 h 342"/>
                <a:gd name="T16" fmla="*/ 294 w 351"/>
                <a:gd name="T17" fmla="*/ 196 h 342"/>
                <a:gd name="T18" fmla="*/ 283 w 351"/>
                <a:gd name="T19" fmla="*/ 183 h 342"/>
                <a:gd name="T20" fmla="*/ 284 w 351"/>
                <a:gd name="T21" fmla="*/ 170 h 342"/>
                <a:gd name="T22" fmla="*/ 312 w 351"/>
                <a:gd name="T23" fmla="*/ 130 h 342"/>
                <a:gd name="T24" fmla="*/ 301 w 351"/>
                <a:gd name="T25" fmla="*/ 107 h 342"/>
                <a:gd name="T26" fmla="*/ 288 w 351"/>
                <a:gd name="T27" fmla="*/ 95 h 342"/>
                <a:gd name="T28" fmla="*/ 273 w 351"/>
                <a:gd name="T29" fmla="*/ 95 h 342"/>
                <a:gd name="T30" fmla="*/ 257 w 351"/>
                <a:gd name="T31" fmla="*/ 80 h 342"/>
                <a:gd name="T32" fmla="*/ 247 w 351"/>
                <a:gd name="T33" fmla="*/ 65 h 342"/>
                <a:gd name="T34" fmla="*/ 240 w 351"/>
                <a:gd name="T35" fmla="*/ 48 h 342"/>
                <a:gd name="T36" fmla="*/ 212 w 351"/>
                <a:gd name="T37" fmla="*/ 35 h 342"/>
                <a:gd name="T38" fmla="*/ 187 w 351"/>
                <a:gd name="T39" fmla="*/ 13 h 342"/>
                <a:gd name="T40" fmla="*/ 170 w 351"/>
                <a:gd name="T41" fmla="*/ 2 h 342"/>
                <a:gd name="T42" fmla="*/ 151 w 351"/>
                <a:gd name="T43" fmla="*/ 13 h 342"/>
                <a:gd name="T44" fmla="*/ 114 w 351"/>
                <a:gd name="T45" fmla="*/ 35 h 342"/>
                <a:gd name="T46" fmla="*/ 122 w 351"/>
                <a:gd name="T47" fmla="*/ 61 h 342"/>
                <a:gd name="T48" fmla="*/ 118 w 351"/>
                <a:gd name="T49" fmla="*/ 85 h 342"/>
                <a:gd name="T50" fmla="*/ 103 w 351"/>
                <a:gd name="T51" fmla="*/ 106 h 342"/>
                <a:gd name="T52" fmla="*/ 79 w 351"/>
                <a:gd name="T53" fmla="*/ 152 h 342"/>
                <a:gd name="T54" fmla="*/ 65 w 351"/>
                <a:gd name="T55" fmla="*/ 172 h 342"/>
                <a:gd name="T56" fmla="*/ 42 w 351"/>
                <a:gd name="T57" fmla="*/ 170 h 342"/>
                <a:gd name="T58" fmla="*/ 20 w 351"/>
                <a:gd name="T59" fmla="*/ 172 h 342"/>
                <a:gd name="T60" fmla="*/ 17 w 351"/>
                <a:gd name="T61" fmla="*/ 185 h 342"/>
                <a:gd name="T62" fmla="*/ 9 w 351"/>
                <a:gd name="T63" fmla="*/ 204 h 342"/>
                <a:gd name="T64" fmla="*/ 0 w 351"/>
                <a:gd name="T65" fmla="*/ 250 h 342"/>
                <a:gd name="T66" fmla="*/ 18 w 351"/>
                <a:gd name="T67" fmla="*/ 276 h 342"/>
                <a:gd name="T68" fmla="*/ 26 w 351"/>
                <a:gd name="T69" fmla="*/ 292 h 342"/>
                <a:gd name="T70" fmla="*/ 41 w 351"/>
                <a:gd name="T71" fmla="*/ 277 h 342"/>
                <a:gd name="T72" fmla="*/ 79 w 351"/>
                <a:gd name="T73" fmla="*/ 290 h 342"/>
                <a:gd name="T74" fmla="*/ 87 w 351"/>
                <a:gd name="T75" fmla="*/ 289 h 342"/>
                <a:gd name="T76" fmla="*/ 92 w 351"/>
                <a:gd name="T77" fmla="*/ 277 h 342"/>
                <a:gd name="T78" fmla="*/ 114 w 351"/>
                <a:gd name="T79" fmla="*/ 300 h 342"/>
                <a:gd name="T80" fmla="*/ 127 w 351"/>
                <a:gd name="T81" fmla="*/ 292 h 342"/>
                <a:gd name="T82" fmla="*/ 127 w 351"/>
                <a:gd name="T83" fmla="*/ 292 h 342"/>
                <a:gd name="T84" fmla="*/ 138 w 351"/>
                <a:gd name="T85" fmla="*/ 285 h 342"/>
                <a:gd name="T86" fmla="*/ 153 w 351"/>
                <a:gd name="T87" fmla="*/ 290 h 342"/>
                <a:gd name="T88" fmla="*/ 164 w 351"/>
                <a:gd name="T89" fmla="*/ 294 h 342"/>
                <a:gd name="T90" fmla="*/ 188 w 351"/>
                <a:gd name="T91" fmla="*/ 307 h 342"/>
                <a:gd name="T92" fmla="*/ 201 w 351"/>
                <a:gd name="T93" fmla="*/ 309 h 342"/>
                <a:gd name="T94" fmla="*/ 209 w 351"/>
                <a:gd name="T95" fmla="*/ 326 h 342"/>
                <a:gd name="T96" fmla="*/ 225 w 351"/>
                <a:gd name="T97" fmla="*/ 340 h 34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51"/>
                <a:gd name="T148" fmla="*/ 0 h 342"/>
                <a:gd name="T149" fmla="*/ 351 w 351"/>
                <a:gd name="T150" fmla="*/ 342 h 34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51" h="342">
                  <a:moveTo>
                    <a:pt x="249" y="333"/>
                  </a:moveTo>
                  <a:lnTo>
                    <a:pt x="257" y="326"/>
                  </a:lnTo>
                  <a:lnTo>
                    <a:pt x="262" y="318"/>
                  </a:lnTo>
                  <a:lnTo>
                    <a:pt x="264" y="309"/>
                  </a:lnTo>
                  <a:lnTo>
                    <a:pt x="264" y="298"/>
                  </a:lnTo>
                  <a:lnTo>
                    <a:pt x="264" y="290"/>
                  </a:lnTo>
                  <a:lnTo>
                    <a:pt x="268" y="287"/>
                  </a:lnTo>
                  <a:lnTo>
                    <a:pt x="273" y="285"/>
                  </a:lnTo>
                  <a:lnTo>
                    <a:pt x="283" y="283"/>
                  </a:lnTo>
                  <a:lnTo>
                    <a:pt x="301" y="283"/>
                  </a:lnTo>
                  <a:lnTo>
                    <a:pt x="320" y="285"/>
                  </a:lnTo>
                  <a:lnTo>
                    <a:pt x="325" y="279"/>
                  </a:lnTo>
                  <a:lnTo>
                    <a:pt x="332" y="276"/>
                  </a:lnTo>
                  <a:lnTo>
                    <a:pt x="340" y="274"/>
                  </a:lnTo>
                  <a:lnTo>
                    <a:pt x="351" y="274"/>
                  </a:lnTo>
                  <a:lnTo>
                    <a:pt x="342" y="257"/>
                  </a:lnTo>
                  <a:lnTo>
                    <a:pt x="334" y="241"/>
                  </a:lnTo>
                  <a:lnTo>
                    <a:pt x="332" y="226"/>
                  </a:lnTo>
                  <a:lnTo>
                    <a:pt x="332" y="218"/>
                  </a:lnTo>
                  <a:lnTo>
                    <a:pt x="321" y="218"/>
                  </a:lnTo>
                  <a:lnTo>
                    <a:pt x="312" y="220"/>
                  </a:lnTo>
                  <a:lnTo>
                    <a:pt x="308" y="215"/>
                  </a:lnTo>
                  <a:lnTo>
                    <a:pt x="307" y="209"/>
                  </a:lnTo>
                  <a:lnTo>
                    <a:pt x="305" y="205"/>
                  </a:lnTo>
                  <a:lnTo>
                    <a:pt x="303" y="202"/>
                  </a:lnTo>
                  <a:lnTo>
                    <a:pt x="299" y="200"/>
                  </a:lnTo>
                  <a:lnTo>
                    <a:pt x="294" y="196"/>
                  </a:lnTo>
                  <a:lnTo>
                    <a:pt x="290" y="192"/>
                  </a:lnTo>
                  <a:lnTo>
                    <a:pt x="284" y="187"/>
                  </a:lnTo>
                  <a:lnTo>
                    <a:pt x="283" y="183"/>
                  </a:lnTo>
                  <a:lnTo>
                    <a:pt x="283" y="180"/>
                  </a:lnTo>
                  <a:lnTo>
                    <a:pt x="283" y="176"/>
                  </a:lnTo>
                  <a:lnTo>
                    <a:pt x="284" y="170"/>
                  </a:lnTo>
                  <a:lnTo>
                    <a:pt x="297" y="154"/>
                  </a:lnTo>
                  <a:lnTo>
                    <a:pt x="312" y="137"/>
                  </a:lnTo>
                  <a:lnTo>
                    <a:pt x="312" y="130"/>
                  </a:lnTo>
                  <a:lnTo>
                    <a:pt x="310" y="122"/>
                  </a:lnTo>
                  <a:lnTo>
                    <a:pt x="307" y="115"/>
                  </a:lnTo>
                  <a:lnTo>
                    <a:pt x="301" y="107"/>
                  </a:lnTo>
                  <a:lnTo>
                    <a:pt x="295" y="100"/>
                  </a:lnTo>
                  <a:lnTo>
                    <a:pt x="292" y="96"/>
                  </a:lnTo>
                  <a:lnTo>
                    <a:pt x="288" y="95"/>
                  </a:lnTo>
                  <a:lnTo>
                    <a:pt x="284" y="95"/>
                  </a:lnTo>
                  <a:lnTo>
                    <a:pt x="279" y="95"/>
                  </a:lnTo>
                  <a:lnTo>
                    <a:pt x="273" y="95"/>
                  </a:lnTo>
                  <a:lnTo>
                    <a:pt x="270" y="85"/>
                  </a:lnTo>
                  <a:lnTo>
                    <a:pt x="266" y="78"/>
                  </a:lnTo>
                  <a:lnTo>
                    <a:pt x="257" y="80"/>
                  </a:lnTo>
                  <a:lnTo>
                    <a:pt x="249" y="80"/>
                  </a:lnTo>
                  <a:lnTo>
                    <a:pt x="247" y="74"/>
                  </a:lnTo>
                  <a:lnTo>
                    <a:pt x="247" y="65"/>
                  </a:lnTo>
                  <a:lnTo>
                    <a:pt x="247" y="61"/>
                  </a:lnTo>
                  <a:lnTo>
                    <a:pt x="246" y="56"/>
                  </a:lnTo>
                  <a:lnTo>
                    <a:pt x="240" y="48"/>
                  </a:lnTo>
                  <a:lnTo>
                    <a:pt x="233" y="43"/>
                  </a:lnTo>
                  <a:lnTo>
                    <a:pt x="223" y="39"/>
                  </a:lnTo>
                  <a:lnTo>
                    <a:pt x="212" y="35"/>
                  </a:lnTo>
                  <a:lnTo>
                    <a:pt x="201" y="30"/>
                  </a:lnTo>
                  <a:lnTo>
                    <a:pt x="194" y="22"/>
                  </a:lnTo>
                  <a:lnTo>
                    <a:pt x="187" y="13"/>
                  </a:lnTo>
                  <a:lnTo>
                    <a:pt x="179" y="6"/>
                  </a:lnTo>
                  <a:lnTo>
                    <a:pt x="174" y="4"/>
                  </a:lnTo>
                  <a:lnTo>
                    <a:pt x="170" y="2"/>
                  </a:lnTo>
                  <a:lnTo>
                    <a:pt x="166" y="0"/>
                  </a:lnTo>
                  <a:lnTo>
                    <a:pt x="161" y="0"/>
                  </a:lnTo>
                  <a:lnTo>
                    <a:pt x="151" y="13"/>
                  </a:lnTo>
                  <a:lnTo>
                    <a:pt x="144" y="28"/>
                  </a:lnTo>
                  <a:lnTo>
                    <a:pt x="131" y="34"/>
                  </a:lnTo>
                  <a:lnTo>
                    <a:pt x="114" y="35"/>
                  </a:lnTo>
                  <a:lnTo>
                    <a:pt x="118" y="45"/>
                  </a:lnTo>
                  <a:lnTo>
                    <a:pt x="120" y="52"/>
                  </a:lnTo>
                  <a:lnTo>
                    <a:pt x="122" y="61"/>
                  </a:lnTo>
                  <a:lnTo>
                    <a:pt x="122" y="69"/>
                  </a:lnTo>
                  <a:lnTo>
                    <a:pt x="120" y="76"/>
                  </a:lnTo>
                  <a:lnTo>
                    <a:pt x="118" y="85"/>
                  </a:lnTo>
                  <a:lnTo>
                    <a:pt x="116" y="91"/>
                  </a:lnTo>
                  <a:lnTo>
                    <a:pt x="113" y="98"/>
                  </a:lnTo>
                  <a:lnTo>
                    <a:pt x="103" y="106"/>
                  </a:lnTo>
                  <a:lnTo>
                    <a:pt x="92" y="111"/>
                  </a:lnTo>
                  <a:lnTo>
                    <a:pt x="87" y="130"/>
                  </a:lnTo>
                  <a:lnTo>
                    <a:pt x="79" y="152"/>
                  </a:lnTo>
                  <a:lnTo>
                    <a:pt x="76" y="161"/>
                  </a:lnTo>
                  <a:lnTo>
                    <a:pt x="70" y="168"/>
                  </a:lnTo>
                  <a:lnTo>
                    <a:pt x="65" y="172"/>
                  </a:lnTo>
                  <a:lnTo>
                    <a:pt x="59" y="174"/>
                  </a:lnTo>
                  <a:lnTo>
                    <a:pt x="50" y="172"/>
                  </a:lnTo>
                  <a:lnTo>
                    <a:pt x="42" y="170"/>
                  </a:lnTo>
                  <a:lnTo>
                    <a:pt x="33" y="168"/>
                  </a:lnTo>
                  <a:lnTo>
                    <a:pt x="26" y="170"/>
                  </a:lnTo>
                  <a:lnTo>
                    <a:pt x="20" y="172"/>
                  </a:lnTo>
                  <a:lnTo>
                    <a:pt x="18" y="176"/>
                  </a:lnTo>
                  <a:lnTo>
                    <a:pt x="18" y="180"/>
                  </a:lnTo>
                  <a:lnTo>
                    <a:pt x="17" y="185"/>
                  </a:lnTo>
                  <a:lnTo>
                    <a:pt x="7" y="191"/>
                  </a:lnTo>
                  <a:lnTo>
                    <a:pt x="2" y="194"/>
                  </a:lnTo>
                  <a:lnTo>
                    <a:pt x="9" y="204"/>
                  </a:lnTo>
                  <a:lnTo>
                    <a:pt x="17" y="220"/>
                  </a:lnTo>
                  <a:lnTo>
                    <a:pt x="9" y="233"/>
                  </a:lnTo>
                  <a:lnTo>
                    <a:pt x="0" y="250"/>
                  </a:lnTo>
                  <a:lnTo>
                    <a:pt x="5" y="257"/>
                  </a:lnTo>
                  <a:lnTo>
                    <a:pt x="15" y="268"/>
                  </a:lnTo>
                  <a:lnTo>
                    <a:pt x="18" y="276"/>
                  </a:lnTo>
                  <a:lnTo>
                    <a:pt x="22" y="281"/>
                  </a:lnTo>
                  <a:lnTo>
                    <a:pt x="26" y="287"/>
                  </a:lnTo>
                  <a:lnTo>
                    <a:pt x="26" y="292"/>
                  </a:lnTo>
                  <a:lnTo>
                    <a:pt x="28" y="290"/>
                  </a:lnTo>
                  <a:lnTo>
                    <a:pt x="33" y="283"/>
                  </a:lnTo>
                  <a:lnTo>
                    <a:pt x="41" y="277"/>
                  </a:lnTo>
                  <a:lnTo>
                    <a:pt x="50" y="276"/>
                  </a:lnTo>
                  <a:lnTo>
                    <a:pt x="66" y="283"/>
                  </a:lnTo>
                  <a:lnTo>
                    <a:pt x="79" y="290"/>
                  </a:lnTo>
                  <a:lnTo>
                    <a:pt x="83" y="290"/>
                  </a:lnTo>
                  <a:lnTo>
                    <a:pt x="85" y="290"/>
                  </a:lnTo>
                  <a:lnTo>
                    <a:pt x="87" y="289"/>
                  </a:lnTo>
                  <a:lnTo>
                    <a:pt x="89" y="285"/>
                  </a:lnTo>
                  <a:lnTo>
                    <a:pt x="90" y="279"/>
                  </a:lnTo>
                  <a:lnTo>
                    <a:pt x="92" y="277"/>
                  </a:lnTo>
                  <a:lnTo>
                    <a:pt x="100" y="287"/>
                  </a:lnTo>
                  <a:lnTo>
                    <a:pt x="107" y="298"/>
                  </a:lnTo>
                  <a:lnTo>
                    <a:pt x="114" y="300"/>
                  </a:lnTo>
                  <a:lnTo>
                    <a:pt x="118" y="298"/>
                  </a:lnTo>
                  <a:lnTo>
                    <a:pt x="124" y="296"/>
                  </a:lnTo>
                  <a:lnTo>
                    <a:pt x="127" y="292"/>
                  </a:lnTo>
                  <a:lnTo>
                    <a:pt x="131" y="289"/>
                  </a:lnTo>
                  <a:lnTo>
                    <a:pt x="135" y="287"/>
                  </a:lnTo>
                  <a:lnTo>
                    <a:pt x="138" y="285"/>
                  </a:lnTo>
                  <a:lnTo>
                    <a:pt x="146" y="285"/>
                  </a:lnTo>
                  <a:lnTo>
                    <a:pt x="150" y="287"/>
                  </a:lnTo>
                  <a:lnTo>
                    <a:pt x="153" y="290"/>
                  </a:lnTo>
                  <a:lnTo>
                    <a:pt x="157" y="292"/>
                  </a:lnTo>
                  <a:lnTo>
                    <a:pt x="159" y="294"/>
                  </a:lnTo>
                  <a:lnTo>
                    <a:pt x="164" y="294"/>
                  </a:lnTo>
                  <a:lnTo>
                    <a:pt x="170" y="292"/>
                  </a:lnTo>
                  <a:lnTo>
                    <a:pt x="179" y="300"/>
                  </a:lnTo>
                  <a:lnTo>
                    <a:pt x="188" y="307"/>
                  </a:lnTo>
                  <a:lnTo>
                    <a:pt x="194" y="307"/>
                  </a:lnTo>
                  <a:lnTo>
                    <a:pt x="198" y="309"/>
                  </a:lnTo>
                  <a:lnTo>
                    <a:pt x="201" y="309"/>
                  </a:lnTo>
                  <a:lnTo>
                    <a:pt x="205" y="313"/>
                  </a:lnTo>
                  <a:lnTo>
                    <a:pt x="207" y="320"/>
                  </a:lnTo>
                  <a:lnTo>
                    <a:pt x="209" y="326"/>
                  </a:lnTo>
                  <a:lnTo>
                    <a:pt x="211" y="333"/>
                  </a:lnTo>
                  <a:lnTo>
                    <a:pt x="211" y="342"/>
                  </a:lnTo>
                  <a:lnTo>
                    <a:pt x="225" y="340"/>
                  </a:lnTo>
                  <a:lnTo>
                    <a:pt x="249" y="33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3" name="Freeform 61"/>
            <p:cNvSpPr>
              <a:spLocks/>
            </p:cNvSpPr>
            <p:nvPr/>
          </p:nvSpPr>
          <p:spPr bwMode="auto">
            <a:xfrm>
              <a:off x="3617726" y="2357148"/>
              <a:ext cx="166973" cy="173536"/>
            </a:xfrm>
            <a:custGeom>
              <a:avLst/>
              <a:gdLst>
                <a:gd name="T0" fmla="*/ 200 w 320"/>
                <a:gd name="T1" fmla="*/ 13 h 341"/>
                <a:gd name="T2" fmla="*/ 178 w 320"/>
                <a:gd name="T3" fmla="*/ 24 h 341"/>
                <a:gd name="T4" fmla="*/ 172 w 320"/>
                <a:gd name="T5" fmla="*/ 38 h 341"/>
                <a:gd name="T6" fmla="*/ 146 w 320"/>
                <a:gd name="T7" fmla="*/ 35 h 341"/>
                <a:gd name="T8" fmla="*/ 133 w 320"/>
                <a:gd name="T9" fmla="*/ 68 h 341"/>
                <a:gd name="T10" fmla="*/ 109 w 320"/>
                <a:gd name="T11" fmla="*/ 70 h 341"/>
                <a:gd name="T12" fmla="*/ 98 w 320"/>
                <a:gd name="T13" fmla="*/ 72 h 341"/>
                <a:gd name="T14" fmla="*/ 83 w 320"/>
                <a:gd name="T15" fmla="*/ 46 h 341"/>
                <a:gd name="T16" fmla="*/ 54 w 320"/>
                <a:gd name="T17" fmla="*/ 46 h 341"/>
                <a:gd name="T18" fmla="*/ 37 w 320"/>
                <a:gd name="T19" fmla="*/ 33 h 341"/>
                <a:gd name="T20" fmla="*/ 17 w 320"/>
                <a:gd name="T21" fmla="*/ 40 h 341"/>
                <a:gd name="T22" fmla="*/ 13 w 320"/>
                <a:gd name="T23" fmla="*/ 59 h 341"/>
                <a:gd name="T24" fmla="*/ 26 w 320"/>
                <a:gd name="T25" fmla="*/ 70 h 341"/>
                <a:gd name="T26" fmla="*/ 39 w 320"/>
                <a:gd name="T27" fmla="*/ 86 h 341"/>
                <a:gd name="T28" fmla="*/ 32 w 320"/>
                <a:gd name="T29" fmla="*/ 99 h 341"/>
                <a:gd name="T30" fmla="*/ 26 w 320"/>
                <a:gd name="T31" fmla="*/ 94 h 341"/>
                <a:gd name="T32" fmla="*/ 6 w 320"/>
                <a:gd name="T33" fmla="*/ 81 h 341"/>
                <a:gd name="T34" fmla="*/ 8 w 320"/>
                <a:gd name="T35" fmla="*/ 109 h 341"/>
                <a:gd name="T36" fmla="*/ 37 w 320"/>
                <a:gd name="T37" fmla="*/ 131 h 341"/>
                <a:gd name="T38" fmla="*/ 46 w 320"/>
                <a:gd name="T39" fmla="*/ 146 h 341"/>
                <a:gd name="T40" fmla="*/ 34 w 320"/>
                <a:gd name="T41" fmla="*/ 168 h 341"/>
                <a:gd name="T42" fmla="*/ 37 w 320"/>
                <a:gd name="T43" fmla="*/ 205 h 341"/>
                <a:gd name="T44" fmla="*/ 45 w 320"/>
                <a:gd name="T45" fmla="*/ 227 h 341"/>
                <a:gd name="T46" fmla="*/ 37 w 320"/>
                <a:gd name="T47" fmla="*/ 240 h 341"/>
                <a:gd name="T48" fmla="*/ 52 w 320"/>
                <a:gd name="T49" fmla="*/ 256 h 341"/>
                <a:gd name="T50" fmla="*/ 76 w 320"/>
                <a:gd name="T51" fmla="*/ 264 h 341"/>
                <a:gd name="T52" fmla="*/ 96 w 320"/>
                <a:gd name="T53" fmla="*/ 266 h 341"/>
                <a:gd name="T54" fmla="*/ 107 w 320"/>
                <a:gd name="T55" fmla="*/ 258 h 341"/>
                <a:gd name="T56" fmla="*/ 118 w 320"/>
                <a:gd name="T57" fmla="*/ 271 h 341"/>
                <a:gd name="T58" fmla="*/ 133 w 320"/>
                <a:gd name="T59" fmla="*/ 290 h 341"/>
                <a:gd name="T60" fmla="*/ 141 w 320"/>
                <a:gd name="T61" fmla="*/ 327 h 341"/>
                <a:gd name="T62" fmla="*/ 159 w 320"/>
                <a:gd name="T63" fmla="*/ 327 h 341"/>
                <a:gd name="T64" fmla="*/ 161 w 320"/>
                <a:gd name="T65" fmla="*/ 341 h 341"/>
                <a:gd name="T66" fmla="*/ 172 w 320"/>
                <a:gd name="T67" fmla="*/ 336 h 341"/>
                <a:gd name="T68" fmla="*/ 194 w 320"/>
                <a:gd name="T69" fmla="*/ 323 h 341"/>
                <a:gd name="T70" fmla="*/ 215 w 320"/>
                <a:gd name="T71" fmla="*/ 319 h 341"/>
                <a:gd name="T72" fmla="*/ 235 w 320"/>
                <a:gd name="T73" fmla="*/ 305 h 341"/>
                <a:gd name="T74" fmla="*/ 246 w 320"/>
                <a:gd name="T75" fmla="*/ 290 h 341"/>
                <a:gd name="T76" fmla="*/ 239 w 320"/>
                <a:gd name="T77" fmla="*/ 282 h 341"/>
                <a:gd name="T78" fmla="*/ 227 w 320"/>
                <a:gd name="T79" fmla="*/ 284 h 341"/>
                <a:gd name="T80" fmla="*/ 220 w 320"/>
                <a:gd name="T81" fmla="*/ 277 h 341"/>
                <a:gd name="T82" fmla="*/ 220 w 320"/>
                <a:gd name="T83" fmla="*/ 260 h 341"/>
                <a:gd name="T84" fmla="*/ 202 w 320"/>
                <a:gd name="T85" fmla="*/ 236 h 341"/>
                <a:gd name="T86" fmla="*/ 215 w 320"/>
                <a:gd name="T87" fmla="*/ 199 h 341"/>
                <a:gd name="T88" fmla="*/ 205 w 320"/>
                <a:gd name="T89" fmla="*/ 170 h 341"/>
                <a:gd name="T90" fmla="*/ 216 w 320"/>
                <a:gd name="T91" fmla="*/ 155 h 341"/>
                <a:gd name="T92" fmla="*/ 231 w 320"/>
                <a:gd name="T93" fmla="*/ 147 h 341"/>
                <a:gd name="T94" fmla="*/ 257 w 320"/>
                <a:gd name="T95" fmla="*/ 153 h 341"/>
                <a:gd name="T96" fmla="*/ 274 w 320"/>
                <a:gd name="T97" fmla="*/ 140 h 341"/>
                <a:gd name="T98" fmla="*/ 290 w 320"/>
                <a:gd name="T99" fmla="*/ 90 h 341"/>
                <a:gd name="T100" fmla="*/ 314 w 320"/>
                <a:gd name="T101" fmla="*/ 70 h 341"/>
                <a:gd name="T102" fmla="*/ 320 w 320"/>
                <a:gd name="T103" fmla="*/ 48 h 341"/>
                <a:gd name="T104" fmla="*/ 316 w 320"/>
                <a:gd name="T105" fmla="*/ 24 h 341"/>
                <a:gd name="T106" fmla="*/ 312 w 320"/>
                <a:gd name="T107" fmla="*/ 14 h 341"/>
                <a:gd name="T108" fmla="*/ 279 w 320"/>
                <a:gd name="T109" fmla="*/ 25 h 341"/>
                <a:gd name="T110" fmla="*/ 242 w 320"/>
                <a:gd name="T111" fmla="*/ 14 h 341"/>
                <a:gd name="T112" fmla="*/ 218 w 320"/>
                <a:gd name="T113" fmla="*/ 0 h 34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0"/>
                <a:gd name="T172" fmla="*/ 0 h 341"/>
                <a:gd name="T173" fmla="*/ 320 w 320"/>
                <a:gd name="T174" fmla="*/ 341 h 34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0" h="341">
                  <a:moveTo>
                    <a:pt x="218" y="0"/>
                  </a:moveTo>
                  <a:lnTo>
                    <a:pt x="209" y="7"/>
                  </a:lnTo>
                  <a:lnTo>
                    <a:pt x="200" y="13"/>
                  </a:lnTo>
                  <a:lnTo>
                    <a:pt x="189" y="16"/>
                  </a:lnTo>
                  <a:lnTo>
                    <a:pt x="178" y="16"/>
                  </a:lnTo>
                  <a:lnTo>
                    <a:pt x="178" y="24"/>
                  </a:lnTo>
                  <a:lnTo>
                    <a:pt x="178" y="29"/>
                  </a:lnTo>
                  <a:lnTo>
                    <a:pt x="176" y="35"/>
                  </a:lnTo>
                  <a:lnTo>
                    <a:pt x="172" y="38"/>
                  </a:lnTo>
                  <a:lnTo>
                    <a:pt x="165" y="33"/>
                  </a:lnTo>
                  <a:lnTo>
                    <a:pt x="155" y="27"/>
                  </a:lnTo>
                  <a:lnTo>
                    <a:pt x="146" y="35"/>
                  </a:lnTo>
                  <a:lnTo>
                    <a:pt x="143" y="38"/>
                  </a:lnTo>
                  <a:lnTo>
                    <a:pt x="139" y="48"/>
                  </a:lnTo>
                  <a:lnTo>
                    <a:pt x="133" y="68"/>
                  </a:lnTo>
                  <a:lnTo>
                    <a:pt x="124" y="64"/>
                  </a:lnTo>
                  <a:lnTo>
                    <a:pt x="117" y="64"/>
                  </a:lnTo>
                  <a:lnTo>
                    <a:pt x="109" y="70"/>
                  </a:lnTo>
                  <a:lnTo>
                    <a:pt x="106" y="74"/>
                  </a:lnTo>
                  <a:lnTo>
                    <a:pt x="100" y="74"/>
                  </a:lnTo>
                  <a:lnTo>
                    <a:pt x="98" y="72"/>
                  </a:lnTo>
                  <a:lnTo>
                    <a:pt x="94" y="61"/>
                  </a:lnTo>
                  <a:lnTo>
                    <a:pt x="89" y="51"/>
                  </a:lnTo>
                  <a:lnTo>
                    <a:pt x="83" y="46"/>
                  </a:lnTo>
                  <a:lnTo>
                    <a:pt x="78" y="42"/>
                  </a:lnTo>
                  <a:lnTo>
                    <a:pt x="69" y="44"/>
                  </a:lnTo>
                  <a:lnTo>
                    <a:pt x="54" y="46"/>
                  </a:lnTo>
                  <a:lnTo>
                    <a:pt x="48" y="38"/>
                  </a:lnTo>
                  <a:lnTo>
                    <a:pt x="43" y="35"/>
                  </a:lnTo>
                  <a:lnTo>
                    <a:pt x="37" y="33"/>
                  </a:lnTo>
                  <a:lnTo>
                    <a:pt x="30" y="33"/>
                  </a:lnTo>
                  <a:lnTo>
                    <a:pt x="24" y="37"/>
                  </a:lnTo>
                  <a:lnTo>
                    <a:pt x="17" y="40"/>
                  </a:lnTo>
                  <a:lnTo>
                    <a:pt x="13" y="46"/>
                  </a:lnTo>
                  <a:lnTo>
                    <a:pt x="8" y="51"/>
                  </a:lnTo>
                  <a:lnTo>
                    <a:pt x="13" y="59"/>
                  </a:lnTo>
                  <a:lnTo>
                    <a:pt x="17" y="64"/>
                  </a:lnTo>
                  <a:lnTo>
                    <a:pt x="22" y="68"/>
                  </a:lnTo>
                  <a:lnTo>
                    <a:pt x="26" y="70"/>
                  </a:lnTo>
                  <a:lnTo>
                    <a:pt x="35" y="74"/>
                  </a:lnTo>
                  <a:lnTo>
                    <a:pt x="39" y="79"/>
                  </a:lnTo>
                  <a:lnTo>
                    <a:pt x="39" y="86"/>
                  </a:lnTo>
                  <a:lnTo>
                    <a:pt x="37" y="96"/>
                  </a:lnTo>
                  <a:lnTo>
                    <a:pt x="35" y="98"/>
                  </a:lnTo>
                  <a:lnTo>
                    <a:pt x="32" y="99"/>
                  </a:lnTo>
                  <a:lnTo>
                    <a:pt x="30" y="98"/>
                  </a:lnTo>
                  <a:lnTo>
                    <a:pt x="26" y="94"/>
                  </a:lnTo>
                  <a:lnTo>
                    <a:pt x="21" y="90"/>
                  </a:lnTo>
                  <a:lnTo>
                    <a:pt x="13" y="85"/>
                  </a:lnTo>
                  <a:lnTo>
                    <a:pt x="6" y="81"/>
                  </a:lnTo>
                  <a:lnTo>
                    <a:pt x="11" y="94"/>
                  </a:lnTo>
                  <a:lnTo>
                    <a:pt x="13" y="103"/>
                  </a:lnTo>
                  <a:lnTo>
                    <a:pt x="8" y="109"/>
                  </a:lnTo>
                  <a:lnTo>
                    <a:pt x="0" y="116"/>
                  </a:lnTo>
                  <a:lnTo>
                    <a:pt x="19" y="122"/>
                  </a:lnTo>
                  <a:lnTo>
                    <a:pt x="37" y="131"/>
                  </a:lnTo>
                  <a:lnTo>
                    <a:pt x="41" y="135"/>
                  </a:lnTo>
                  <a:lnTo>
                    <a:pt x="45" y="140"/>
                  </a:lnTo>
                  <a:lnTo>
                    <a:pt x="46" y="146"/>
                  </a:lnTo>
                  <a:lnTo>
                    <a:pt x="46" y="151"/>
                  </a:lnTo>
                  <a:lnTo>
                    <a:pt x="43" y="160"/>
                  </a:lnTo>
                  <a:lnTo>
                    <a:pt x="34" y="168"/>
                  </a:lnTo>
                  <a:lnTo>
                    <a:pt x="28" y="179"/>
                  </a:lnTo>
                  <a:lnTo>
                    <a:pt x="26" y="192"/>
                  </a:lnTo>
                  <a:lnTo>
                    <a:pt x="37" y="205"/>
                  </a:lnTo>
                  <a:lnTo>
                    <a:pt x="48" y="214"/>
                  </a:lnTo>
                  <a:lnTo>
                    <a:pt x="48" y="220"/>
                  </a:lnTo>
                  <a:lnTo>
                    <a:pt x="45" y="227"/>
                  </a:lnTo>
                  <a:lnTo>
                    <a:pt x="41" y="234"/>
                  </a:lnTo>
                  <a:lnTo>
                    <a:pt x="37" y="240"/>
                  </a:lnTo>
                  <a:lnTo>
                    <a:pt x="41" y="245"/>
                  </a:lnTo>
                  <a:lnTo>
                    <a:pt x="46" y="251"/>
                  </a:lnTo>
                  <a:lnTo>
                    <a:pt x="52" y="256"/>
                  </a:lnTo>
                  <a:lnTo>
                    <a:pt x="59" y="260"/>
                  </a:lnTo>
                  <a:lnTo>
                    <a:pt x="67" y="262"/>
                  </a:lnTo>
                  <a:lnTo>
                    <a:pt x="76" y="264"/>
                  </a:lnTo>
                  <a:lnTo>
                    <a:pt x="83" y="264"/>
                  </a:lnTo>
                  <a:lnTo>
                    <a:pt x="91" y="264"/>
                  </a:lnTo>
                  <a:lnTo>
                    <a:pt x="96" y="266"/>
                  </a:lnTo>
                  <a:lnTo>
                    <a:pt x="100" y="264"/>
                  </a:lnTo>
                  <a:lnTo>
                    <a:pt x="106" y="262"/>
                  </a:lnTo>
                  <a:lnTo>
                    <a:pt x="107" y="258"/>
                  </a:lnTo>
                  <a:lnTo>
                    <a:pt x="113" y="260"/>
                  </a:lnTo>
                  <a:lnTo>
                    <a:pt x="118" y="264"/>
                  </a:lnTo>
                  <a:lnTo>
                    <a:pt x="118" y="271"/>
                  </a:lnTo>
                  <a:lnTo>
                    <a:pt x="120" y="280"/>
                  </a:lnTo>
                  <a:lnTo>
                    <a:pt x="126" y="286"/>
                  </a:lnTo>
                  <a:lnTo>
                    <a:pt x="133" y="290"/>
                  </a:lnTo>
                  <a:lnTo>
                    <a:pt x="135" y="306"/>
                  </a:lnTo>
                  <a:lnTo>
                    <a:pt x="137" y="323"/>
                  </a:lnTo>
                  <a:lnTo>
                    <a:pt x="141" y="327"/>
                  </a:lnTo>
                  <a:lnTo>
                    <a:pt x="146" y="329"/>
                  </a:lnTo>
                  <a:lnTo>
                    <a:pt x="154" y="329"/>
                  </a:lnTo>
                  <a:lnTo>
                    <a:pt x="159" y="327"/>
                  </a:lnTo>
                  <a:lnTo>
                    <a:pt x="159" y="334"/>
                  </a:lnTo>
                  <a:lnTo>
                    <a:pt x="157" y="340"/>
                  </a:lnTo>
                  <a:lnTo>
                    <a:pt x="161" y="341"/>
                  </a:lnTo>
                  <a:lnTo>
                    <a:pt x="163" y="341"/>
                  </a:lnTo>
                  <a:lnTo>
                    <a:pt x="167" y="340"/>
                  </a:lnTo>
                  <a:lnTo>
                    <a:pt x="172" y="336"/>
                  </a:lnTo>
                  <a:lnTo>
                    <a:pt x="179" y="330"/>
                  </a:lnTo>
                  <a:lnTo>
                    <a:pt x="185" y="325"/>
                  </a:lnTo>
                  <a:lnTo>
                    <a:pt x="194" y="323"/>
                  </a:lnTo>
                  <a:lnTo>
                    <a:pt x="203" y="321"/>
                  </a:lnTo>
                  <a:lnTo>
                    <a:pt x="209" y="321"/>
                  </a:lnTo>
                  <a:lnTo>
                    <a:pt x="215" y="319"/>
                  </a:lnTo>
                  <a:lnTo>
                    <a:pt x="220" y="317"/>
                  </a:lnTo>
                  <a:lnTo>
                    <a:pt x="226" y="312"/>
                  </a:lnTo>
                  <a:lnTo>
                    <a:pt x="235" y="305"/>
                  </a:lnTo>
                  <a:lnTo>
                    <a:pt x="242" y="297"/>
                  </a:lnTo>
                  <a:lnTo>
                    <a:pt x="246" y="293"/>
                  </a:lnTo>
                  <a:lnTo>
                    <a:pt x="246" y="290"/>
                  </a:lnTo>
                  <a:lnTo>
                    <a:pt x="246" y="286"/>
                  </a:lnTo>
                  <a:lnTo>
                    <a:pt x="244" y="282"/>
                  </a:lnTo>
                  <a:lnTo>
                    <a:pt x="239" y="282"/>
                  </a:lnTo>
                  <a:lnTo>
                    <a:pt x="233" y="284"/>
                  </a:lnTo>
                  <a:lnTo>
                    <a:pt x="229" y="284"/>
                  </a:lnTo>
                  <a:lnTo>
                    <a:pt x="227" y="284"/>
                  </a:lnTo>
                  <a:lnTo>
                    <a:pt x="224" y="284"/>
                  </a:lnTo>
                  <a:lnTo>
                    <a:pt x="220" y="282"/>
                  </a:lnTo>
                  <a:lnTo>
                    <a:pt x="220" y="277"/>
                  </a:lnTo>
                  <a:lnTo>
                    <a:pt x="224" y="271"/>
                  </a:lnTo>
                  <a:lnTo>
                    <a:pt x="224" y="266"/>
                  </a:lnTo>
                  <a:lnTo>
                    <a:pt x="220" y="260"/>
                  </a:lnTo>
                  <a:lnTo>
                    <a:pt x="216" y="253"/>
                  </a:lnTo>
                  <a:lnTo>
                    <a:pt x="213" y="247"/>
                  </a:lnTo>
                  <a:lnTo>
                    <a:pt x="202" y="236"/>
                  </a:lnTo>
                  <a:lnTo>
                    <a:pt x="198" y="229"/>
                  </a:lnTo>
                  <a:lnTo>
                    <a:pt x="207" y="212"/>
                  </a:lnTo>
                  <a:lnTo>
                    <a:pt x="215" y="199"/>
                  </a:lnTo>
                  <a:lnTo>
                    <a:pt x="207" y="183"/>
                  </a:lnTo>
                  <a:lnTo>
                    <a:pt x="200" y="173"/>
                  </a:lnTo>
                  <a:lnTo>
                    <a:pt x="205" y="170"/>
                  </a:lnTo>
                  <a:lnTo>
                    <a:pt x="215" y="164"/>
                  </a:lnTo>
                  <a:lnTo>
                    <a:pt x="216" y="159"/>
                  </a:lnTo>
                  <a:lnTo>
                    <a:pt x="216" y="155"/>
                  </a:lnTo>
                  <a:lnTo>
                    <a:pt x="218" y="151"/>
                  </a:lnTo>
                  <a:lnTo>
                    <a:pt x="224" y="149"/>
                  </a:lnTo>
                  <a:lnTo>
                    <a:pt x="231" y="147"/>
                  </a:lnTo>
                  <a:lnTo>
                    <a:pt x="240" y="149"/>
                  </a:lnTo>
                  <a:lnTo>
                    <a:pt x="248" y="151"/>
                  </a:lnTo>
                  <a:lnTo>
                    <a:pt x="257" y="153"/>
                  </a:lnTo>
                  <a:lnTo>
                    <a:pt x="263" y="151"/>
                  </a:lnTo>
                  <a:lnTo>
                    <a:pt x="268" y="147"/>
                  </a:lnTo>
                  <a:lnTo>
                    <a:pt x="274" y="140"/>
                  </a:lnTo>
                  <a:lnTo>
                    <a:pt x="277" y="131"/>
                  </a:lnTo>
                  <a:lnTo>
                    <a:pt x="285" y="109"/>
                  </a:lnTo>
                  <a:lnTo>
                    <a:pt x="290" y="90"/>
                  </a:lnTo>
                  <a:lnTo>
                    <a:pt x="301" y="85"/>
                  </a:lnTo>
                  <a:lnTo>
                    <a:pt x="311" y="77"/>
                  </a:lnTo>
                  <a:lnTo>
                    <a:pt x="314" y="70"/>
                  </a:lnTo>
                  <a:lnTo>
                    <a:pt x="316" y="64"/>
                  </a:lnTo>
                  <a:lnTo>
                    <a:pt x="318" y="55"/>
                  </a:lnTo>
                  <a:lnTo>
                    <a:pt x="320" y="48"/>
                  </a:lnTo>
                  <a:lnTo>
                    <a:pt x="320" y="40"/>
                  </a:lnTo>
                  <a:lnTo>
                    <a:pt x="318" y="31"/>
                  </a:lnTo>
                  <a:lnTo>
                    <a:pt x="316" y="24"/>
                  </a:lnTo>
                  <a:lnTo>
                    <a:pt x="312" y="14"/>
                  </a:lnTo>
                  <a:lnTo>
                    <a:pt x="301" y="18"/>
                  </a:lnTo>
                  <a:lnTo>
                    <a:pt x="290" y="22"/>
                  </a:lnTo>
                  <a:lnTo>
                    <a:pt x="279" y="25"/>
                  </a:lnTo>
                  <a:lnTo>
                    <a:pt x="266" y="25"/>
                  </a:lnTo>
                  <a:lnTo>
                    <a:pt x="253" y="20"/>
                  </a:lnTo>
                  <a:lnTo>
                    <a:pt x="242" y="14"/>
                  </a:lnTo>
                  <a:lnTo>
                    <a:pt x="229" y="7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C00000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4" name="Freeform 62"/>
            <p:cNvSpPr>
              <a:spLocks/>
            </p:cNvSpPr>
            <p:nvPr/>
          </p:nvSpPr>
          <p:spPr bwMode="auto">
            <a:xfrm>
              <a:off x="3648512" y="2486918"/>
              <a:ext cx="146624" cy="156742"/>
            </a:xfrm>
            <a:custGeom>
              <a:avLst/>
              <a:gdLst>
                <a:gd name="T0" fmla="*/ 174 w 281"/>
                <a:gd name="T1" fmla="*/ 297 h 308"/>
                <a:gd name="T2" fmla="*/ 209 w 281"/>
                <a:gd name="T3" fmla="*/ 288 h 308"/>
                <a:gd name="T4" fmla="*/ 209 w 281"/>
                <a:gd name="T5" fmla="*/ 266 h 308"/>
                <a:gd name="T6" fmla="*/ 193 w 281"/>
                <a:gd name="T7" fmla="*/ 253 h 308"/>
                <a:gd name="T8" fmla="*/ 191 w 281"/>
                <a:gd name="T9" fmla="*/ 242 h 308"/>
                <a:gd name="T10" fmla="*/ 213 w 281"/>
                <a:gd name="T11" fmla="*/ 223 h 308"/>
                <a:gd name="T12" fmla="*/ 213 w 281"/>
                <a:gd name="T13" fmla="*/ 208 h 308"/>
                <a:gd name="T14" fmla="*/ 213 w 281"/>
                <a:gd name="T15" fmla="*/ 188 h 308"/>
                <a:gd name="T16" fmla="*/ 231 w 281"/>
                <a:gd name="T17" fmla="*/ 203 h 308"/>
                <a:gd name="T18" fmla="*/ 259 w 281"/>
                <a:gd name="T19" fmla="*/ 199 h 308"/>
                <a:gd name="T20" fmla="*/ 263 w 281"/>
                <a:gd name="T21" fmla="*/ 173 h 308"/>
                <a:gd name="T22" fmla="*/ 259 w 281"/>
                <a:gd name="T23" fmla="*/ 110 h 308"/>
                <a:gd name="T24" fmla="*/ 281 w 281"/>
                <a:gd name="T25" fmla="*/ 61 h 308"/>
                <a:gd name="T26" fmla="*/ 274 w 281"/>
                <a:gd name="T27" fmla="*/ 51 h 308"/>
                <a:gd name="T28" fmla="*/ 270 w 281"/>
                <a:gd name="T29" fmla="*/ 33 h 308"/>
                <a:gd name="T30" fmla="*/ 266 w 281"/>
                <a:gd name="T31" fmla="*/ 16 h 308"/>
                <a:gd name="T32" fmla="*/ 257 w 281"/>
                <a:gd name="T33" fmla="*/ 22 h 308"/>
                <a:gd name="T34" fmla="*/ 239 w 281"/>
                <a:gd name="T35" fmla="*/ 11 h 308"/>
                <a:gd name="T36" fmla="*/ 228 w 281"/>
                <a:gd name="T37" fmla="*/ 9 h 308"/>
                <a:gd name="T38" fmla="*/ 222 w 281"/>
                <a:gd name="T39" fmla="*/ 14 h 308"/>
                <a:gd name="T40" fmla="*/ 189 w 281"/>
                <a:gd name="T41" fmla="*/ 0 h 308"/>
                <a:gd name="T42" fmla="*/ 167 w 281"/>
                <a:gd name="T43" fmla="*/ 14 h 308"/>
                <a:gd name="T44" fmla="*/ 161 w 281"/>
                <a:gd name="T45" fmla="*/ 27 h 308"/>
                <a:gd name="T46" fmla="*/ 170 w 281"/>
                <a:gd name="T47" fmla="*/ 29 h 308"/>
                <a:gd name="T48" fmla="*/ 185 w 281"/>
                <a:gd name="T49" fmla="*/ 27 h 308"/>
                <a:gd name="T50" fmla="*/ 187 w 281"/>
                <a:gd name="T51" fmla="*/ 38 h 308"/>
                <a:gd name="T52" fmla="*/ 167 w 281"/>
                <a:gd name="T53" fmla="*/ 57 h 308"/>
                <a:gd name="T54" fmla="*/ 150 w 281"/>
                <a:gd name="T55" fmla="*/ 66 h 308"/>
                <a:gd name="T56" fmla="*/ 126 w 281"/>
                <a:gd name="T57" fmla="*/ 70 h 308"/>
                <a:gd name="T58" fmla="*/ 108 w 281"/>
                <a:gd name="T59" fmla="*/ 85 h 308"/>
                <a:gd name="T60" fmla="*/ 98 w 281"/>
                <a:gd name="T61" fmla="*/ 85 h 308"/>
                <a:gd name="T62" fmla="*/ 95 w 281"/>
                <a:gd name="T63" fmla="*/ 74 h 308"/>
                <a:gd name="T64" fmla="*/ 78 w 281"/>
                <a:gd name="T65" fmla="*/ 68 h 308"/>
                <a:gd name="T66" fmla="*/ 67 w 281"/>
                <a:gd name="T67" fmla="*/ 31 h 308"/>
                <a:gd name="T68" fmla="*/ 59 w 281"/>
                <a:gd name="T69" fmla="*/ 9 h 308"/>
                <a:gd name="T70" fmla="*/ 47 w 281"/>
                <a:gd name="T71" fmla="*/ 7 h 308"/>
                <a:gd name="T72" fmla="*/ 32 w 281"/>
                <a:gd name="T73" fmla="*/ 9 h 308"/>
                <a:gd name="T74" fmla="*/ 8 w 281"/>
                <a:gd name="T75" fmla="*/ 7 h 308"/>
                <a:gd name="T76" fmla="*/ 2 w 281"/>
                <a:gd name="T77" fmla="*/ 18 h 308"/>
                <a:gd name="T78" fmla="*/ 21 w 281"/>
                <a:gd name="T79" fmla="*/ 40 h 308"/>
                <a:gd name="T80" fmla="*/ 56 w 281"/>
                <a:gd name="T81" fmla="*/ 55 h 308"/>
                <a:gd name="T82" fmla="*/ 74 w 281"/>
                <a:gd name="T83" fmla="*/ 101 h 308"/>
                <a:gd name="T84" fmla="*/ 78 w 281"/>
                <a:gd name="T85" fmla="*/ 144 h 308"/>
                <a:gd name="T86" fmla="*/ 96 w 281"/>
                <a:gd name="T87" fmla="*/ 188 h 308"/>
                <a:gd name="T88" fmla="*/ 109 w 281"/>
                <a:gd name="T89" fmla="*/ 223 h 308"/>
                <a:gd name="T90" fmla="*/ 104 w 281"/>
                <a:gd name="T91" fmla="*/ 242 h 308"/>
                <a:gd name="T92" fmla="*/ 113 w 281"/>
                <a:gd name="T93" fmla="*/ 255 h 308"/>
                <a:gd name="T94" fmla="*/ 135 w 281"/>
                <a:gd name="T95" fmla="*/ 290 h 30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81"/>
                <a:gd name="T145" fmla="*/ 0 h 308"/>
                <a:gd name="T146" fmla="*/ 281 w 281"/>
                <a:gd name="T147" fmla="*/ 308 h 30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81" h="308">
                  <a:moveTo>
                    <a:pt x="137" y="308"/>
                  </a:moveTo>
                  <a:lnTo>
                    <a:pt x="156" y="303"/>
                  </a:lnTo>
                  <a:lnTo>
                    <a:pt x="174" y="297"/>
                  </a:lnTo>
                  <a:lnTo>
                    <a:pt x="193" y="290"/>
                  </a:lnTo>
                  <a:lnTo>
                    <a:pt x="205" y="286"/>
                  </a:lnTo>
                  <a:lnTo>
                    <a:pt x="209" y="288"/>
                  </a:lnTo>
                  <a:lnTo>
                    <a:pt x="215" y="290"/>
                  </a:lnTo>
                  <a:lnTo>
                    <a:pt x="211" y="279"/>
                  </a:lnTo>
                  <a:lnTo>
                    <a:pt x="209" y="266"/>
                  </a:lnTo>
                  <a:lnTo>
                    <a:pt x="204" y="260"/>
                  </a:lnTo>
                  <a:lnTo>
                    <a:pt x="196" y="255"/>
                  </a:lnTo>
                  <a:lnTo>
                    <a:pt x="193" y="253"/>
                  </a:lnTo>
                  <a:lnTo>
                    <a:pt x="191" y="249"/>
                  </a:lnTo>
                  <a:lnTo>
                    <a:pt x="189" y="245"/>
                  </a:lnTo>
                  <a:lnTo>
                    <a:pt x="191" y="242"/>
                  </a:lnTo>
                  <a:lnTo>
                    <a:pt x="205" y="234"/>
                  </a:lnTo>
                  <a:lnTo>
                    <a:pt x="218" y="227"/>
                  </a:lnTo>
                  <a:lnTo>
                    <a:pt x="213" y="223"/>
                  </a:lnTo>
                  <a:lnTo>
                    <a:pt x="207" y="218"/>
                  </a:lnTo>
                  <a:lnTo>
                    <a:pt x="211" y="212"/>
                  </a:lnTo>
                  <a:lnTo>
                    <a:pt x="213" y="208"/>
                  </a:lnTo>
                  <a:lnTo>
                    <a:pt x="209" y="195"/>
                  </a:lnTo>
                  <a:lnTo>
                    <a:pt x="205" y="186"/>
                  </a:lnTo>
                  <a:lnTo>
                    <a:pt x="213" y="188"/>
                  </a:lnTo>
                  <a:lnTo>
                    <a:pt x="218" y="192"/>
                  </a:lnTo>
                  <a:lnTo>
                    <a:pt x="224" y="197"/>
                  </a:lnTo>
                  <a:lnTo>
                    <a:pt x="231" y="203"/>
                  </a:lnTo>
                  <a:lnTo>
                    <a:pt x="246" y="203"/>
                  </a:lnTo>
                  <a:lnTo>
                    <a:pt x="257" y="203"/>
                  </a:lnTo>
                  <a:lnTo>
                    <a:pt x="259" y="199"/>
                  </a:lnTo>
                  <a:lnTo>
                    <a:pt x="261" y="192"/>
                  </a:lnTo>
                  <a:lnTo>
                    <a:pt x="263" y="184"/>
                  </a:lnTo>
                  <a:lnTo>
                    <a:pt x="263" y="173"/>
                  </a:lnTo>
                  <a:lnTo>
                    <a:pt x="261" y="151"/>
                  </a:lnTo>
                  <a:lnTo>
                    <a:pt x="263" y="133"/>
                  </a:lnTo>
                  <a:lnTo>
                    <a:pt x="259" y="110"/>
                  </a:lnTo>
                  <a:lnTo>
                    <a:pt x="259" y="90"/>
                  </a:lnTo>
                  <a:lnTo>
                    <a:pt x="270" y="72"/>
                  </a:lnTo>
                  <a:lnTo>
                    <a:pt x="281" y="61"/>
                  </a:lnTo>
                  <a:lnTo>
                    <a:pt x="281" y="55"/>
                  </a:lnTo>
                  <a:lnTo>
                    <a:pt x="277" y="53"/>
                  </a:lnTo>
                  <a:lnTo>
                    <a:pt x="274" y="51"/>
                  </a:lnTo>
                  <a:lnTo>
                    <a:pt x="270" y="51"/>
                  </a:lnTo>
                  <a:lnTo>
                    <a:pt x="270" y="40"/>
                  </a:lnTo>
                  <a:lnTo>
                    <a:pt x="270" y="33"/>
                  </a:lnTo>
                  <a:lnTo>
                    <a:pt x="270" y="24"/>
                  </a:lnTo>
                  <a:lnTo>
                    <a:pt x="266" y="16"/>
                  </a:lnTo>
                  <a:lnTo>
                    <a:pt x="263" y="20"/>
                  </a:lnTo>
                  <a:lnTo>
                    <a:pt x="257" y="22"/>
                  </a:lnTo>
                  <a:lnTo>
                    <a:pt x="253" y="24"/>
                  </a:lnTo>
                  <a:lnTo>
                    <a:pt x="246" y="22"/>
                  </a:lnTo>
                  <a:lnTo>
                    <a:pt x="239" y="11"/>
                  </a:lnTo>
                  <a:lnTo>
                    <a:pt x="231" y="1"/>
                  </a:lnTo>
                  <a:lnTo>
                    <a:pt x="229" y="3"/>
                  </a:lnTo>
                  <a:lnTo>
                    <a:pt x="228" y="9"/>
                  </a:lnTo>
                  <a:lnTo>
                    <a:pt x="226" y="13"/>
                  </a:lnTo>
                  <a:lnTo>
                    <a:pt x="224" y="14"/>
                  </a:lnTo>
                  <a:lnTo>
                    <a:pt x="222" y="14"/>
                  </a:lnTo>
                  <a:lnTo>
                    <a:pt x="218" y="14"/>
                  </a:lnTo>
                  <a:lnTo>
                    <a:pt x="205" y="7"/>
                  </a:lnTo>
                  <a:lnTo>
                    <a:pt x="189" y="0"/>
                  </a:lnTo>
                  <a:lnTo>
                    <a:pt x="180" y="1"/>
                  </a:lnTo>
                  <a:lnTo>
                    <a:pt x="172" y="7"/>
                  </a:lnTo>
                  <a:lnTo>
                    <a:pt x="167" y="14"/>
                  </a:lnTo>
                  <a:lnTo>
                    <a:pt x="165" y="16"/>
                  </a:lnTo>
                  <a:lnTo>
                    <a:pt x="163" y="20"/>
                  </a:lnTo>
                  <a:lnTo>
                    <a:pt x="161" y="27"/>
                  </a:lnTo>
                  <a:lnTo>
                    <a:pt x="165" y="29"/>
                  </a:lnTo>
                  <a:lnTo>
                    <a:pt x="168" y="29"/>
                  </a:lnTo>
                  <a:lnTo>
                    <a:pt x="170" y="29"/>
                  </a:lnTo>
                  <a:lnTo>
                    <a:pt x="174" y="29"/>
                  </a:lnTo>
                  <a:lnTo>
                    <a:pt x="180" y="27"/>
                  </a:lnTo>
                  <a:lnTo>
                    <a:pt x="185" y="27"/>
                  </a:lnTo>
                  <a:lnTo>
                    <a:pt x="187" y="31"/>
                  </a:lnTo>
                  <a:lnTo>
                    <a:pt x="187" y="35"/>
                  </a:lnTo>
                  <a:lnTo>
                    <a:pt x="187" y="38"/>
                  </a:lnTo>
                  <a:lnTo>
                    <a:pt x="183" y="42"/>
                  </a:lnTo>
                  <a:lnTo>
                    <a:pt x="176" y="50"/>
                  </a:lnTo>
                  <a:lnTo>
                    <a:pt x="167" y="57"/>
                  </a:lnTo>
                  <a:lnTo>
                    <a:pt x="161" y="62"/>
                  </a:lnTo>
                  <a:lnTo>
                    <a:pt x="156" y="64"/>
                  </a:lnTo>
                  <a:lnTo>
                    <a:pt x="150" y="66"/>
                  </a:lnTo>
                  <a:lnTo>
                    <a:pt x="144" y="66"/>
                  </a:lnTo>
                  <a:lnTo>
                    <a:pt x="135" y="68"/>
                  </a:lnTo>
                  <a:lnTo>
                    <a:pt x="126" y="70"/>
                  </a:lnTo>
                  <a:lnTo>
                    <a:pt x="120" y="75"/>
                  </a:lnTo>
                  <a:lnTo>
                    <a:pt x="113" y="81"/>
                  </a:lnTo>
                  <a:lnTo>
                    <a:pt x="108" y="85"/>
                  </a:lnTo>
                  <a:lnTo>
                    <a:pt x="104" y="86"/>
                  </a:lnTo>
                  <a:lnTo>
                    <a:pt x="102" y="86"/>
                  </a:lnTo>
                  <a:lnTo>
                    <a:pt x="98" y="85"/>
                  </a:lnTo>
                  <a:lnTo>
                    <a:pt x="100" y="79"/>
                  </a:lnTo>
                  <a:lnTo>
                    <a:pt x="100" y="72"/>
                  </a:lnTo>
                  <a:lnTo>
                    <a:pt x="95" y="74"/>
                  </a:lnTo>
                  <a:lnTo>
                    <a:pt x="87" y="74"/>
                  </a:lnTo>
                  <a:lnTo>
                    <a:pt x="82" y="72"/>
                  </a:lnTo>
                  <a:lnTo>
                    <a:pt x="78" y="68"/>
                  </a:lnTo>
                  <a:lnTo>
                    <a:pt x="76" y="51"/>
                  </a:lnTo>
                  <a:lnTo>
                    <a:pt x="74" y="35"/>
                  </a:lnTo>
                  <a:lnTo>
                    <a:pt x="67" y="31"/>
                  </a:lnTo>
                  <a:lnTo>
                    <a:pt x="61" y="25"/>
                  </a:lnTo>
                  <a:lnTo>
                    <a:pt x="59" y="16"/>
                  </a:lnTo>
                  <a:lnTo>
                    <a:pt x="59" y="9"/>
                  </a:lnTo>
                  <a:lnTo>
                    <a:pt x="54" y="5"/>
                  </a:lnTo>
                  <a:lnTo>
                    <a:pt x="48" y="3"/>
                  </a:lnTo>
                  <a:lnTo>
                    <a:pt x="47" y="7"/>
                  </a:lnTo>
                  <a:lnTo>
                    <a:pt x="41" y="9"/>
                  </a:lnTo>
                  <a:lnTo>
                    <a:pt x="37" y="11"/>
                  </a:lnTo>
                  <a:lnTo>
                    <a:pt x="32" y="9"/>
                  </a:lnTo>
                  <a:lnTo>
                    <a:pt x="24" y="9"/>
                  </a:lnTo>
                  <a:lnTo>
                    <a:pt x="17" y="9"/>
                  </a:lnTo>
                  <a:lnTo>
                    <a:pt x="8" y="7"/>
                  </a:lnTo>
                  <a:lnTo>
                    <a:pt x="0" y="5"/>
                  </a:lnTo>
                  <a:lnTo>
                    <a:pt x="0" y="11"/>
                  </a:lnTo>
                  <a:lnTo>
                    <a:pt x="2" y="18"/>
                  </a:lnTo>
                  <a:lnTo>
                    <a:pt x="10" y="25"/>
                  </a:lnTo>
                  <a:lnTo>
                    <a:pt x="19" y="33"/>
                  </a:lnTo>
                  <a:lnTo>
                    <a:pt x="21" y="40"/>
                  </a:lnTo>
                  <a:lnTo>
                    <a:pt x="23" y="46"/>
                  </a:lnTo>
                  <a:lnTo>
                    <a:pt x="39" y="51"/>
                  </a:lnTo>
                  <a:lnTo>
                    <a:pt x="56" y="55"/>
                  </a:lnTo>
                  <a:lnTo>
                    <a:pt x="63" y="70"/>
                  </a:lnTo>
                  <a:lnTo>
                    <a:pt x="71" y="85"/>
                  </a:lnTo>
                  <a:lnTo>
                    <a:pt x="74" y="101"/>
                  </a:lnTo>
                  <a:lnTo>
                    <a:pt x="78" y="116"/>
                  </a:lnTo>
                  <a:lnTo>
                    <a:pt x="78" y="131"/>
                  </a:lnTo>
                  <a:lnTo>
                    <a:pt x="78" y="144"/>
                  </a:lnTo>
                  <a:lnTo>
                    <a:pt x="80" y="159"/>
                  </a:lnTo>
                  <a:lnTo>
                    <a:pt x="84" y="171"/>
                  </a:lnTo>
                  <a:lnTo>
                    <a:pt x="96" y="188"/>
                  </a:lnTo>
                  <a:lnTo>
                    <a:pt x="106" y="207"/>
                  </a:lnTo>
                  <a:lnTo>
                    <a:pt x="109" y="214"/>
                  </a:lnTo>
                  <a:lnTo>
                    <a:pt x="109" y="223"/>
                  </a:lnTo>
                  <a:lnTo>
                    <a:pt x="109" y="231"/>
                  </a:lnTo>
                  <a:lnTo>
                    <a:pt x="106" y="238"/>
                  </a:lnTo>
                  <a:lnTo>
                    <a:pt x="104" y="242"/>
                  </a:lnTo>
                  <a:lnTo>
                    <a:pt x="100" y="244"/>
                  </a:lnTo>
                  <a:lnTo>
                    <a:pt x="113" y="255"/>
                  </a:lnTo>
                  <a:lnTo>
                    <a:pt x="124" y="271"/>
                  </a:lnTo>
                  <a:lnTo>
                    <a:pt x="130" y="280"/>
                  </a:lnTo>
                  <a:lnTo>
                    <a:pt x="135" y="290"/>
                  </a:lnTo>
                  <a:lnTo>
                    <a:pt x="137" y="299"/>
                  </a:lnTo>
                  <a:lnTo>
                    <a:pt x="137" y="30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5" name="Freeform 63"/>
            <p:cNvSpPr>
              <a:spLocks/>
            </p:cNvSpPr>
            <p:nvPr/>
          </p:nvSpPr>
          <p:spPr bwMode="auto">
            <a:xfrm>
              <a:off x="3593724" y="2477249"/>
              <a:ext cx="111663" cy="157251"/>
            </a:xfrm>
            <a:custGeom>
              <a:avLst/>
              <a:gdLst>
                <a:gd name="T0" fmla="*/ 205 w 214"/>
                <a:gd name="T1" fmla="*/ 263 h 309"/>
                <a:gd name="T2" fmla="*/ 211 w 214"/>
                <a:gd name="T3" fmla="*/ 257 h 309"/>
                <a:gd name="T4" fmla="*/ 214 w 214"/>
                <a:gd name="T5" fmla="*/ 242 h 309"/>
                <a:gd name="T6" fmla="*/ 211 w 214"/>
                <a:gd name="T7" fmla="*/ 226 h 309"/>
                <a:gd name="T8" fmla="*/ 189 w 214"/>
                <a:gd name="T9" fmla="*/ 190 h 309"/>
                <a:gd name="T10" fmla="*/ 183 w 214"/>
                <a:gd name="T11" fmla="*/ 163 h 309"/>
                <a:gd name="T12" fmla="*/ 183 w 214"/>
                <a:gd name="T13" fmla="*/ 135 h 309"/>
                <a:gd name="T14" fmla="*/ 176 w 214"/>
                <a:gd name="T15" fmla="*/ 104 h 309"/>
                <a:gd name="T16" fmla="*/ 161 w 214"/>
                <a:gd name="T17" fmla="*/ 74 h 309"/>
                <a:gd name="T18" fmla="*/ 128 w 214"/>
                <a:gd name="T19" fmla="*/ 65 h 309"/>
                <a:gd name="T20" fmla="*/ 124 w 214"/>
                <a:gd name="T21" fmla="*/ 52 h 309"/>
                <a:gd name="T22" fmla="*/ 107 w 214"/>
                <a:gd name="T23" fmla="*/ 37 h 309"/>
                <a:gd name="T24" fmla="*/ 105 w 214"/>
                <a:gd name="T25" fmla="*/ 24 h 309"/>
                <a:gd name="T26" fmla="*/ 91 w 214"/>
                <a:gd name="T27" fmla="*/ 15 h 309"/>
                <a:gd name="T28" fmla="*/ 83 w 214"/>
                <a:gd name="T29" fmla="*/ 4 h 309"/>
                <a:gd name="T30" fmla="*/ 78 w 214"/>
                <a:gd name="T31" fmla="*/ 6 h 309"/>
                <a:gd name="T32" fmla="*/ 76 w 214"/>
                <a:gd name="T33" fmla="*/ 9 h 309"/>
                <a:gd name="T34" fmla="*/ 74 w 214"/>
                <a:gd name="T35" fmla="*/ 15 h 309"/>
                <a:gd name="T36" fmla="*/ 52 w 214"/>
                <a:gd name="T37" fmla="*/ 0 h 309"/>
                <a:gd name="T38" fmla="*/ 44 w 214"/>
                <a:gd name="T39" fmla="*/ 9 h 309"/>
                <a:gd name="T40" fmla="*/ 43 w 214"/>
                <a:gd name="T41" fmla="*/ 19 h 309"/>
                <a:gd name="T42" fmla="*/ 46 w 214"/>
                <a:gd name="T43" fmla="*/ 43 h 309"/>
                <a:gd name="T44" fmla="*/ 31 w 214"/>
                <a:gd name="T45" fmla="*/ 65 h 309"/>
                <a:gd name="T46" fmla="*/ 26 w 214"/>
                <a:gd name="T47" fmla="*/ 81 h 309"/>
                <a:gd name="T48" fmla="*/ 13 w 214"/>
                <a:gd name="T49" fmla="*/ 81 h 309"/>
                <a:gd name="T50" fmla="*/ 0 w 214"/>
                <a:gd name="T51" fmla="*/ 105 h 309"/>
                <a:gd name="T52" fmla="*/ 17 w 214"/>
                <a:gd name="T53" fmla="*/ 133 h 309"/>
                <a:gd name="T54" fmla="*/ 24 w 214"/>
                <a:gd name="T55" fmla="*/ 159 h 309"/>
                <a:gd name="T56" fmla="*/ 15 w 214"/>
                <a:gd name="T57" fmla="*/ 165 h 309"/>
                <a:gd name="T58" fmla="*/ 11 w 214"/>
                <a:gd name="T59" fmla="*/ 178 h 309"/>
                <a:gd name="T60" fmla="*/ 11 w 214"/>
                <a:gd name="T61" fmla="*/ 190 h 309"/>
                <a:gd name="T62" fmla="*/ 28 w 214"/>
                <a:gd name="T63" fmla="*/ 192 h 309"/>
                <a:gd name="T64" fmla="*/ 35 w 214"/>
                <a:gd name="T65" fmla="*/ 229 h 309"/>
                <a:gd name="T66" fmla="*/ 46 w 214"/>
                <a:gd name="T67" fmla="*/ 237 h 309"/>
                <a:gd name="T68" fmla="*/ 56 w 214"/>
                <a:gd name="T69" fmla="*/ 240 h 309"/>
                <a:gd name="T70" fmla="*/ 72 w 214"/>
                <a:gd name="T71" fmla="*/ 242 h 309"/>
                <a:gd name="T72" fmla="*/ 80 w 214"/>
                <a:gd name="T73" fmla="*/ 251 h 309"/>
                <a:gd name="T74" fmla="*/ 94 w 214"/>
                <a:gd name="T75" fmla="*/ 283 h 309"/>
                <a:gd name="T76" fmla="*/ 113 w 214"/>
                <a:gd name="T77" fmla="*/ 292 h 309"/>
                <a:gd name="T78" fmla="*/ 120 w 214"/>
                <a:gd name="T79" fmla="*/ 307 h 309"/>
                <a:gd name="T80" fmla="*/ 131 w 214"/>
                <a:gd name="T81" fmla="*/ 309 h 309"/>
                <a:gd name="T82" fmla="*/ 131 w 214"/>
                <a:gd name="T83" fmla="*/ 309 h 309"/>
                <a:gd name="T84" fmla="*/ 131 w 214"/>
                <a:gd name="T85" fmla="*/ 309 h 309"/>
                <a:gd name="T86" fmla="*/ 146 w 214"/>
                <a:gd name="T87" fmla="*/ 303 h 309"/>
                <a:gd name="T88" fmla="*/ 142 w 214"/>
                <a:gd name="T89" fmla="*/ 292 h 309"/>
                <a:gd name="T90" fmla="*/ 133 w 214"/>
                <a:gd name="T91" fmla="*/ 287 h 309"/>
                <a:gd name="T92" fmla="*/ 124 w 214"/>
                <a:gd name="T93" fmla="*/ 283 h 309"/>
                <a:gd name="T94" fmla="*/ 122 w 214"/>
                <a:gd name="T95" fmla="*/ 277 h 309"/>
                <a:gd name="T96" fmla="*/ 159 w 214"/>
                <a:gd name="T97" fmla="*/ 283 h 309"/>
                <a:gd name="T98" fmla="*/ 155 w 214"/>
                <a:gd name="T99" fmla="*/ 274 h 309"/>
                <a:gd name="T100" fmla="*/ 153 w 214"/>
                <a:gd name="T101" fmla="*/ 266 h 309"/>
                <a:gd name="T102" fmla="*/ 157 w 214"/>
                <a:gd name="T103" fmla="*/ 259 h 309"/>
                <a:gd name="T104" fmla="*/ 205 w 214"/>
                <a:gd name="T105" fmla="*/ 263 h 30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4"/>
                <a:gd name="T160" fmla="*/ 0 h 309"/>
                <a:gd name="T161" fmla="*/ 214 w 214"/>
                <a:gd name="T162" fmla="*/ 309 h 30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4" h="309">
                  <a:moveTo>
                    <a:pt x="205" y="263"/>
                  </a:moveTo>
                  <a:lnTo>
                    <a:pt x="205" y="263"/>
                  </a:lnTo>
                  <a:lnTo>
                    <a:pt x="209" y="261"/>
                  </a:lnTo>
                  <a:lnTo>
                    <a:pt x="211" y="257"/>
                  </a:lnTo>
                  <a:lnTo>
                    <a:pt x="214" y="250"/>
                  </a:lnTo>
                  <a:lnTo>
                    <a:pt x="214" y="242"/>
                  </a:lnTo>
                  <a:lnTo>
                    <a:pt x="214" y="233"/>
                  </a:lnTo>
                  <a:lnTo>
                    <a:pt x="211" y="226"/>
                  </a:lnTo>
                  <a:lnTo>
                    <a:pt x="201" y="207"/>
                  </a:lnTo>
                  <a:lnTo>
                    <a:pt x="189" y="190"/>
                  </a:lnTo>
                  <a:lnTo>
                    <a:pt x="185" y="178"/>
                  </a:lnTo>
                  <a:lnTo>
                    <a:pt x="183" y="163"/>
                  </a:lnTo>
                  <a:lnTo>
                    <a:pt x="183" y="150"/>
                  </a:lnTo>
                  <a:lnTo>
                    <a:pt x="183" y="135"/>
                  </a:lnTo>
                  <a:lnTo>
                    <a:pt x="179" y="120"/>
                  </a:lnTo>
                  <a:lnTo>
                    <a:pt x="176" y="104"/>
                  </a:lnTo>
                  <a:lnTo>
                    <a:pt x="168" y="89"/>
                  </a:lnTo>
                  <a:lnTo>
                    <a:pt x="161" y="74"/>
                  </a:lnTo>
                  <a:lnTo>
                    <a:pt x="144" y="70"/>
                  </a:lnTo>
                  <a:lnTo>
                    <a:pt x="128" y="65"/>
                  </a:lnTo>
                  <a:lnTo>
                    <a:pt x="126" y="59"/>
                  </a:lnTo>
                  <a:lnTo>
                    <a:pt x="124" y="52"/>
                  </a:lnTo>
                  <a:lnTo>
                    <a:pt x="115" y="44"/>
                  </a:lnTo>
                  <a:lnTo>
                    <a:pt x="107" y="37"/>
                  </a:lnTo>
                  <a:lnTo>
                    <a:pt x="105" y="30"/>
                  </a:lnTo>
                  <a:lnTo>
                    <a:pt x="105" y="24"/>
                  </a:lnTo>
                  <a:lnTo>
                    <a:pt x="98" y="20"/>
                  </a:lnTo>
                  <a:lnTo>
                    <a:pt x="91" y="15"/>
                  </a:lnTo>
                  <a:lnTo>
                    <a:pt x="87" y="9"/>
                  </a:lnTo>
                  <a:lnTo>
                    <a:pt x="83" y="4"/>
                  </a:lnTo>
                  <a:lnTo>
                    <a:pt x="80" y="4"/>
                  </a:lnTo>
                  <a:lnTo>
                    <a:pt x="78" y="6"/>
                  </a:lnTo>
                  <a:lnTo>
                    <a:pt x="76" y="8"/>
                  </a:lnTo>
                  <a:lnTo>
                    <a:pt x="76" y="9"/>
                  </a:lnTo>
                  <a:lnTo>
                    <a:pt x="76" y="13"/>
                  </a:lnTo>
                  <a:lnTo>
                    <a:pt x="74" y="15"/>
                  </a:lnTo>
                  <a:lnTo>
                    <a:pt x="63" y="8"/>
                  </a:lnTo>
                  <a:lnTo>
                    <a:pt x="52" y="0"/>
                  </a:lnTo>
                  <a:lnTo>
                    <a:pt x="46" y="4"/>
                  </a:lnTo>
                  <a:lnTo>
                    <a:pt x="44" y="9"/>
                  </a:lnTo>
                  <a:lnTo>
                    <a:pt x="43" y="13"/>
                  </a:lnTo>
                  <a:lnTo>
                    <a:pt x="43" y="19"/>
                  </a:lnTo>
                  <a:lnTo>
                    <a:pt x="44" y="30"/>
                  </a:lnTo>
                  <a:lnTo>
                    <a:pt x="46" y="43"/>
                  </a:lnTo>
                  <a:lnTo>
                    <a:pt x="39" y="54"/>
                  </a:lnTo>
                  <a:lnTo>
                    <a:pt x="31" y="65"/>
                  </a:lnTo>
                  <a:lnTo>
                    <a:pt x="30" y="74"/>
                  </a:lnTo>
                  <a:lnTo>
                    <a:pt x="26" y="81"/>
                  </a:lnTo>
                  <a:lnTo>
                    <a:pt x="19" y="81"/>
                  </a:lnTo>
                  <a:lnTo>
                    <a:pt x="13" y="81"/>
                  </a:lnTo>
                  <a:lnTo>
                    <a:pt x="6" y="93"/>
                  </a:lnTo>
                  <a:lnTo>
                    <a:pt x="0" y="105"/>
                  </a:lnTo>
                  <a:lnTo>
                    <a:pt x="17" y="133"/>
                  </a:lnTo>
                  <a:lnTo>
                    <a:pt x="31" y="155"/>
                  </a:lnTo>
                  <a:lnTo>
                    <a:pt x="24" y="159"/>
                  </a:lnTo>
                  <a:lnTo>
                    <a:pt x="19" y="161"/>
                  </a:lnTo>
                  <a:lnTo>
                    <a:pt x="15" y="165"/>
                  </a:lnTo>
                  <a:lnTo>
                    <a:pt x="13" y="168"/>
                  </a:lnTo>
                  <a:lnTo>
                    <a:pt x="11" y="178"/>
                  </a:lnTo>
                  <a:lnTo>
                    <a:pt x="11" y="190"/>
                  </a:lnTo>
                  <a:lnTo>
                    <a:pt x="19" y="190"/>
                  </a:lnTo>
                  <a:lnTo>
                    <a:pt x="28" y="192"/>
                  </a:lnTo>
                  <a:lnTo>
                    <a:pt x="30" y="211"/>
                  </a:lnTo>
                  <a:lnTo>
                    <a:pt x="35" y="229"/>
                  </a:lnTo>
                  <a:lnTo>
                    <a:pt x="41" y="235"/>
                  </a:lnTo>
                  <a:lnTo>
                    <a:pt x="46" y="237"/>
                  </a:lnTo>
                  <a:lnTo>
                    <a:pt x="50" y="239"/>
                  </a:lnTo>
                  <a:lnTo>
                    <a:pt x="56" y="240"/>
                  </a:lnTo>
                  <a:lnTo>
                    <a:pt x="65" y="240"/>
                  </a:lnTo>
                  <a:lnTo>
                    <a:pt x="72" y="242"/>
                  </a:lnTo>
                  <a:lnTo>
                    <a:pt x="78" y="246"/>
                  </a:lnTo>
                  <a:lnTo>
                    <a:pt x="80" y="251"/>
                  </a:lnTo>
                  <a:lnTo>
                    <a:pt x="87" y="266"/>
                  </a:lnTo>
                  <a:lnTo>
                    <a:pt x="94" y="283"/>
                  </a:lnTo>
                  <a:lnTo>
                    <a:pt x="104" y="287"/>
                  </a:lnTo>
                  <a:lnTo>
                    <a:pt x="113" y="292"/>
                  </a:lnTo>
                  <a:lnTo>
                    <a:pt x="118" y="299"/>
                  </a:lnTo>
                  <a:lnTo>
                    <a:pt x="120" y="307"/>
                  </a:lnTo>
                  <a:lnTo>
                    <a:pt x="126" y="309"/>
                  </a:lnTo>
                  <a:lnTo>
                    <a:pt x="131" y="309"/>
                  </a:lnTo>
                  <a:lnTo>
                    <a:pt x="139" y="307"/>
                  </a:lnTo>
                  <a:lnTo>
                    <a:pt x="146" y="303"/>
                  </a:lnTo>
                  <a:lnTo>
                    <a:pt x="144" y="298"/>
                  </a:lnTo>
                  <a:lnTo>
                    <a:pt x="142" y="292"/>
                  </a:lnTo>
                  <a:lnTo>
                    <a:pt x="137" y="288"/>
                  </a:lnTo>
                  <a:lnTo>
                    <a:pt x="133" y="287"/>
                  </a:lnTo>
                  <a:lnTo>
                    <a:pt x="128" y="285"/>
                  </a:lnTo>
                  <a:lnTo>
                    <a:pt x="124" y="283"/>
                  </a:lnTo>
                  <a:lnTo>
                    <a:pt x="122" y="281"/>
                  </a:lnTo>
                  <a:lnTo>
                    <a:pt x="122" y="277"/>
                  </a:lnTo>
                  <a:lnTo>
                    <a:pt x="140" y="279"/>
                  </a:lnTo>
                  <a:lnTo>
                    <a:pt x="159" y="283"/>
                  </a:lnTo>
                  <a:lnTo>
                    <a:pt x="161" y="279"/>
                  </a:lnTo>
                  <a:lnTo>
                    <a:pt x="155" y="274"/>
                  </a:lnTo>
                  <a:lnTo>
                    <a:pt x="153" y="270"/>
                  </a:lnTo>
                  <a:lnTo>
                    <a:pt x="153" y="266"/>
                  </a:lnTo>
                  <a:lnTo>
                    <a:pt x="153" y="263"/>
                  </a:lnTo>
                  <a:lnTo>
                    <a:pt x="157" y="259"/>
                  </a:lnTo>
                  <a:lnTo>
                    <a:pt x="177" y="263"/>
                  </a:lnTo>
                  <a:lnTo>
                    <a:pt x="205" y="26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6" name="Freeform 64"/>
            <p:cNvSpPr>
              <a:spLocks noEditPoints="1"/>
            </p:cNvSpPr>
            <p:nvPr/>
          </p:nvSpPr>
          <p:spPr bwMode="auto">
            <a:xfrm>
              <a:off x="6419750" y="2073689"/>
              <a:ext cx="224892" cy="319082"/>
            </a:xfrm>
            <a:custGeom>
              <a:avLst/>
              <a:gdLst>
                <a:gd name="T0" fmla="*/ 34 w 431"/>
                <a:gd name="T1" fmla="*/ 420 h 627"/>
                <a:gd name="T2" fmla="*/ 120 w 431"/>
                <a:gd name="T3" fmla="*/ 490 h 627"/>
                <a:gd name="T4" fmla="*/ 180 w 431"/>
                <a:gd name="T5" fmla="*/ 531 h 627"/>
                <a:gd name="T6" fmla="*/ 216 w 431"/>
                <a:gd name="T7" fmla="*/ 549 h 627"/>
                <a:gd name="T8" fmla="*/ 235 w 431"/>
                <a:gd name="T9" fmla="*/ 566 h 627"/>
                <a:gd name="T10" fmla="*/ 268 w 431"/>
                <a:gd name="T11" fmla="*/ 588 h 627"/>
                <a:gd name="T12" fmla="*/ 303 w 431"/>
                <a:gd name="T13" fmla="*/ 618 h 627"/>
                <a:gd name="T14" fmla="*/ 337 w 431"/>
                <a:gd name="T15" fmla="*/ 625 h 627"/>
                <a:gd name="T16" fmla="*/ 329 w 431"/>
                <a:gd name="T17" fmla="*/ 605 h 627"/>
                <a:gd name="T18" fmla="*/ 329 w 431"/>
                <a:gd name="T19" fmla="*/ 579 h 627"/>
                <a:gd name="T20" fmla="*/ 325 w 431"/>
                <a:gd name="T21" fmla="*/ 542 h 627"/>
                <a:gd name="T22" fmla="*/ 316 w 431"/>
                <a:gd name="T23" fmla="*/ 510 h 627"/>
                <a:gd name="T24" fmla="*/ 300 w 431"/>
                <a:gd name="T25" fmla="*/ 483 h 627"/>
                <a:gd name="T26" fmla="*/ 285 w 431"/>
                <a:gd name="T27" fmla="*/ 459 h 627"/>
                <a:gd name="T28" fmla="*/ 266 w 431"/>
                <a:gd name="T29" fmla="*/ 449 h 627"/>
                <a:gd name="T30" fmla="*/ 270 w 431"/>
                <a:gd name="T31" fmla="*/ 438 h 627"/>
                <a:gd name="T32" fmla="*/ 290 w 431"/>
                <a:gd name="T33" fmla="*/ 387 h 627"/>
                <a:gd name="T34" fmla="*/ 290 w 431"/>
                <a:gd name="T35" fmla="*/ 376 h 627"/>
                <a:gd name="T36" fmla="*/ 268 w 431"/>
                <a:gd name="T37" fmla="*/ 355 h 627"/>
                <a:gd name="T38" fmla="*/ 244 w 431"/>
                <a:gd name="T39" fmla="*/ 337 h 627"/>
                <a:gd name="T40" fmla="*/ 235 w 431"/>
                <a:gd name="T41" fmla="*/ 289 h 627"/>
                <a:gd name="T42" fmla="*/ 250 w 431"/>
                <a:gd name="T43" fmla="*/ 261 h 627"/>
                <a:gd name="T44" fmla="*/ 261 w 431"/>
                <a:gd name="T45" fmla="*/ 224 h 627"/>
                <a:gd name="T46" fmla="*/ 216 w 431"/>
                <a:gd name="T47" fmla="*/ 204 h 627"/>
                <a:gd name="T48" fmla="*/ 178 w 431"/>
                <a:gd name="T49" fmla="*/ 163 h 627"/>
                <a:gd name="T50" fmla="*/ 185 w 431"/>
                <a:gd name="T51" fmla="*/ 126 h 627"/>
                <a:gd name="T52" fmla="*/ 202 w 431"/>
                <a:gd name="T53" fmla="*/ 113 h 627"/>
                <a:gd name="T54" fmla="*/ 200 w 431"/>
                <a:gd name="T55" fmla="*/ 97 h 627"/>
                <a:gd name="T56" fmla="*/ 168 w 431"/>
                <a:gd name="T57" fmla="*/ 80 h 627"/>
                <a:gd name="T58" fmla="*/ 150 w 431"/>
                <a:gd name="T59" fmla="*/ 85 h 627"/>
                <a:gd name="T60" fmla="*/ 126 w 431"/>
                <a:gd name="T61" fmla="*/ 74 h 627"/>
                <a:gd name="T62" fmla="*/ 106 w 431"/>
                <a:gd name="T63" fmla="*/ 63 h 627"/>
                <a:gd name="T64" fmla="*/ 67 w 431"/>
                <a:gd name="T65" fmla="*/ 98 h 627"/>
                <a:gd name="T66" fmla="*/ 41 w 431"/>
                <a:gd name="T67" fmla="*/ 111 h 627"/>
                <a:gd name="T68" fmla="*/ 47 w 431"/>
                <a:gd name="T69" fmla="*/ 148 h 627"/>
                <a:gd name="T70" fmla="*/ 63 w 431"/>
                <a:gd name="T71" fmla="*/ 193 h 627"/>
                <a:gd name="T72" fmla="*/ 56 w 431"/>
                <a:gd name="T73" fmla="*/ 230 h 627"/>
                <a:gd name="T74" fmla="*/ 21 w 431"/>
                <a:gd name="T75" fmla="*/ 248 h 627"/>
                <a:gd name="T76" fmla="*/ 11 w 431"/>
                <a:gd name="T77" fmla="*/ 265 h 627"/>
                <a:gd name="T78" fmla="*/ 19 w 431"/>
                <a:gd name="T79" fmla="*/ 283 h 627"/>
                <a:gd name="T80" fmla="*/ 52 w 431"/>
                <a:gd name="T81" fmla="*/ 283 h 627"/>
                <a:gd name="T82" fmla="*/ 69 w 431"/>
                <a:gd name="T83" fmla="*/ 285 h 627"/>
                <a:gd name="T84" fmla="*/ 58 w 431"/>
                <a:gd name="T85" fmla="*/ 337 h 627"/>
                <a:gd name="T86" fmla="*/ 39 w 431"/>
                <a:gd name="T87" fmla="*/ 366 h 627"/>
                <a:gd name="T88" fmla="*/ 13 w 431"/>
                <a:gd name="T89" fmla="*/ 390 h 627"/>
                <a:gd name="T90" fmla="*/ 412 w 431"/>
                <a:gd name="T91" fmla="*/ 0 h 627"/>
                <a:gd name="T92" fmla="*/ 416 w 431"/>
                <a:gd name="T93" fmla="*/ 8 h 627"/>
                <a:gd name="T94" fmla="*/ 337 w 431"/>
                <a:gd name="T95" fmla="*/ 37 h 627"/>
                <a:gd name="T96" fmla="*/ 361 w 431"/>
                <a:gd name="T97" fmla="*/ 37 h 627"/>
                <a:gd name="T98" fmla="*/ 379 w 431"/>
                <a:gd name="T99" fmla="*/ 43 h 627"/>
                <a:gd name="T100" fmla="*/ 340 w 431"/>
                <a:gd name="T101" fmla="*/ 45 h 627"/>
                <a:gd name="T102" fmla="*/ 331 w 431"/>
                <a:gd name="T103" fmla="*/ 36 h 6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31"/>
                <a:gd name="T157" fmla="*/ 0 h 627"/>
                <a:gd name="T158" fmla="*/ 431 w 431"/>
                <a:gd name="T159" fmla="*/ 627 h 6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31" h="627">
                  <a:moveTo>
                    <a:pt x="0" y="394"/>
                  </a:moveTo>
                  <a:lnTo>
                    <a:pt x="8" y="400"/>
                  </a:lnTo>
                  <a:lnTo>
                    <a:pt x="19" y="407"/>
                  </a:lnTo>
                  <a:lnTo>
                    <a:pt x="34" y="420"/>
                  </a:lnTo>
                  <a:lnTo>
                    <a:pt x="52" y="442"/>
                  </a:lnTo>
                  <a:lnTo>
                    <a:pt x="76" y="457"/>
                  </a:lnTo>
                  <a:lnTo>
                    <a:pt x="100" y="470"/>
                  </a:lnTo>
                  <a:lnTo>
                    <a:pt x="120" y="490"/>
                  </a:lnTo>
                  <a:lnTo>
                    <a:pt x="137" y="503"/>
                  </a:lnTo>
                  <a:lnTo>
                    <a:pt x="152" y="514"/>
                  </a:lnTo>
                  <a:lnTo>
                    <a:pt x="168" y="522"/>
                  </a:lnTo>
                  <a:lnTo>
                    <a:pt x="180" y="531"/>
                  </a:lnTo>
                  <a:lnTo>
                    <a:pt x="191" y="538"/>
                  </a:lnTo>
                  <a:lnTo>
                    <a:pt x="198" y="544"/>
                  </a:lnTo>
                  <a:lnTo>
                    <a:pt x="205" y="546"/>
                  </a:lnTo>
                  <a:lnTo>
                    <a:pt x="216" y="549"/>
                  </a:lnTo>
                  <a:lnTo>
                    <a:pt x="220" y="549"/>
                  </a:lnTo>
                  <a:lnTo>
                    <a:pt x="226" y="557"/>
                  </a:lnTo>
                  <a:lnTo>
                    <a:pt x="229" y="562"/>
                  </a:lnTo>
                  <a:lnTo>
                    <a:pt x="235" y="566"/>
                  </a:lnTo>
                  <a:lnTo>
                    <a:pt x="239" y="568"/>
                  </a:lnTo>
                  <a:lnTo>
                    <a:pt x="248" y="571"/>
                  </a:lnTo>
                  <a:lnTo>
                    <a:pt x="257" y="577"/>
                  </a:lnTo>
                  <a:lnTo>
                    <a:pt x="268" y="588"/>
                  </a:lnTo>
                  <a:lnTo>
                    <a:pt x="277" y="601"/>
                  </a:lnTo>
                  <a:lnTo>
                    <a:pt x="283" y="608"/>
                  </a:lnTo>
                  <a:lnTo>
                    <a:pt x="290" y="612"/>
                  </a:lnTo>
                  <a:lnTo>
                    <a:pt x="303" y="618"/>
                  </a:lnTo>
                  <a:lnTo>
                    <a:pt x="318" y="621"/>
                  </a:lnTo>
                  <a:lnTo>
                    <a:pt x="327" y="625"/>
                  </a:lnTo>
                  <a:lnTo>
                    <a:pt x="335" y="627"/>
                  </a:lnTo>
                  <a:lnTo>
                    <a:pt x="337" y="625"/>
                  </a:lnTo>
                  <a:lnTo>
                    <a:pt x="337" y="621"/>
                  </a:lnTo>
                  <a:lnTo>
                    <a:pt x="335" y="618"/>
                  </a:lnTo>
                  <a:lnTo>
                    <a:pt x="333" y="614"/>
                  </a:lnTo>
                  <a:lnTo>
                    <a:pt x="329" y="605"/>
                  </a:lnTo>
                  <a:lnTo>
                    <a:pt x="327" y="599"/>
                  </a:lnTo>
                  <a:lnTo>
                    <a:pt x="329" y="590"/>
                  </a:lnTo>
                  <a:lnTo>
                    <a:pt x="331" y="584"/>
                  </a:lnTo>
                  <a:lnTo>
                    <a:pt x="329" y="579"/>
                  </a:lnTo>
                  <a:lnTo>
                    <a:pt x="322" y="568"/>
                  </a:lnTo>
                  <a:lnTo>
                    <a:pt x="327" y="555"/>
                  </a:lnTo>
                  <a:lnTo>
                    <a:pt x="327" y="549"/>
                  </a:lnTo>
                  <a:lnTo>
                    <a:pt x="325" y="542"/>
                  </a:lnTo>
                  <a:lnTo>
                    <a:pt x="320" y="531"/>
                  </a:lnTo>
                  <a:lnTo>
                    <a:pt x="322" y="522"/>
                  </a:lnTo>
                  <a:lnTo>
                    <a:pt x="322" y="516"/>
                  </a:lnTo>
                  <a:lnTo>
                    <a:pt x="316" y="510"/>
                  </a:lnTo>
                  <a:lnTo>
                    <a:pt x="309" y="503"/>
                  </a:lnTo>
                  <a:lnTo>
                    <a:pt x="307" y="494"/>
                  </a:lnTo>
                  <a:lnTo>
                    <a:pt x="303" y="488"/>
                  </a:lnTo>
                  <a:lnTo>
                    <a:pt x="300" y="483"/>
                  </a:lnTo>
                  <a:lnTo>
                    <a:pt x="296" y="477"/>
                  </a:lnTo>
                  <a:lnTo>
                    <a:pt x="287" y="470"/>
                  </a:lnTo>
                  <a:lnTo>
                    <a:pt x="283" y="464"/>
                  </a:lnTo>
                  <a:lnTo>
                    <a:pt x="285" y="459"/>
                  </a:lnTo>
                  <a:lnTo>
                    <a:pt x="285" y="453"/>
                  </a:lnTo>
                  <a:lnTo>
                    <a:pt x="285" y="449"/>
                  </a:lnTo>
                  <a:lnTo>
                    <a:pt x="281" y="449"/>
                  </a:lnTo>
                  <a:lnTo>
                    <a:pt x="266" y="449"/>
                  </a:lnTo>
                  <a:lnTo>
                    <a:pt x="261" y="449"/>
                  </a:lnTo>
                  <a:lnTo>
                    <a:pt x="259" y="444"/>
                  </a:lnTo>
                  <a:lnTo>
                    <a:pt x="261" y="440"/>
                  </a:lnTo>
                  <a:lnTo>
                    <a:pt x="270" y="438"/>
                  </a:lnTo>
                  <a:lnTo>
                    <a:pt x="276" y="433"/>
                  </a:lnTo>
                  <a:lnTo>
                    <a:pt x="279" y="411"/>
                  </a:lnTo>
                  <a:lnTo>
                    <a:pt x="287" y="388"/>
                  </a:lnTo>
                  <a:lnTo>
                    <a:pt x="290" y="387"/>
                  </a:lnTo>
                  <a:lnTo>
                    <a:pt x="296" y="387"/>
                  </a:lnTo>
                  <a:lnTo>
                    <a:pt x="298" y="383"/>
                  </a:lnTo>
                  <a:lnTo>
                    <a:pt x="301" y="379"/>
                  </a:lnTo>
                  <a:lnTo>
                    <a:pt x="290" y="376"/>
                  </a:lnTo>
                  <a:lnTo>
                    <a:pt x="279" y="370"/>
                  </a:lnTo>
                  <a:lnTo>
                    <a:pt x="276" y="363"/>
                  </a:lnTo>
                  <a:lnTo>
                    <a:pt x="272" y="359"/>
                  </a:lnTo>
                  <a:lnTo>
                    <a:pt x="268" y="355"/>
                  </a:lnTo>
                  <a:lnTo>
                    <a:pt x="265" y="353"/>
                  </a:lnTo>
                  <a:lnTo>
                    <a:pt x="255" y="352"/>
                  </a:lnTo>
                  <a:lnTo>
                    <a:pt x="250" y="348"/>
                  </a:lnTo>
                  <a:lnTo>
                    <a:pt x="244" y="337"/>
                  </a:lnTo>
                  <a:lnTo>
                    <a:pt x="242" y="326"/>
                  </a:lnTo>
                  <a:lnTo>
                    <a:pt x="240" y="313"/>
                  </a:lnTo>
                  <a:lnTo>
                    <a:pt x="240" y="302"/>
                  </a:lnTo>
                  <a:lnTo>
                    <a:pt x="235" y="289"/>
                  </a:lnTo>
                  <a:lnTo>
                    <a:pt x="235" y="278"/>
                  </a:lnTo>
                  <a:lnTo>
                    <a:pt x="237" y="272"/>
                  </a:lnTo>
                  <a:lnTo>
                    <a:pt x="240" y="268"/>
                  </a:lnTo>
                  <a:lnTo>
                    <a:pt x="250" y="261"/>
                  </a:lnTo>
                  <a:lnTo>
                    <a:pt x="261" y="252"/>
                  </a:lnTo>
                  <a:lnTo>
                    <a:pt x="263" y="244"/>
                  </a:lnTo>
                  <a:lnTo>
                    <a:pt x="263" y="233"/>
                  </a:lnTo>
                  <a:lnTo>
                    <a:pt x="261" y="224"/>
                  </a:lnTo>
                  <a:lnTo>
                    <a:pt x="255" y="218"/>
                  </a:lnTo>
                  <a:lnTo>
                    <a:pt x="242" y="213"/>
                  </a:lnTo>
                  <a:lnTo>
                    <a:pt x="226" y="207"/>
                  </a:lnTo>
                  <a:lnTo>
                    <a:pt x="216" y="204"/>
                  </a:lnTo>
                  <a:lnTo>
                    <a:pt x="207" y="200"/>
                  </a:lnTo>
                  <a:lnTo>
                    <a:pt x="196" y="191"/>
                  </a:lnTo>
                  <a:lnTo>
                    <a:pt x="187" y="180"/>
                  </a:lnTo>
                  <a:lnTo>
                    <a:pt x="178" y="163"/>
                  </a:lnTo>
                  <a:lnTo>
                    <a:pt x="172" y="148"/>
                  </a:lnTo>
                  <a:lnTo>
                    <a:pt x="170" y="135"/>
                  </a:lnTo>
                  <a:lnTo>
                    <a:pt x="172" y="126"/>
                  </a:lnTo>
                  <a:lnTo>
                    <a:pt x="185" y="126"/>
                  </a:lnTo>
                  <a:lnTo>
                    <a:pt x="194" y="122"/>
                  </a:lnTo>
                  <a:lnTo>
                    <a:pt x="198" y="121"/>
                  </a:lnTo>
                  <a:lnTo>
                    <a:pt x="200" y="119"/>
                  </a:lnTo>
                  <a:lnTo>
                    <a:pt x="202" y="113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2" y="100"/>
                  </a:lnTo>
                  <a:lnTo>
                    <a:pt x="200" y="97"/>
                  </a:lnTo>
                  <a:lnTo>
                    <a:pt x="194" y="95"/>
                  </a:lnTo>
                  <a:lnTo>
                    <a:pt x="185" y="89"/>
                  </a:lnTo>
                  <a:lnTo>
                    <a:pt x="174" y="84"/>
                  </a:lnTo>
                  <a:lnTo>
                    <a:pt x="168" y="80"/>
                  </a:lnTo>
                  <a:lnTo>
                    <a:pt x="163" y="78"/>
                  </a:lnTo>
                  <a:lnTo>
                    <a:pt x="159" y="78"/>
                  </a:lnTo>
                  <a:lnTo>
                    <a:pt x="156" y="80"/>
                  </a:lnTo>
                  <a:lnTo>
                    <a:pt x="150" y="85"/>
                  </a:lnTo>
                  <a:lnTo>
                    <a:pt x="144" y="89"/>
                  </a:lnTo>
                  <a:lnTo>
                    <a:pt x="139" y="82"/>
                  </a:lnTo>
                  <a:lnTo>
                    <a:pt x="135" y="76"/>
                  </a:lnTo>
                  <a:lnTo>
                    <a:pt x="126" y="74"/>
                  </a:lnTo>
                  <a:lnTo>
                    <a:pt x="117" y="72"/>
                  </a:lnTo>
                  <a:lnTo>
                    <a:pt x="111" y="71"/>
                  </a:lnTo>
                  <a:lnTo>
                    <a:pt x="107" y="69"/>
                  </a:lnTo>
                  <a:lnTo>
                    <a:pt x="106" y="63"/>
                  </a:lnTo>
                  <a:lnTo>
                    <a:pt x="104" y="58"/>
                  </a:lnTo>
                  <a:lnTo>
                    <a:pt x="83" y="84"/>
                  </a:lnTo>
                  <a:lnTo>
                    <a:pt x="76" y="93"/>
                  </a:lnTo>
                  <a:lnTo>
                    <a:pt x="67" y="98"/>
                  </a:lnTo>
                  <a:lnTo>
                    <a:pt x="54" y="104"/>
                  </a:lnTo>
                  <a:lnTo>
                    <a:pt x="48" y="106"/>
                  </a:lnTo>
                  <a:lnTo>
                    <a:pt x="45" y="108"/>
                  </a:lnTo>
                  <a:lnTo>
                    <a:pt x="41" y="111"/>
                  </a:lnTo>
                  <a:lnTo>
                    <a:pt x="39" y="115"/>
                  </a:lnTo>
                  <a:lnTo>
                    <a:pt x="39" y="126"/>
                  </a:lnTo>
                  <a:lnTo>
                    <a:pt x="43" y="137"/>
                  </a:lnTo>
                  <a:lnTo>
                    <a:pt x="47" y="148"/>
                  </a:lnTo>
                  <a:lnTo>
                    <a:pt x="54" y="159"/>
                  </a:lnTo>
                  <a:lnTo>
                    <a:pt x="58" y="172"/>
                  </a:lnTo>
                  <a:lnTo>
                    <a:pt x="63" y="185"/>
                  </a:lnTo>
                  <a:lnTo>
                    <a:pt x="63" y="193"/>
                  </a:lnTo>
                  <a:lnTo>
                    <a:pt x="63" y="202"/>
                  </a:lnTo>
                  <a:lnTo>
                    <a:pt x="63" y="211"/>
                  </a:lnTo>
                  <a:lnTo>
                    <a:pt x="61" y="220"/>
                  </a:lnTo>
                  <a:lnTo>
                    <a:pt x="56" y="230"/>
                  </a:lnTo>
                  <a:lnTo>
                    <a:pt x="48" y="235"/>
                  </a:lnTo>
                  <a:lnTo>
                    <a:pt x="39" y="239"/>
                  </a:lnTo>
                  <a:lnTo>
                    <a:pt x="30" y="242"/>
                  </a:lnTo>
                  <a:lnTo>
                    <a:pt x="21" y="248"/>
                  </a:lnTo>
                  <a:lnTo>
                    <a:pt x="15" y="254"/>
                  </a:lnTo>
                  <a:lnTo>
                    <a:pt x="13" y="255"/>
                  </a:lnTo>
                  <a:lnTo>
                    <a:pt x="11" y="259"/>
                  </a:lnTo>
                  <a:lnTo>
                    <a:pt x="11" y="265"/>
                  </a:lnTo>
                  <a:lnTo>
                    <a:pt x="11" y="270"/>
                  </a:lnTo>
                  <a:lnTo>
                    <a:pt x="13" y="276"/>
                  </a:lnTo>
                  <a:lnTo>
                    <a:pt x="15" y="279"/>
                  </a:lnTo>
                  <a:lnTo>
                    <a:pt x="19" y="283"/>
                  </a:lnTo>
                  <a:lnTo>
                    <a:pt x="23" y="285"/>
                  </a:lnTo>
                  <a:lnTo>
                    <a:pt x="32" y="285"/>
                  </a:lnTo>
                  <a:lnTo>
                    <a:pt x="43" y="285"/>
                  </a:lnTo>
                  <a:lnTo>
                    <a:pt x="52" y="283"/>
                  </a:lnTo>
                  <a:lnTo>
                    <a:pt x="61" y="283"/>
                  </a:lnTo>
                  <a:lnTo>
                    <a:pt x="65" y="283"/>
                  </a:lnTo>
                  <a:lnTo>
                    <a:pt x="67" y="283"/>
                  </a:lnTo>
                  <a:lnTo>
                    <a:pt x="69" y="285"/>
                  </a:lnTo>
                  <a:lnTo>
                    <a:pt x="69" y="289"/>
                  </a:lnTo>
                  <a:lnTo>
                    <a:pt x="67" y="311"/>
                  </a:lnTo>
                  <a:lnTo>
                    <a:pt x="65" y="333"/>
                  </a:lnTo>
                  <a:lnTo>
                    <a:pt x="58" y="337"/>
                  </a:lnTo>
                  <a:lnTo>
                    <a:pt x="52" y="342"/>
                  </a:lnTo>
                  <a:lnTo>
                    <a:pt x="47" y="350"/>
                  </a:lnTo>
                  <a:lnTo>
                    <a:pt x="43" y="357"/>
                  </a:lnTo>
                  <a:lnTo>
                    <a:pt x="39" y="366"/>
                  </a:lnTo>
                  <a:lnTo>
                    <a:pt x="34" y="374"/>
                  </a:lnTo>
                  <a:lnTo>
                    <a:pt x="30" y="379"/>
                  </a:lnTo>
                  <a:lnTo>
                    <a:pt x="24" y="383"/>
                  </a:lnTo>
                  <a:lnTo>
                    <a:pt x="13" y="390"/>
                  </a:lnTo>
                  <a:lnTo>
                    <a:pt x="0" y="394"/>
                  </a:lnTo>
                  <a:close/>
                  <a:moveTo>
                    <a:pt x="399" y="10"/>
                  </a:moveTo>
                  <a:lnTo>
                    <a:pt x="405" y="4"/>
                  </a:lnTo>
                  <a:lnTo>
                    <a:pt x="412" y="0"/>
                  </a:lnTo>
                  <a:lnTo>
                    <a:pt x="422" y="0"/>
                  </a:lnTo>
                  <a:lnTo>
                    <a:pt x="431" y="0"/>
                  </a:lnTo>
                  <a:lnTo>
                    <a:pt x="423" y="6"/>
                  </a:lnTo>
                  <a:lnTo>
                    <a:pt x="416" y="8"/>
                  </a:lnTo>
                  <a:lnTo>
                    <a:pt x="409" y="10"/>
                  </a:lnTo>
                  <a:lnTo>
                    <a:pt x="399" y="10"/>
                  </a:lnTo>
                  <a:close/>
                  <a:moveTo>
                    <a:pt x="335" y="32"/>
                  </a:moveTo>
                  <a:lnTo>
                    <a:pt x="337" y="37"/>
                  </a:lnTo>
                  <a:lnTo>
                    <a:pt x="342" y="39"/>
                  </a:lnTo>
                  <a:lnTo>
                    <a:pt x="348" y="39"/>
                  </a:lnTo>
                  <a:lnTo>
                    <a:pt x="353" y="39"/>
                  </a:lnTo>
                  <a:lnTo>
                    <a:pt x="361" y="37"/>
                  </a:lnTo>
                  <a:lnTo>
                    <a:pt x="368" y="37"/>
                  </a:lnTo>
                  <a:lnTo>
                    <a:pt x="375" y="39"/>
                  </a:lnTo>
                  <a:lnTo>
                    <a:pt x="381" y="41"/>
                  </a:lnTo>
                  <a:lnTo>
                    <a:pt x="379" y="43"/>
                  </a:lnTo>
                  <a:lnTo>
                    <a:pt x="379" y="47"/>
                  </a:lnTo>
                  <a:lnTo>
                    <a:pt x="364" y="47"/>
                  </a:lnTo>
                  <a:lnTo>
                    <a:pt x="348" y="47"/>
                  </a:lnTo>
                  <a:lnTo>
                    <a:pt x="340" y="45"/>
                  </a:lnTo>
                  <a:lnTo>
                    <a:pt x="335" y="45"/>
                  </a:lnTo>
                  <a:lnTo>
                    <a:pt x="329" y="43"/>
                  </a:lnTo>
                  <a:lnTo>
                    <a:pt x="325" y="39"/>
                  </a:lnTo>
                  <a:lnTo>
                    <a:pt x="331" y="36"/>
                  </a:lnTo>
                  <a:lnTo>
                    <a:pt x="335" y="3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7" name="Freeform 65"/>
            <p:cNvSpPr>
              <a:spLocks noEditPoints="1"/>
            </p:cNvSpPr>
            <p:nvPr/>
          </p:nvSpPr>
          <p:spPr bwMode="auto">
            <a:xfrm>
              <a:off x="6222512" y="1785141"/>
              <a:ext cx="251504" cy="489055"/>
            </a:xfrm>
            <a:custGeom>
              <a:avLst/>
              <a:gdLst>
                <a:gd name="T0" fmla="*/ 203 w 482"/>
                <a:gd name="T1" fmla="*/ 409 h 961"/>
                <a:gd name="T2" fmla="*/ 195 w 482"/>
                <a:gd name="T3" fmla="*/ 401 h 961"/>
                <a:gd name="T4" fmla="*/ 155 w 482"/>
                <a:gd name="T5" fmla="*/ 362 h 961"/>
                <a:gd name="T6" fmla="*/ 192 w 482"/>
                <a:gd name="T7" fmla="*/ 301 h 961"/>
                <a:gd name="T8" fmla="*/ 188 w 482"/>
                <a:gd name="T9" fmla="*/ 338 h 961"/>
                <a:gd name="T10" fmla="*/ 223 w 482"/>
                <a:gd name="T11" fmla="*/ 384 h 961"/>
                <a:gd name="T12" fmla="*/ 255 w 482"/>
                <a:gd name="T13" fmla="*/ 423 h 961"/>
                <a:gd name="T14" fmla="*/ 271 w 482"/>
                <a:gd name="T15" fmla="*/ 433 h 961"/>
                <a:gd name="T16" fmla="*/ 256 w 482"/>
                <a:gd name="T17" fmla="*/ 508 h 961"/>
                <a:gd name="T18" fmla="*/ 280 w 482"/>
                <a:gd name="T19" fmla="*/ 614 h 961"/>
                <a:gd name="T20" fmla="*/ 319 w 482"/>
                <a:gd name="T21" fmla="*/ 750 h 961"/>
                <a:gd name="T22" fmla="*/ 288 w 482"/>
                <a:gd name="T23" fmla="*/ 804 h 961"/>
                <a:gd name="T24" fmla="*/ 319 w 482"/>
                <a:gd name="T25" fmla="*/ 835 h 961"/>
                <a:gd name="T26" fmla="*/ 328 w 482"/>
                <a:gd name="T27" fmla="*/ 870 h 961"/>
                <a:gd name="T28" fmla="*/ 369 w 482"/>
                <a:gd name="T29" fmla="*/ 952 h 961"/>
                <a:gd name="T30" fmla="*/ 417 w 482"/>
                <a:gd name="T31" fmla="*/ 933 h 961"/>
                <a:gd name="T32" fmla="*/ 447 w 482"/>
                <a:gd name="T33" fmla="*/ 856 h 961"/>
                <a:gd name="T34" fmla="*/ 410 w 482"/>
                <a:gd name="T35" fmla="*/ 852 h 961"/>
                <a:gd name="T36" fmla="*/ 389 w 482"/>
                <a:gd name="T37" fmla="*/ 826 h 961"/>
                <a:gd name="T38" fmla="*/ 434 w 482"/>
                <a:gd name="T39" fmla="*/ 797 h 961"/>
                <a:gd name="T40" fmla="*/ 432 w 482"/>
                <a:gd name="T41" fmla="*/ 726 h 961"/>
                <a:gd name="T42" fmla="*/ 426 w 482"/>
                <a:gd name="T43" fmla="*/ 673 h 961"/>
                <a:gd name="T44" fmla="*/ 480 w 482"/>
                <a:gd name="T45" fmla="*/ 614 h 961"/>
                <a:gd name="T46" fmla="*/ 450 w 482"/>
                <a:gd name="T47" fmla="*/ 599 h 961"/>
                <a:gd name="T48" fmla="*/ 445 w 482"/>
                <a:gd name="T49" fmla="*/ 623 h 961"/>
                <a:gd name="T50" fmla="*/ 395 w 482"/>
                <a:gd name="T51" fmla="*/ 582 h 961"/>
                <a:gd name="T52" fmla="*/ 375 w 482"/>
                <a:gd name="T53" fmla="*/ 530 h 961"/>
                <a:gd name="T54" fmla="*/ 362 w 482"/>
                <a:gd name="T55" fmla="*/ 512 h 961"/>
                <a:gd name="T56" fmla="*/ 328 w 482"/>
                <a:gd name="T57" fmla="*/ 468 h 961"/>
                <a:gd name="T58" fmla="*/ 352 w 482"/>
                <a:gd name="T59" fmla="*/ 438 h 961"/>
                <a:gd name="T60" fmla="*/ 373 w 482"/>
                <a:gd name="T61" fmla="*/ 425 h 961"/>
                <a:gd name="T62" fmla="*/ 360 w 482"/>
                <a:gd name="T63" fmla="*/ 386 h 961"/>
                <a:gd name="T64" fmla="*/ 373 w 482"/>
                <a:gd name="T65" fmla="*/ 375 h 961"/>
                <a:gd name="T66" fmla="*/ 389 w 482"/>
                <a:gd name="T67" fmla="*/ 314 h 961"/>
                <a:gd name="T68" fmla="*/ 415 w 482"/>
                <a:gd name="T69" fmla="*/ 251 h 961"/>
                <a:gd name="T70" fmla="*/ 480 w 482"/>
                <a:gd name="T71" fmla="*/ 235 h 961"/>
                <a:gd name="T72" fmla="*/ 452 w 482"/>
                <a:gd name="T73" fmla="*/ 170 h 961"/>
                <a:gd name="T74" fmla="*/ 445 w 482"/>
                <a:gd name="T75" fmla="*/ 128 h 961"/>
                <a:gd name="T76" fmla="*/ 425 w 482"/>
                <a:gd name="T77" fmla="*/ 98 h 961"/>
                <a:gd name="T78" fmla="*/ 419 w 482"/>
                <a:gd name="T79" fmla="*/ 56 h 961"/>
                <a:gd name="T80" fmla="*/ 419 w 482"/>
                <a:gd name="T81" fmla="*/ 19 h 961"/>
                <a:gd name="T82" fmla="*/ 371 w 482"/>
                <a:gd name="T83" fmla="*/ 2 h 961"/>
                <a:gd name="T84" fmla="*/ 351 w 482"/>
                <a:gd name="T85" fmla="*/ 52 h 961"/>
                <a:gd name="T86" fmla="*/ 328 w 482"/>
                <a:gd name="T87" fmla="*/ 117 h 961"/>
                <a:gd name="T88" fmla="*/ 275 w 482"/>
                <a:gd name="T89" fmla="*/ 133 h 961"/>
                <a:gd name="T90" fmla="*/ 214 w 482"/>
                <a:gd name="T91" fmla="*/ 166 h 961"/>
                <a:gd name="T92" fmla="*/ 201 w 482"/>
                <a:gd name="T93" fmla="*/ 96 h 961"/>
                <a:gd name="T94" fmla="*/ 142 w 482"/>
                <a:gd name="T95" fmla="*/ 105 h 961"/>
                <a:gd name="T96" fmla="*/ 85 w 482"/>
                <a:gd name="T97" fmla="*/ 135 h 961"/>
                <a:gd name="T98" fmla="*/ 55 w 482"/>
                <a:gd name="T99" fmla="*/ 178 h 961"/>
                <a:gd name="T100" fmla="*/ 18 w 482"/>
                <a:gd name="T101" fmla="*/ 200 h 961"/>
                <a:gd name="T102" fmla="*/ 0 w 482"/>
                <a:gd name="T103" fmla="*/ 229 h 961"/>
                <a:gd name="T104" fmla="*/ 22 w 482"/>
                <a:gd name="T105" fmla="*/ 257 h 961"/>
                <a:gd name="T106" fmla="*/ 27 w 482"/>
                <a:gd name="T107" fmla="*/ 283 h 961"/>
                <a:gd name="T108" fmla="*/ 75 w 482"/>
                <a:gd name="T109" fmla="*/ 312 h 961"/>
                <a:gd name="T110" fmla="*/ 96 w 482"/>
                <a:gd name="T111" fmla="*/ 346 h 961"/>
                <a:gd name="T112" fmla="*/ 147 w 482"/>
                <a:gd name="T113" fmla="*/ 388 h 961"/>
                <a:gd name="T114" fmla="*/ 425 w 482"/>
                <a:gd name="T115" fmla="*/ 490 h 961"/>
                <a:gd name="T116" fmla="*/ 419 w 482"/>
                <a:gd name="T117" fmla="*/ 553 h 961"/>
                <a:gd name="T118" fmla="*/ 402 w 482"/>
                <a:gd name="T119" fmla="*/ 516 h 961"/>
                <a:gd name="T120" fmla="*/ 415 w 482"/>
                <a:gd name="T121" fmla="*/ 484 h 96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82"/>
                <a:gd name="T184" fmla="*/ 0 h 961"/>
                <a:gd name="T185" fmla="*/ 482 w 482"/>
                <a:gd name="T186" fmla="*/ 961 h 96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82" h="961">
                  <a:moveTo>
                    <a:pt x="190" y="423"/>
                  </a:moveTo>
                  <a:lnTo>
                    <a:pt x="190" y="418"/>
                  </a:lnTo>
                  <a:lnTo>
                    <a:pt x="192" y="412"/>
                  </a:lnTo>
                  <a:lnTo>
                    <a:pt x="194" y="410"/>
                  </a:lnTo>
                  <a:lnTo>
                    <a:pt x="197" y="409"/>
                  </a:lnTo>
                  <a:lnTo>
                    <a:pt x="201" y="409"/>
                  </a:lnTo>
                  <a:lnTo>
                    <a:pt x="203" y="409"/>
                  </a:lnTo>
                  <a:lnTo>
                    <a:pt x="207" y="410"/>
                  </a:lnTo>
                  <a:lnTo>
                    <a:pt x="208" y="414"/>
                  </a:lnTo>
                  <a:lnTo>
                    <a:pt x="212" y="410"/>
                  </a:lnTo>
                  <a:lnTo>
                    <a:pt x="212" y="407"/>
                  </a:lnTo>
                  <a:lnTo>
                    <a:pt x="210" y="405"/>
                  </a:lnTo>
                  <a:lnTo>
                    <a:pt x="207" y="403"/>
                  </a:lnTo>
                  <a:lnTo>
                    <a:pt x="195" y="401"/>
                  </a:lnTo>
                  <a:lnTo>
                    <a:pt x="190" y="401"/>
                  </a:lnTo>
                  <a:lnTo>
                    <a:pt x="177" y="388"/>
                  </a:lnTo>
                  <a:lnTo>
                    <a:pt x="171" y="381"/>
                  </a:lnTo>
                  <a:lnTo>
                    <a:pt x="170" y="373"/>
                  </a:lnTo>
                  <a:lnTo>
                    <a:pt x="168" y="370"/>
                  </a:lnTo>
                  <a:lnTo>
                    <a:pt x="160" y="364"/>
                  </a:lnTo>
                  <a:lnTo>
                    <a:pt x="155" y="362"/>
                  </a:lnTo>
                  <a:lnTo>
                    <a:pt x="151" y="359"/>
                  </a:lnTo>
                  <a:lnTo>
                    <a:pt x="146" y="349"/>
                  </a:lnTo>
                  <a:lnTo>
                    <a:pt x="153" y="336"/>
                  </a:lnTo>
                  <a:lnTo>
                    <a:pt x="170" y="303"/>
                  </a:lnTo>
                  <a:lnTo>
                    <a:pt x="175" y="303"/>
                  </a:lnTo>
                  <a:lnTo>
                    <a:pt x="183" y="305"/>
                  </a:lnTo>
                  <a:lnTo>
                    <a:pt x="192" y="301"/>
                  </a:lnTo>
                  <a:lnTo>
                    <a:pt x="195" y="301"/>
                  </a:lnTo>
                  <a:lnTo>
                    <a:pt x="195" y="307"/>
                  </a:lnTo>
                  <a:lnTo>
                    <a:pt x="192" y="312"/>
                  </a:lnTo>
                  <a:lnTo>
                    <a:pt x="190" y="316"/>
                  </a:lnTo>
                  <a:lnTo>
                    <a:pt x="186" y="318"/>
                  </a:lnTo>
                  <a:lnTo>
                    <a:pt x="186" y="327"/>
                  </a:lnTo>
                  <a:lnTo>
                    <a:pt x="188" y="338"/>
                  </a:lnTo>
                  <a:lnTo>
                    <a:pt x="190" y="349"/>
                  </a:lnTo>
                  <a:lnTo>
                    <a:pt x="195" y="357"/>
                  </a:lnTo>
                  <a:lnTo>
                    <a:pt x="201" y="364"/>
                  </a:lnTo>
                  <a:lnTo>
                    <a:pt x="205" y="370"/>
                  </a:lnTo>
                  <a:lnTo>
                    <a:pt x="210" y="372"/>
                  </a:lnTo>
                  <a:lnTo>
                    <a:pt x="218" y="375"/>
                  </a:lnTo>
                  <a:lnTo>
                    <a:pt x="223" y="384"/>
                  </a:lnTo>
                  <a:lnTo>
                    <a:pt x="231" y="392"/>
                  </a:lnTo>
                  <a:lnTo>
                    <a:pt x="240" y="397"/>
                  </a:lnTo>
                  <a:lnTo>
                    <a:pt x="251" y="401"/>
                  </a:lnTo>
                  <a:lnTo>
                    <a:pt x="255" y="407"/>
                  </a:lnTo>
                  <a:lnTo>
                    <a:pt x="255" y="412"/>
                  </a:lnTo>
                  <a:lnTo>
                    <a:pt x="255" y="420"/>
                  </a:lnTo>
                  <a:lnTo>
                    <a:pt x="255" y="423"/>
                  </a:lnTo>
                  <a:lnTo>
                    <a:pt x="256" y="425"/>
                  </a:lnTo>
                  <a:lnTo>
                    <a:pt x="262" y="423"/>
                  </a:lnTo>
                  <a:lnTo>
                    <a:pt x="264" y="421"/>
                  </a:lnTo>
                  <a:lnTo>
                    <a:pt x="266" y="423"/>
                  </a:lnTo>
                  <a:lnTo>
                    <a:pt x="268" y="423"/>
                  </a:lnTo>
                  <a:lnTo>
                    <a:pt x="269" y="427"/>
                  </a:lnTo>
                  <a:lnTo>
                    <a:pt x="271" y="433"/>
                  </a:lnTo>
                  <a:lnTo>
                    <a:pt x="271" y="436"/>
                  </a:lnTo>
                  <a:lnTo>
                    <a:pt x="269" y="440"/>
                  </a:lnTo>
                  <a:lnTo>
                    <a:pt x="269" y="444"/>
                  </a:lnTo>
                  <a:lnTo>
                    <a:pt x="264" y="451"/>
                  </a:lnTo>
                  <a:lnTo>
                    <a:pt x="258" y="458"/>
                  </a:lnTo>
                  <a:lnTo>
                    <a:pt x="256" y="482"/>
                  </a:lnTo>
                  <a:lnTo>
                    <a:pt x="256" y="508"/>
                  </a:lnTo>
                  <a:lnTo>
                    <a:pt x="262" y="518"/>
                  </a:lnTo>
                  <a:lnTo>
                    <a:pt x="268" y="527"/>
                  </a:lnTo>
                  <a:lnTo>
                    <a:pt x="271" y="534"/>
                  </a:lnTo>
                  <a:lnTo>
                    <a:pt x="273" y="543"/>
                  </a:lnTo>
                  <a:lnTo>
                    <a:pt x="279" y="566"/>
                  </a:lnTo>
                  <a:lnTo>
                    <a:pt x="280" y="590"/>
                  </a:lnTo>
                  <a:lnTo>
                    <a:pt x="280" y="614"/>
                  </a:lnTo>
                  <a:lnTo>
                    <a:pt x="282" y="636"/>
                  </a:lnTo>
                  <a:lnTo>
                    <a:pt x="295" y="656"/>
                  </a:lnTo>
                  <a:lnTo>
                    <a:pt x="306" y="676"/>
                  </a:lnTo>
                  <a:lnTo>
                    <a:pt x="310" y="708"/>
                  </a:lnTo>
                  <a:lnTo>
                    <a:pt x="314" y="726"/>
                  </a:lnTo>
                  <a:lnTo>
                    <a:pt x="317" y="737"/>
                  </a:lnTo>
                  <a:lnTo>
                    <a:pt x="319" y="750"/>
                  </a:lnTo>
                  <a:lnTo>
                    <a:pt x="312" y="763"/>
                  </a:lnTo>
                  <a:lnTo>
                    <a:pt x="308" y="776"/>
                  </a:lnTo>
                  <a:lnTo>
                    <a:pt x="308" y="785"/>
                  </a:lnTo>
                  <a:lnTo>
                    <a:pt x="306" y="795"/>
                  </a:lnTo>
                  <a:lnTo>
                    <a:pt x="299" y="798"/>
                  </a:lnTo>
                  <a:lnTo>
                    <a:pt x="290" y="800"/>
                  </a:lnTo>
                  <a:lnTo>
                    <a:pt x="288" y="804"/>
                  </a:lnTo>
                  <a:lnTo>
                    <a:pt x="290" y="808"/>
                  </a:lnTo>
                  <a:lnTo>
                    <a:pt x="292" y="811"/>
                  </a:lnTo>
                  <a:lnTo>
                    <a:pt x="295" y="815"/>
                  </a:lnTo>
                  <a:lnTo>
                    <a:pt x="304" y="819"/>
                  </a:lnTo>
                  <a:lnTo>
                    <a:pt x="317" y="822"/>
                  </a:lnTo>
                  <a:lnTo>
                    <a:pt x="319" y="828"/>
                  </a:lnTo>
                  <a:lnTo>
                    <a:pt x="319" y="835"/>
                  </a:lnTo>
                  <a:lnTo>
                    <a:pt x="321" y="839"/>
                  </a:lnTo>
                  <a:lnTo>
                    <a:pt x="321" y="843"/>
                  </a:lnTo>
                  <a:lnTo>
                    <a:pt x="325" y="846"/>
                  </a:lnTo>
                  <a:lnTo>
                    <a:pt x="328" y="850"/>
                  </a:lnTo>
                  <a:lnTo>
                    <a:pt x="327" y="858"/>
                  </a:lnTo>
                  <a:lnTo>
                    <a:pt x="327" y="863"/>
                  </a:lnTo>
                  <a:lnTo>
                    <a:pt x="328" y="870"/>
                  </a:lnTo>
                  <a:lnTo>
                    <a:pt x="332" y="876"/>
                  </a:lnTo>
                  <a:lnTo>
                    <a:pt x="332" y="882"/>
                  </a:lnTo>
                  <a:lnTo>
                    <a:pt x="332" y="889"/>
                  </a:lnTo>
                  <a:lnTo>
                    <a:pt x="334" y="896"/>
                  </a:lnTo>
                  <a:lnTo>
                    <a:pt x="338" y="904"/>
                  </a:lnTo>
                  <a:lnTo>
                    <a:pt x="354" y="926"/>
                  </a:lnTo>
                  <a:lnTo>
                    <a:pt x="369" y="952"/>
                  </a:lnTo>
                  <a:lnTo>
                    <a:pt x="375" y="957"/>
                  </a:lnTo>
                  <a:lnTo>
                    <a:pt x="378" y="961"/>
                  </a:lnTo>
                  <a:lnTo>
                    <a:pt x="391" y="957"/>
                  </a:lnTo>
                  <a:lnTo>
                    <a:pt x="402" y="950"/>
                  </a:lnTo>
                  <a:lnTo>
                    <a:pt x="408" y="946"/>
                  </a:lnTo>
                  <a:lnTo>
                    <a:pt x="412" y="941"/>
                  </a:lnTo>
                  <a:lnTo>
                    <a:pt x="417" y="933"/>
                  </a:lnTo>
                  <a:lnTo>
                    <a:pt x="421" y="924"/>
                  </a:lnTo>
                  <a:lnTo>
                    <a:pt x="425" y="917"/>
                  </a:lnTo>
                  <a:lnTo>
                    <a:pt x="430" y="909"/>
                  </a:lnTo>
                  <a:lnTo>
                    <a:pt x="436" y="904"/>
                  </a:lnTo>
                  <a:lnTo>
                    <a:pt x="443" y="900"/>
                  </a:lnTo>
                  <a:lnTo>
                    <a:pt x="445" y="878"/>
                  </a:lnTo>
                  <a:lnTo>
                    <a:pt x="447" y="856"/>
                  </a:lnTo>
                  <a:lnTo>
                    <a:pt x="447" y="852"/>
                  </a:lnTo>
                  <a:lnTo>
                    <a:pt x="445" y="850"/>
                  </a:lnTo>
                  <a:lnTo>
                    <a:pt x="443" y="850"/>
                  </a:lnTo>
                  <a:lnTo>
                    <a:pt x="439" y="850"/>
                  </a:lnTo>
                  <a:lnTo>
                    <a:pt x="430" y="850"/>
                  </a:lnTo>
                  <a:lnTo>
                    <a:pt x="421" y="852"/>
                  </a:lnTo>
                  <a:lnTo>
                    <a:pt x="410" y="852"/>
                  </a:lnTo>
                  <a:lnTo>
                    <a:pt x="401" y="852"/>
                  </a:lnTo>
                  <a:lnTo>
                    <a:pt x="397" y="850"/>
                  </a:lnTo>
                  <a:lnTo>
                    <a:pt x="393" y="846"/>
                  </a:lnTo>
                  <a:lnTo>
                    <a:pt x="391" y="843"/>
                  </a:lnTo>
                  <a:lnTo>
                    <a:pt x="389" y="837"/>
                  </a:lnTo>
                  <a:lnTo>
                    <a:pt x="389" y="832"/>
                  </a:lnTo>
                  <a:lnTo>
                    <a:pt x="389" y="826"/>
                  </a:lnTo>
                  <a:lnTo>
                    <a:pt x="391" y="822"/>
                  </a:lnTo>
                  <a:lnTo>
                    <a:pt x="393" y="821"/>
                  </a:lnTo>
                  <a:lnTo>
                    <a:pt x="399" y="815"/>
                  </a:lnTo>
                  <a:lnTo>
                    <a:pt x="408" y="809"/>
                  </a:lnTo>
                  <a:lnTo>
                    <a:pt x="417" y="806"/>
                  </a:lnTo>
                  <a:lnTo>
                    <a:pt x="426" y="802"/>
                  </a:lnTo>
                  <a:lnTo>
                    <a:pt x="434" y="797"/>
                  </a:lnTo>
                  <a:lnTo>
                    <a:pt x="439" y="787"/>
                  </a:lnTo>
                  <a:lnTo>
                    <a:pt x="441" y="778"/>
                  </a:lnTo>
                  <a:lnTo>
                    <a:pt x="441" y="769"/>
                  </a:lnTo>
                  <a:lnTo>
                    <a:pt x="441" y="760"/>
                  </a:lnTo>
                  <a:lnTo>
                    <a:pt x="441" y="752"/>
                  </a:lnTo>
                  <a:lnTo>
                    <a:pt x="436" y="739"/>
                  </a:lnTo>
                  <a:lnTo>
                    <a:pt x="432" y="726"/>
                  </a:lnTo>
                  <a:lnTo>
                    <a:pt x="425" y="715"/>
                  </a:lnTo>
                  <a:lnTo>
                    <a:pt x="421" y="704"/>
                  </a:lnTo>
                  <a:lnTo>
                    <a:pt x="417" y="693"/>
                  </a:lnTo>
                  <a:lnTo>
                    <a:pt x="417" y="682"/>
                  </a:lnTo>
                  <a:lnTo>
                    <a:pt x="419" y="678"/>
                  </a:lnTo>
                  <a:lnTo>
                    <a:pt x="423" y="675"/>
                  </a:lnTo>
                  <a:lnTo>
                    <a:pt x="426" y="673"/>
                  </a:lnTo>
                  <a:lnTo>
                    <a:pt x="432" y="671"/>
                  </a:lnTo>
                  <a:lnTo>
                    <a:pt x="445" y="665"/>
                  </a:lnTo>
                  <a:lnTo>
                    <a:pt x="454" y="660"/>
                  </a:lnTo>
                  <a:lnTo>
                    <a:pt x="461" y="651"/>
                  </a:lnTo>
                  <a:lnTo>
                    <a:pt x="482" y="625"/>
                  </a:lnTo>
                  <a:lnTo>
                    <a:pt x="480" y="619"/>
                  </a:lnTo>
                  <a:lnTo>
                    <a:pt x="480" y="614"/>
                  </a:lnTo>
                  <a:lnTo>
                    <a:pt x="480" y="604"/>
                  </a:lnTo>
                  <a:lnTo>
                    <a:pt x="478" y="597"/>
                  </a:lnTo>
                  <a:lnTo>
                    <a:pt x="474" y="593"/>
                  </a:lnTo>
                  <a:lnTo>
                    <a:pt x="471" y="591"/>
                  </a:lnTo>
                  <a:lnTo>
                    <a:pt x="463" y="591"/>
                  </a:lnTo>
                  <a:lnTo>
                    <a:pt x="458" y="593"/>
                  </a:lnTo>
                  <a:lnTo>
                    <a:pt x="450" y="599"/>
                  </a:lnTo>
                  <a:lnTo>
                    <a:pt x="445" y="604"/>
                  </a:lnTo>
                  <a:lnTo>
                    <a:pt x="441" y="606"/>
                  </a:lnTo>
                  <a:lnTo>
                    <a:pt x="441" y="608"/>
                  </a:lnTo>
                  <a:lnTo>
                    <a:pt x="441" y="610"/>
                  </a:lnTo>
                  <a:lnTo>
                    <a:pt x="443" y="614"/>
                  </a:lnTo>
                  <a:lnTo>
                    <a:pt x="445" y="619"/>
                  </a:lnTo>
                  <a:lnTo>
                    <a:pt x="445" y="623"/>
                  </a:lnTo>
                  <a:lnTo>
                    <a:pt x="437" y="627"/>
                  </a:lnTo>
                  <a:lnTo>
                    <a:pt x="432" y="627"/>
                  </a:lnTo>
                  <a:lnTo>
                    <a:pt x="426" y="627"/>
                  </a:lnTo>
                  <a:lnTo>
                    <a:pt x="421" y="625"/>
                  </a:lnTo>
                  <a:lnTo>
                    <a:pt x="413" y="617"/>
                  </a:lnTo>
                  <a:lnTo>
                    <a:pt x="406" y="608"/>
                  </a:lnTo>
                  <a:lnTo>
                    <a:pt x="395" y="582"/>
                  </a:lnTo>
                  <a:lnTo>
                    <a:pt x="384" y="556"/>
                  </a:lnTo>
                  <a:lnTo>
                    <a:pt x="384" y="551"/>
                  </a:lnTo>
                  <a:lnTo>
                    <a:pt x="384" y="547"/>
                  </a:lnTo>
                  <a:lnTo>
                    <a:pt x="380" y="545"/>
                  </a:lnTo>
                  <a:lnTo>
                    <a:pt x="375" y="538"/>
                  </a:lnTo>
                  <a:lnTo>
                    <a:pt x="373" y="534"/>
                  </a:lnTo>
                  <a:lnTo>
                    <a:pt x="375" y="530"/>
                  </a:lnTo>
                  <a:lnTo>
                    <a:pt x="375" y="529"/>
                  </a:lnTo>
                  <a:lnTo>
                    <a:pt x="373" y="527"/>
                  </a:lnTo>
                  <a:lnTo>
                    <a:pt x="371" y="525"/>
                  </a:lnTo>
                  <a:lnTo>
                    <a:pt x="364" y="523"/>
                  </a:lnTo>
                  <a:lnTo>
                    <a:pt x="362" y="518"/>
                  </a:lnTo>
                  <a:lnTo>
                    <a:pt x="362" y="514"/>
                  </a:lnTo>
                  <a:lnTo>
                    <a:pt x="362" y="512"/>
                  </a:lnTo>
                  <a:lnTo>
                    <a:pt x="360" y="512"/>
                  </a:lnTo>
                  <a:lnTo>
                    <a:pt x="356" y="512"/>
                  </a:lnTo>
                  <a:lnTo>
                    <a:pt x="349" y="514"/>
                  </a:lnTo>
                  <a:lnTo>
                    <a:pt x="341" y="501"/>
                  </a:lnTo>
                  <a:lnTo>
                    <a:pt x="336" y="490"/>
                  </a:lnTo>
                  <a:lnTo>
                    <a:pt x="330" y="477"/>
                  </a:lnTo>
                  <a:lnTo>
                    <a:pt x="328" y="468"/>
                  </a:lnTo>
                  <a:lnTo>
                    <a:pt x="338" y="464"/>
                  </a:lnTo>
                  <a:lnTo>
                    <a:pt x="343" y="460"/>
                  </a:lnTo>
                  <a:lnTo>
                    <a:pt x="345" y="455"/>
                  </a:lnTo>
                  <a:lnTo>
                    <a:pt x="345" y="449"/>
                  </a:lnTo>
                  <a:lnTo>
                    <a:pt x="343" y="440"/>
                  </a:lnTo>
                  <a:lnTo>
                    <a:pt x="343" y="436"/>
                  </a:lnTo>
                  <a:lnTo>
                    <a:pt x="352" y="438"/>
                  </a:lnTo>
                  <a:lnTo>
                    <a:pt x="360" y="442"/>
                  </a:lnTo>
                  <a:lnTo>
                    <a:pt x="362" y="442"/>
                  </a:lnTo>
                  <a:lnTo>
                    <a:pt x="365" y="442"/>
                  </a:lnTo>
                  <a:lnTo>
                    <a:pt x="369" y="440"/>
                  </a:lnTo>
                  <a:lnTo>
                    <a:pt x="371" y="434"/>
                  </a:lnTo>
                  <a:lnTo>
                    <a:pt x="373" y="429"/>
                  </a:lnTo>
                  <a:lnTo>
                    <a:pt x="373" y="425"/>
                  </a:lnTo>
                  <a:lnTo>
                    <a:pt x="371" y="421"/>
                  </a:lnTo>
                  <a:lnTo>
                    <a:pt x="367" y="418"/>
                  </a:lnTo>
                  <a:lnTo>
                    <a:pt x="360" y="414"/>
                  </a:lnTo>
                  <a:lnTo>
                    <a:pt x="358" y="410"/>
                  </a:lnTo>
                  <a:lnTo>
                    <a:pt x="360" y="407"/>
                  </a:lnTo>
                  <a:lnTo>
                    <a:pt x="360" y="405"/>
                  </a:lnTo>
                  <a:lnTo>
                    <a:pt x="360" y="386"/>
                  </a:lnTo>
                  <a:lnTo>
                    <a:pt x="358" y="366"/>
                  </a:lnTo>
                  <a:lnTo>
                    <a:pt x="360" y="364"/>
                  </a:lnTo>
                  <a:lnTo>
                    <a:pt x="362" y="364"/>
                  </a:lnTo>
                  <a:lnTo>
                    <a:pt x="364" y="364"/>
                  </a:lnTo>
                  <a:lnTo>
                    <a:pt x="365" y="366"/>
                  </a:lnTo>
                  <a:lnTo>
                    <a:pt x="369" y="370"/>
                  </a:lnTo>
                  <a:lnTo>
                    <a:pt x="373" y="375"/>
                  </a:lnTo>
                  <a:lnTo>
                    <a:pt x="384" y="383"/>
                  </a:lnTo>
                  <a:lnTo>
                    <a:pt x="401" y="390"/>
                  </a:lnTo>
                  <a:lnTo>
                    <a:pt x="395" y="375"/>
                  </a:lnTo>
                  <a:lnTo>
                    <a:pt x="386" y="349"/>
                  </a:lnTo>
                  <a:lnTo>
                    <a:pt x="388" y="340"/>
                  </a:lnTo>
                  <a:lnTo>
                    <a:pt x="391" y="329"/>
                  </a:lnTo>
                  <a:lnTo>
                    <a:pt x="389" y="314"/>
                  </a:lnTo>
                  <a:lnTo>
                    <a:pt x="388" y="303"/>
                  </a:lnTo>
                  <a:lnTo>
                    <a:pt x="389" y="298"/>
                  </a:lnTo>
                  <a:lnTo>
                    <a:pt x="393" y="290"/>
                  </a:lnTo>
                  <a:lnTo>
                    <a:pt x="399" y="281"/>
                  </a:lnTo>
                  <a:lnTo>
                    <a:pt x="406" y="270"/>
                  </a:lnTo>
                  <a:lnTo>
                    <a:pt x="410" y="259"/>
                  </a:lnTo>
                  <a:lnTo>
                    <a:pt x="415" y="251"/>
                  </a:lnTo>
                  <a:lnTo>
                    <a:pt x="432" y="246"/>
                  </a:lnTo>
                  <a:lnTo>
                    <a:pt x="447" y="244"/>
                  </a:lnTo>
                  <a:lnTo>
                    <a:pt x="463" y="244"/>
                  </a:lnTo>
                  <a:lnTo>
                    <a:pt x="480" y="242"/>
                  </a:lnTo>
                  <a:lnTo>
                    <a:pt x="482" y="240"/>
                  </a:lnTo>
                  <a:lnTo>
                    <a:pt x="482" y="237"/>
                  </a:lnTo>
                  <a:lnTo>
                    <a:pt x="480" y="235"/>
                  </a:lnTo>
                  <a:lnTo>
                    <a:pt x="476" y="231"/>
                  </a:lnTo>
                  <a:lnTo>
                    <a:pt x="469" y="226"/>
                  </a:lnTo>
                  <a:lnTo>
                    <a:pt x="463" y="218"/>
                  </a:lnTo>
                  <a:lnTo>
                    <a:pt x="458" y="207"/>
                  </a:lnTo>
                  <a:lnTo>
                    <a:pt x="456" y="194"/>
                  </a:lnTo>
                  <a:lnTo>
                    <a:pt x="454" y="183"/>
                  </a:lnTo>
                  <a:lnTo>
                    <a:pt x="452" y="170"/>
                  </a:lnTo>
                  <a:lnTo>
                    <a:pt x="449" y="161"/>
                  </a:lnTo>
                  <a:lnTo>
                    <a:pt x="447" y="152"/>
                  </a:lnTo>
                  <a:lnTo>
                    <a:pt x="450" y="144"/>
                  </a:lnTo>
                  <a:lnTo>
                    <a:pt x="452" y="141"/>
                  </a:lnTo>
                  <a:lnTo>
                    <a:pt x="452" y="137"/>
                  </a:lnTo>
                  <a:lnTo>
                    <a:pt x="450" y="133"/>
                  </a:lnTo>
                  <a:lnTo>
                    <a:pt x="445" y="128"/>
                  </a:lnTo>
                  <a:lnTo>
                    <a:pt x="432" y="126"/>
                  </a:lnTo>
                  <a:lnTo>
                    <a:pt x="436" y="113"/>
                  </a:lnTo>
                  <a:lnTo>
                    <a:pt x="437" y="100"/>
                  </a:lnTo>
                  <a:lnTo>
                    <a:pt x="434" y="98"/>
                  </a:lnTo>
                  <a:lnTo>
                    <a:pt x="430" y="98"/>
                  </a:lnTo>
                  <a:lnTo>
                    <a:pt x="426" y="98"/>
                  </a:lnTo>
                  <a:lnTo>
                    <a:pt x="425" y="98"/>
                  </a:lnTo>
                  <a:lnTo>
                    <a:pt x="425" y="96"/>
                  </a:lnTo>
                  <a:lnTo>
                    <a:pt x="425" y="94"/>
                  </a:lnTo>
                  <a:lnTo>
                    <a:pt x="430" y="85"/>
                  </a:lnTo>
                  <a:lnTo>
                    <a:pt x="432" y="78"/>
                  </a:lnTo>
                  <a:lnTo>
                    <a:pt x="426" y="72"/>
                  </a:lnTo>
                  <a:lnTo>
                    <a:pt x="417" y="61"/>
                  </a:lnTo>
                  <a:lnTo>
                    <a:pt x="419" y="56"/>
                  </a:lnTo>
                  <a:lnTo>
                    <a:pt x="421" y="48"/>
                  </a:lnTo>
                  <a:lnTo>
                    <a:pt x="423" y="44"/>
                  </a:lnTo>
                  <a:lnTo>
                    <a:pt x="423" y="39"/>
                  </a:lnTo>
                  <a:lnTo>
                    <a:pt x="421" y="32"/>
                  </a:lnTo>
                  <a:lnTo>
                    <a:pt x="419" y="24"/>
                  </a:lnTo>
                  <a:lnTo>
                    <a:pt x="419" y="20"/>
                  </a:lnTo>
                  <a:lnTo>
                    <a:pt x="419" y="19"/>
                  </a:lnTo>
                  <a:lnTo>
                    <a:pt x="410" y="15"/>
                  </a:lnTo>
                  <a:lnTo>
                    <a:pt x="401" y="11"/>
                  </a:lnTo>
                  <a:lnTo>
                    <a:pt x="386" y="13"/>
                  </a:lnTo>
                  <a:lnTo>
                    <a:pt x="376" y="13"/>
                  </a:lnTo>
                  <a:lnTo>
                    <a:pt x="375" y="9"/>
                  </a:lnTo>
                  <a:lnTo>
                    <a:pt x="373" y="4"/>
                  </a:lnTo>
                  <a:lnTo>
                    <a:pt x="371" y="2"/>
                  </a:lnTo>
                  <a:lnTo>
                    <a:pt x="367" y="0"/>
                  </a:lnTo>
                  <a:lnTo>
                    <a:pt x="358" y="9"/>
                  </a:lnTo>
                  <a:lnTo>
                    <a:pt x="349" y="17"/>
                  </a:lnTo>
                  <a:lnTo>
                    <a:pt x="347" y="24"/>
                  </a:lnTo>
                  <a:lnTo>
                    <a:pt x="347" y="32"/>
                  </a:lnTo>
                  <a:lnTo>
                    <a:pt x="349" y="41"/>
                  </a:lnTo>
                  <a:lnTo>
                    <a:pt x="351" y="52"/>
                  </a:lnTo>
                  <a:lnTo>
                    <a:pt x="341" y="67"/>
                  </a:lnTo>
                  <a:lnTo>
                    <a:pt x="338" y="81"/>
                  </a:lnTo>
                  <a:lnTo>
                    <a:pt x="334" y="87"/>
                  </a:lnTo>
                  <a:lnTo>
                    <a:pt x="330" y="93"/>
                  </a:lnTo>
                  <a:lnTo>
                    <a:pt x="328" y="100"/>
                  </a:lnTo>
                  <a:lnTo>
                    <a:pt x="328" y="109"/>
                  </a:lnTo>
                  <a:lnTo>
                    <a:pt x="328" y="117"/>
                  </a:lnTo>
                  <a:lnTo>
                    <a:pt x="327" y="124"/>
                  </a:lnTo>
                  <a:lnTo>
                    <a:pt x="327" y="129"/>
                  </a:lnTo>
                  <a:lnTo>
                    <a:pt x="325" y="133"/>
                  </a:lnTo>
                  <a:lnTo>
                    <a:pt x="323" y="137"/>
                  </a:lnTo>
                  <a:lnTo>
                    <a:pt x="319" y="142"/>
                  </a:lnTo>
                  <a:lnTo>
                    <a:pt x="297" y="137"/>
                  </a:lnTo>
                  <a:lnTo>
                    <a:pt x="275" y="133"/>
                  </a:lnTo>
                  <a:lnTo>
                    <a:pt x="255" y="141"/>
                  </a:lnTo>
                  <a:lnTo>
                    <a:pt x="234" y="150"/>
                  </a:lnTo>
                  <a:lnTo>
                    <a:pt x="229" y="155"/>
                  </a:lnTo>
                  <a:lnTo>
                    <a:pt x="223" y="163"/>
                  </a:lnTo>
                  <a:lnTo>
                    <a:pt x="219" y="165"/>
                  </a:lnTo>
                  <a:lnTo>
                    <a:pt x="216" y="166"/>
                  </a:lnTo>
                  <a:lnTo>
                    <a:pt x="214" y="166"/>
                  </a:lnTo>
                  <a:lnTo>
                    <a:pt x="210" y="165"/>
                  </a:lnTo>
                  <a:lnTo>
                    <a:pt x="205" y="152"/>
                  </a:lnTo>
                  <a:lnTo>
                    <a:pt x="201" y="141"/>
                  </a:lnTo>
                  <a:lnTo>
                    <a:pt x="199" y="131"/>
                  </a:lnTo>
                  <a:lnTo>
                    <a:pt x="199" y="122"/>
                  </a:lnTo>
                  <a:lnTo>
                    <a:pt x="203" y="107"/>
                  </a:lnTo>
                  <a:lnTo>
                    <a:pt x="201" y="96"/>
                  </a:lnTo>
                  <a:lnTo>
                    <a:pt x="195" y="94"/>
                  </a:lnTo>
                  <a:lnTo>
                    <a:pt x="190" y="96"/>
                  </a:lnTo>
                  <a:lnTo>
                    <a:pt x="184" y="96"/>
                  </a:lnTo>
                  <a:lnTo>
                    <a:pt x="179" y="98"/>
                  </a:lnTo>
                  <a:lnTo>
                    <a:pt x="170" y="104"/>
                  </a:lnTo>
                  <a:lnTo>
                    <a:pt x="159" y="109"/>
                  </a:lnTo>
                  <a:lnTo>
                    <a:pt x="142" y="105"/>
                  </a:lnTo>
                  <a:lnTo>
                    <a:pt x="123" y="104"/>
                  </a:lnTo>
                  <a:lnTo>
                    <a:pt x="114" y="113"/>
                  </a:lnTo>
                  <a:lnTo>
                    <a:pt x="103" y="126"/>
                  </a:lnTo>
                  <a:lnTo>
                    <a:pt x="96" y="128"/>
                  </a:lnTo>
                  <a:lnTo>
                    <a:pt x="90" y="129"/>
                  </a:lnTo>
                  <a:lnTo>
                    <a:pt x="86" y="131"/>
                  </a:lnTo>
                  <a:lnTo>
                    <a:pt x="85" y="135"/>
                  </a:lnTo>
                  <a:lnTo>
                    <a:pt x="81" y="144"/>
                  </a:lnTo>
                  <a:lnTo>
                    <a:pt x="79" y="152"/>
                  </a:lnTo>
                  <a:lnTo>
                    <a:pt x="75" y="157"/>
                  </a:lnTo>
                  <a:lnTo>
                    <a:pt x="66" y="163"/>
                  </a:lnTo>
                  <a:lnTo>
                    <a:pt x="62" y="170"/>
                  </a:lnTo>
                  <a:lnTo>
                    <a:pt x="59" y="176"/>
                  </a:lnTo>
                  <a:lnTo>
                    <a:pt x="55" y="178"/>
                  </a:lnTo>
                  <a:lnTo>
                    <a:pt x="51" y="179"/>
                  </a:lnTo>
                  <a:lnTo>
                    <a:pt x="44" y="179"/>
                  </a:lnTo>
                  <a:lnTo>
                    <a:pt x="38" y="181"/>
                  </a:lnTo>
                  <a:lnTo>
                    <a:pt x="35" y="192"/>
                  </a:lnTo>
                  <a:lnTo>
                    <a:pt x="33" y="203"/>
                  </a:lnTo>
                  <a:lnTo>
                    <a:pt x="26" y="202"/>
                  </a:lnTo>
                  <a:lnTo>
                    <a:pt x="18" y="200"/>
                  </a:lnTo>
                  <a:lnTo>
                    <a:pt x="14" y="202"/>
                  </a:lnTo>
                  <a:lnTo>
                    <a:pt x="11" y="203"/>
                  </a:lnTo>
                  <a:lnTo>
                    <a:pt x="9" y="207"/>
                  </a:lnTo>
                  <a:lnTo>
                    <a:pt x="7" y="211"/>
                  </a:lnTo>
                  <a:lnTo>
                    <a:pt x="3" y="220"/>
                  </a:lnTo>
                  <a:lnTo>
                    <a:pt x="1" y="229"/>
                  </a:lnTo>
                  <a:lnTo>
                    <a:pt x="0" y="229"/>
                  </a:lnTo>
                  <a:lnTo>
                    <a:pt x="0" y="239"/>
                  </a:lnTo>
                  <a:lnTo>
                    <a:pt x="1" y="248"/>
                  </a:lnTo>
                  <a:lnTo>
                    <a:pt x="5" y="250"/>
                  </a:lnTo>
                  <a:lnTo>
                    <a:pt x="9" y="253"/>
                  </a:lnTo>
                  <a:lnTo>
                    <a:pt x="14" y="255"/>
                  </a:lnTo>
                  <a:lnTo>
                    <a:pt x="22" y="257"/>
                  </a:lnTo>
                  <a:lnTo>
                    <a:pt x="27" y="261"/>
                  </a:lnTo>
                  <a:lnTo>
                    <a:pt x="29" y="264"/>
                  </a:lnTo>
                  <a:lnTo>
                    <a:pt x="29" y="268"/>
                  </a:lnTo>
                  <a:lnTo>
                    <a:pt x="29" y="272"/>
                  </a:lnTo>
                  <a:lnTo>
                    <a:pt x="27" y="275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9" y="285"/>
                  </a:lnTo>
                  <a:lnTo>
                    <a:pt x="40" y="294"/>
                  </a:lnTo>
                  <a:lnTo>
                    <a:pt x="51" y="298"/>
                  </a:lnTo>
                  <a:lnTo>
                    <a:pt x="62" y="301"/>
                  </a:lnTo>
                  <a:lnTo>
                    <a:pt x="74" y="305"/>
                  </a:lnTo>
                  <a:lnTo>
                    <a:pt x="75" y="309"/>
                  </a:lnTo>
                  <a:lnTo>
                    <a:pt x="75" y="312"/>
                  </a:lnTo>
                  <a:lnTo>
                    <a:pt x="75" y="316"/>
                  </a:lnTo>
                  <a:lnTo>
                    <a:pt x="81" y="322"/>
                  </a:lnTo>
                  <a:lnTo>
                    <a:pt x="85" y="324"/>
                  </a:lnTo>
                  <a:lnTo>
                    <a:pt x="90" y="327"/>
                  </a:lnTo>
                  <a:lnTo>
                    <a:pt x="96" y="331"/>
                  </a:lnTo>
                  <a:lnTo>
                    <a:pt x="99" y="336"/>
                  </a:lnTo>
                  <a:lnTo>
                    <a:pt x="96" y="346"/>
                  </a:lnTo>
                  <a:lnTo>
                    <a:pt x="92" y="357"/>
                  </a:lnTo>
                  <a:lnTo>
                    <a:pt x="110" y="359"/>
                  </a:lnTo>
                  <a:lnTo>
                    <a:pt x="133" y="359"/>
                  </a:lnTo>
                  <a:lnTo>
                    <a:pt x="138" y="364"/>
                  </a:lnTo>
                  <a:lnTo>
                    <a:pt x="142" y="373"/>
                  </a:lnTo>
                  <a:lnTo>
                    <a:pt x="146" y="381"/>
                  </a:lnTo>
                  <a:lnTo>
                    <a:pt x="147" y="388"/>
                  </a:lnTo>
                  <a:lnTo>
                    <a:pt x="160" y="396"/>
                  </a:lnTo>
                  <a:lnTo>
                    <a:pt x="170" y="401"/>
                  </a:lnTo>
                  <a:lnTo>
                    <a:pt x="170" y="405"/>
                  </a:lnTo>
                  <a:lnTo>
                    <a:pt x="171" y="409"/>
                  </a:lnTo>
                  <a:lnTo>
                    <a:pt x="177" y="414"/>
                  </a:lnTo>
                  <a:lnTo>
                    <a:pt x="190" y="423"/>
                  </a:lnTo>
                  <a:close/>
                  <a:moveTo>
                    <a:pt x="425" y="490"/>
                  </a:moveTo>
                  <a:lnTo>
                    <a:pt x="423" y="505"/>
                  </a:lnTo>
                  <a:lnTo>
                    <a:pt x="421" y="519"/>
                  </a:lnTo>
                  <a:lnTo>
                    <a:pt x="423" y="536"/>
                  </a:lnTo>
                  <a:lnTo>
                    <a:pt x="425" y="553"/>
                  </a:lnTo>
                  <a:lnTo>
                    <a:pt x="423" y="554"/>
                  </a:lnTo>
                  <a:lnTo>
                    <a:pt x="421" y="554"/>
                  </a:lnTo>
                  <a:lnTo>
                    <a:pt x="419" y="553"/>
                  </a:lnTo>
                  <a:lnTo>
                    <a:pt x="417" y="551"/>
                  </a:lnTo>
                  <a:lnTo>
                    <a:pt x="413" y="543"/>
                  </a:lnTo>
                  <a:lnTo>
                    <a:pt x="412" y="530"/>
                  </a:lnTo>
                  <a:lnTo>
                    <a:pt x="408" y="527"/>
                  </a:lnTo>
                  <a:lnTo>
                    <a:pt x="404" y="523"/>
                  </a:lnTo>
                  <a:lnTo>
                    <a:pt x="402" y="519"/>
                  </a:lnTo>
                  <a:lnTo>
                    <a:pt x="402" y="516"/>
                  </a:lnTo>
                  <a:lnTo>
                    <a:pt x="404" y="510"/>
                  </a:lnTo>
                  <a:lnTo>
                    <a:pt x="410" y="505"/>
                  </a:lnTo>
                  <a:lnTo>
                    <a:pt x="406" y="497"/>
                  </a:lnTo>
                  <a:lnTo>
                    <a:pt x="404" y="490"/>
                  </a:lnTo>
                  <a:lnTo>
                    <a:pt x="404" y="484"/>
                  </a:lnTo>
                  <a:lnTo>
                    <a:pt x="406" y="481"/>
                  </a:lnTo>
                  <a:lnTo>
                    <a:pt x="415" y="484"/>
                  </a:lnTo>
                  <a:lnTo>
                    <a:pt x="425" y="49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8" name="Freeform 66"/>
            <p:cNvSpPr>
              <a:spLocks/>
            </p:cNvSpPr>
            <p:nvPr/>
          </p:nvSpPr>
          <p:spPr bwMode="auto">
            <a:xfrm>
              <a:off x="4203177" y="2026870"/>
              <a:ext cx="488397" cy="263103"/>
            </a:xfrm>
            <a:custGeom>
              <a:avLst/>
              <a:gdLst>
                <a:gd name="T0" fmla="*/ 48 w 936"/>
                <a:gd name="T1" fmla="*/ 338 h 517"/>
                <a:gd name="T2" fmla="*/ 7 w 936"/>
                <a:gd name="T3" fmla="*/ 366 h 517"/>
                <a:gd name="T4" fmla="*/ 11 w 936"/>
                <a:gd name="T5" fmla="*/ 412 h 517"/>
                <a:gd name="T6" fmla="*/ 24 w 936"/>
                <a:gd name="T7" fmla="*/ 436 h 517"/>
                <a:gd name="T8" fmla="*/ 38 w 936"/>
                <a:gd name="T9" fmla="*/ 414 h 517"/>
                <a:gd name="T10" fmla="*/ 94 w 936"/>
                <a:gd name="T11" fmla="*/ 423 h 517"/>
                <a:gd name="T12" fmla="*/ 110 w 936"/>
                <a:gd name="T13" fmla="*/ 442 h 517"/>
                <a:gd name="T14" fmla="*/ 155 w 936"/>
                <a:gd name="T15" fmla="*/ 434 h 517"/>
                <a:gd name="T16" fmla="*/ 168 w 936"/>
                <a:gd name="T17" fmla="*/ 427 h 517"/>
                <a:gd name="T18" fmla="*/ 175 w 936"/>
                <a:gd name="T19" fmla="*/ 397 h 517"/>
                <a:gd name="T20" fmla="*/ 195 w 936"/>
                <a:gd name="T21" fmla="*/ 401 h 517"/>
                <a:gd name="T22" fmla="*/ 225 w 936"/>
                <a:gd name="T23" fmla="*/ 414 h 517"/>
                <a:gd name="T24" fmla="*/ 251 w 936"/>
                <a:gd name="T25" fmla="*/ 442 h 517"/>
                <a:gd name="T26" fmla="*/ 301 w 936"/>
                <a:gd name="T27" fmla="*/ 475 h 517"/>
                <a:gd name="T28" fmla="*/ 338 w 936"/>
                <a:gd name="T29" fmla="*/ 488 h 517"/>
                <a:gd name="T30" fmla="*/ 412 w 936"/>
                <a:gd name="T31" fmla="*/ 506 h 517"/>
                <a:gd name="T32" fmla="*/ 467 w 936"/>
                <a:gd name="T33" fmla="*/ 508 h 517"/>
                <a:gd name="T34" fmla="*/ 495 w 936"/>
                <a:gd name="T35" fmla="*/ 488 h 517"/>
                <a:gd name="T36" fmla="*/ 502 w 936"/>
                <a:gd name="T37" fmla="*/ 460 h 517"/>
                <a:gd name="T38" fmla="*/ 552 w 936"/>
                <a:gd name="T39" fmla="*/ 401 h 517"/>
                <a:gd name="T40" fmla="*/ 581 w 936"/>
                <a:gd name="T41" fmla="*/ 346 h 517"/>
                <a:gd name="T42" fmla="*/ 605 w 936"/>
                <a:gd name="T43" fmla="*/ 325 h 517"/>
                <a:gd name="T44" fmla="*/ 624 w 936"/>
                <a:gd name="T45" fmla="*/ 303 h 517"/>
                <a:gd name="T46" fmla="*/ 659 w 936"/>
                <a:gd name="T47" fmla="*/ 329 h 517"/>
                <a:gd name="T48" fmla="*/ 698 w 936"/>
                <a:gd name="T49" fmla="*/ 303 h 517"/>
                <a:gd name="T50" fmla="*/ 750 w 936"/>
                <a:gd name="T51" fmla="*/ 298 h 517"/>
                <a:gd name="T52" fmla="*/ 785 w 936"/>
                <a:gd name="T53" fmla="*/ 266 h 517"/>
                <a:gd name="T54" fmla="*/ 873 w 936"/>
                <a:gd name="T55" fmla="*/ 251 h 517"/>
                <a:gd name="T56" fmla="*/ 921 w 936"/>
                <a:gd name="T57" fmla="*/ 233 h 517"/>
                <a:gd name="T58" fmla="*/ 936 w 936"/>
                <a:gd name="T59" fmla="*/ 159 h 517"/>
                <a:gd name="T60" fmla="*/ 875 w 936"/>
                <a:gd name="T61" fmla="*/ 166 h 517"/>
                <a:gd name="T62" fmla="*/ 814 w 936"/>
                <a:gd name="T63" fmla="*/ 187 h 517"/>
                <a:gd name="T64" fmla="*/ 772 w 936"/>
                <a:gd name="T65" fmla="*/ 198 h 517"/>
                <a:gd name="T66" fmla="*/ 569 w 936"/>
                <a:gd name="T67" fmla="*/ 61 h 517"/>
                <a:gd name="T68" fmla="*/ 521 w 936"/>
                <a:gd name="T69" fmla="*/ 15 h 517"/>
                <a:gd name="T70" fmla="*/ 432 w 936"/>
                <a:gd name="T71" fmla="*/ 4 h 517"/>
                <a:gd name="T72" fmla="*/ 369 w 936"/>
                <a:gd name="T73" fmla="*/ 26 h 517"/>
                <a:gd name="T74" fmla="*/ 343 w 936"/>
                <a:gd name="T75" fmla="*/ 102 h 517"/>
                <a:gd name="T76" fmla="*/ 336 w 936"/>
                <a:gd name="T77" fmla="*/ 128 h 517"/>
                <a:gd name="T78" fmla="*/ 314 w 936"/>
                <a:gd name="T79" fmla="*/ 113 h 517"/>
                <a:gd name="T80" fmla="*/ 262 w 936"/>
                <a:gd name="T81" fmla="*/ 96 h 517"/>
                <a:gd name="T82" fmla="*/ 253 w 936"/>
                <a:gd name="T83" fmla="*/ 70 h 517"/>
                <a:gd name="T84" fmla="*/ 203 w 936"/>
                <a:gd name="T85" fmla="*/ 26 h 517"/>
                <a:gd name="T86" fmla="*/ 181 w 936"/>
                <a:gd name="T87" fmla="*/ 17 h 517"/>
                <a:gd name="T88" fmla="*/ 190 w 936"/>
                <a:gd name="T89" fmla="*/ 50 h 517"/>
                <a:gd name="T90" fmla="*/ 203 w 936"/>
                <a:gd name="T91" fmla="*/ 85 h 517"/>
                <a:gd name="T92" fmla="*/ 162 w 936"/>
                <a:gd name="T93" fmla="*/ 148 h 517"/>
                <a:gd name="T94" fmla="*/ 144 w 936"/>
                <a:gd name="T95" fmla="*/ 164 h 517"/>
                <a:gd name="T96" fmla="*/ 127 w 936"/>
                <a:gd name="T97" fmla="*/ 179 h 517"/>
                <a:gd name="T98" fmla="*/ 138 w 936"/>
                <a:gd name="T99" fmla="*/ 194 h 517"/>
                <a:gd name="T100" fmla="*/ 181 w 936"/>
                <a:gd name="T101" fmla="*/ 196 h 517"/>
                <a:gd name="T102" fmla="*/ 212 w 936"/>
                <a:gd name="T103" fmla="*/ 227 h 517"/>
                <a:gd name="T104" fmla="*/ 144 w 936"/>
                <a:gd name="T105" fmla="*/ 262 h 517"/>
                <a:gd name="T106" fmla="*/ 146 w 936"/>
                <a:gd name="T107" fmla="*/ 279 h 517"/>
                <a:gd name="T108" fmla="*/ 109 w 936"/>
                <a:gd name="T109" fmla="*/ 301 h 517"/>
                <a:gd name="T110" fmla="*/ 66 w 936"/>
                <a:gd name="T111" fmla="*/ 294 h 51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36"/>
                <a:gd name="T169" fmla="*/ 0 h 517"/>
                <a:gd name="T170" fmla="*/ 936 w 936"/>
                <a:gd name="T171" fmla="*/ 517 h 51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36" h="517">
                  <a:moveTo>
                    <a:pt x="66" y="294"/>
                  </a:moveTo>
                  <a:lnTo>
                    <a:pt x="61" y="305"/>
                  </a:lnTo>
                  <a:lnTo>
                    <a:pt x="55" y="312"/>
                  </a:lnTo>
                  <a:lnTo>
                    <a:pt x="51" y="325"/>
                  </a:lnTo>
                  <a:lnTo>
                    <a:pt x="48" y="338"/>
                  </a:lnTo>
                  <a:lnTo>
                    <a:pt x="35" y="344"/>
                  </a:lnTo>
                  <a:lnTo>
                    <a:pt x="20" y="349"/>
                  </a:lnTo>
                  <a:lnTo>
                    <a:pt x="18" y="355"/>
                  </a:lnTo>
                  <a:lnTo>
                    <a:pt x="16" y="360"/>
                  </a:lnTo>
                  <a:lnTo>
                    <a:pt x="7" y="366"/>
                  </a:lnTo>
                  <a:lnTo>
                    <a:pt x="0" y="373"/>
                  </a:lnTo>
                  <a:lnTo>
                    <a:pt x="9" y="386"/>
                  </a:lnTo>
                  <a:lnTo>
                    <a:pt x="18" y="399"/>
                  </a:lnTo>
                  <a:lnTo>
                    <a:pt x="16" y="405"/>
                  </a:lnTo>
                  <a:lnTo>
                    <a:pt x="11" y="412"/>
                  </a:lnTo>
                  <a:lnTo>
                    <a:pt x="9" y="416"/>
                  </a:lnTo>
                  <a:lnTo>
                    <a:pt x="9" y="421"/>
                  </a:lnTo>
                  <a:lnTo>
                    <a:pt x="13" y="427"/>
                  </a:lnTo>
                  <a:lnTo>
                    <a:pt x="18" y="434"/>
                  </a:lnTo>
                  <a:lnTo>
                    <a:pt x="24" y="436"/>
                  </a:lnTo>
                  <a:lnTo>
                    <a:pt x="29" y="436"/>
                  </a:lnTo>
                  <a:lnTo>
                    <a:pt x="31" y="434"/>
                  </a:lnTo>
                  <a:lnTo>
                    <a:pt x="33" y="431"/>
                  </a:lnTo>
                  <a:lnTo>
                    <a:pt x="37" y="421"/>
                  </a:lnTo>
                  <a:lnTo>
                    <a:pt x="38" y="414"/>
                  </a:lnTo>
                  <a:lnTo>
                    <a:pt x="46" y="414"/>
                  </a:lnTo>
                  <a:lnTo>
                    <a:pt x="55" y="416"/>
                  </a:lnTo>
                  <a:lnTo>
                    <a:pt x="68" y="418"/>
                  </a:lnTo>
                  <a:lnTo>
                    <a:pt x="79" y="421"/>
                  </a:lnTo>
                  <a:lnTo>
                    <a:pt x="94" y="423"/>
                  </a:lnTo>
                  <a:lnTo>
                    <a:pt x="107" y="427"/>
                  </a:lnTo>
                  <a:lnTo>
                    <a:pt x="110" y="432"/>
                  </a:lnTo>
                  <a:lnTo>
                    <a:pt x="109" y="438"/>
                  </a:lnTo>
                  <a:lnTo>
                    <a:pt x="109" y="440"/>
                  </a:lnTo>
                  <a:lnTo>
                    <a:pt x="110" y="442"/>
                  </a:lnTo>
                  <a:lnTo>
                    <a:pt x="112" y="445"/>
                  </a:lnTo>
                  <a:lnTo>
                    <a:pt x="116" y="445"/>
                  </a:lnTo>
                  <a:lnTo>
                    <a:pt x="129" y="438"/>
                  </a:lnTo>
                  <a:lnTo>
                    <a:pt x="142" y="429"/>
                  </a:lnTo>
                  <a:lnTo>
                    <a:pt x="155" y="434"/>
                  </a:lnTo>
                  <a:lnTo>
                    <a:pt x="162" y="440"/>
                  </a:lnTo>
                  <a:lnTo>
                    <a:pt x="166" y="438"/>
                  </a:lnTo>
                  <a:lnTo>
                    <a:pt x="168" y="434"/>
                  </a:lnTo>
                  <a:lnTo>
                    <a:pt x="168" y="431"/>
                  </a:lnTo>
                  <a:lnTo>
                    <a:pt x="168" y="427"/>
                  </a:lnTo>
                  <a:lnTo>
                    <a:pt x="164" y="419"/>
                  </a:lnTo>
                  <a:lnTo>
                    <a:pt x="162" y="412"/>
                  </a:lnTo>
                  <a:lnTo>
                    <a:pt x="164" y="407"/>
                  </a:lnTo>
                  <a:lnTo>
                    <a:pt x="170" y="401"/>
                  </a:lnTo>
                  <a:lnTo>
                    <a:pt x="175" y="397"/>
                  </a:lnTo>
                  <a:lnTo>
                    <a:pt x="181" y="395"/>
                  </a:lnTo>
                  <a:lnTo>
                    <a:pt x="184" y="399"/>
                  </a:lnTo>
                  <a:lnTo>
                    <a:pt x="190" y="405"/>
                  </a:lnTo>
                  <a:lnTo>
                    <a:pt x="192" y="403"/>
                  </a:lnTo>
                  <a:lnTo>
                    <a:pt x="195" y="401"/>
                  </a:lnTo>
                  <a:lnTo>
                    <a:pt x="197" y="403"/>
                  </a:lnTo>
                  <a:lnTo>
                    <a:pt x="199" y="405"/>
                  </a:lnTo>
                  <a:lnTo>
                    <a:pt x="205" y="407"/>
                  </a:lnTo>
                  <a:lnTo>
                    <a:pt x="214" y="405"/>
                  </a:lnTo>
                  <a:lnTo>
                    <a:pt x="225" y="414"/>
                  </a:lnTo>
                  <a:lnTo>
                    <a:pt x="234" y="429"/>
                  </a:lnTo>
                  <a:lnTo>
                    <a:pt x="232" y="434"/>
                  </a:lnTo>
                  <a:lnTo>
                    <a:pt x="232" y="442"/>
                  </a:lnTo>
                  <a:lnTo>
                    <a:pt x="242" y="442"/>
                  </a:lnTo>
                  <a:lnTo>
                    <a:pt x="251" y="442"/>
                  </a:lnTo>
                  <a:lnTo>
                    <a:pt x="262" y="456"/>
                  </a:lnTo>
                  <a:lnTo>
                    <a:pt x="271" y="473"/>
                  </a:lnTo>
                  <a:lnTo>
                    <a:pt x="280" y="471"/>
                  </a:lnTo>
                  <a:lnTo>
                    <a:pt x="291" y="469"/>
                  </a:lnTo>
                  <a:lnTo>
                    <a:pt x="301" y="475"/>
                  </a:lnTo>
                  <a:lnTo>
                    <a:pt x="310" y="480"/>
                  </a:lnTo>
                  <a:lnTo>
                    <a:pt x="315" y="480"/>
                  </a:lnTo>
                  <a:lnTo>
                    <a:pt x="321" y="480"/>
                  </a:lnTo>
                  <a:lnTo>
                    <a:pt x="328" y="484"/>
                  </a:lnTo>
                  <a:lnTo>
                    <a:pt x="338" y="488"/>
                  </a:lnTo>
                  <a:lnTo>
                    <a:pt x="352" y="484"/>
                  </a:lnTo>
                  <a:lnTo>
                    <a:pt x="367" y="480"/>
                  </a:lnTo>
                  <a:lnTo>
                    <a:pt x="386" y="490"/>
                  </a:lnTo>
                  <a:lnTo>
                    <a:pt x="402" y="501"/>
                  </a:lnTo>
                  <a:lnTo>
                    <a:pt x="412" y="506"/>
                  </a:lnTo>
                  <a:lnTo>
                    <a:pt x="421" y="510"/>
                  </a:lnTo>
                  <a:lnTo>
                    <a:pt x="430" y="516"/>
                  </a:lnTo>
                  <a:lnTo>
                    <a:pt x="439" y="517"/>
                  </a:lnTo>
                  <a:lnTo>
                    <a:pt x="452" y="514"/>
                  </a:lnTo>
                  <a:lnTo>
                    <a:pt x="467" y="508"/>
                  </a:lnTo>
                  <a:lnTo>
                    <a:pt x="478" y="503"/>
                  </a:lnTo>
                  <a:lnTo>
                    <a:pt x="487" y="497"/>
                  </a:lnTo>
                  <a:lnTo>
                    <a:pt x="493" y="492"/>
                  </a:lnTo>
                  <a:lnTo>
                    <a:pt x="495" y="488"/>
                  </a:lnTo>
                  <a:lnTo>
                    <a:pt x="498" y="482"/>
                  </a:lnTo>
                  <a:lnTo>
                    <a:pt x="498" y="477"/>
                  </a:lnTo>
                  <a:lnTo>
                    <a:pt x="498" y="471"/>
                  </a:lnTo>
                  <a:lnTo>
                    <a:pt x="498" y="466"/>
                  </a:lnTo>
                  <a:lnTo>
                    <a:pt x="502" y="460"/>
                  </a:lnTo>
                  <a:lnTo>
                    <a:pt x="506" y="455"/>
                  </a:lnTo>
                  <a:lnTo>
                    <a:pt x="515" y="442"/>
                  </a:lnTo>
                  <a:lnTo>
                    <a:pt x="526" y="421"/>
                  </a:lnTo>
                  <a:lnTo>
                    <a:pt x="539" y="410"/>
                  </a:lnTo>
                  <a:lnTo>
                    <a:pt x="552" y="401"/>
                  </a:lnTo>
                  <a:lnTo>
                    <a:pt x="563" y="390"/>
                  </a:lnTo>
                  <a:lnTo>
                    <a:pt x="572" y="379"/>
                  </a:lnTo>
                  <a:lnTo>
                    <a:pt x="578" y="368"/>
                  </a:lnTo>
                  <a:lnTo>
                    <a:pt x="580" y="359"/>
                  </a:lnTo>
                  <a:lnTo>
                    <a:pt x="581" y="346"/>
                  </a:lnTo>
                  <a:lnTo>
                    <a:pt x="581" y="336"/>
                  </a:lnTo>
                  <a:lnTo>
                    <a:pt x="593" y="333"/>
                  </a:lnTo>
                  <a:lnTo>
                    <a:pt x="600" y="331"/>
                  </a:lnTo>
                  <a:lnTo>
                    <a:pt x="604" y="329"/>
                  </a:lnTo>
                  <a:lnTo>
                    <a:pt x="605" y="325"/>
                  </a:lnTo>
                  <a:lnTo>
                    <a:pt x="607" y="322"/>
                  </a:lnTo>
                  <a:lnTo>
                    <a:pt x="607" y="318"/>
                  </a:lnTo>
                  <a:lnTo>
                    <a:pt x="613" y="312"/>
                  </a:lnTo>
                  <a:lnTo>
                    <a:pt x="618" y="307"/>
                  </a:lnTo>
                  <a:lnTo>
                    <a:pt x="624" y="303"/>
                  </a:lnTo>
                  <a:lnTo>
                    <a:pt x="630" y="303"/>
                  </a:lnTo>
                  <a:lnTo>
                    <a:pt x="635" y="316"/>
                  </a:lnTo>
                  <a:lnTo>
                    <a:pt x="639" y="336"/>
                  </a:lnTo>
                  <a:lnTo>
                    <a:pt x="650" y="333"/>
                  </a:lnTo>
                  <a:lnTo>
                    <a:pt x="659" y="329"/>
                  </a:lnTo>
                  <a:lnTo>
                    <a:pt x="666" y="323"/>
                  </a:lnTo>
                  <a:lnTo>
                    <a:pt x="674" y="318"/>
                  </a:lnTo>
                  <a:lnTo>
                    <a:pt x="681" y="312"/>
                  </a:lnTo>
                  <a:lnTo>
                    <a:pt x="689" y="307"/>
                  </a:lnTo>
                  <a:lnTo>
                    <a:pt x="698" y="303"/>
                  </a:lnTo>
                  <a:lnTo>
                    <a:pt x="707" y="298"/>
                  </a:lnTo>
                  <a:lnTo>
                    <a:pt x="714" y="298"/>
                  </a:lnTo>
                  <a:lnTo>
                    <a:pt x="722" y="298"/>
                  </a:lnTo>
                  <a:lnTo>
                    <a:pt x="737" y="298"/>
                  </a:lnTo>
                  <a:lnTo>
                    <a:pt x="750" y="298"/>
                  </a:lnTo>
                  <a:lnTo>
                    <a:pt x="759" y="288"/>
                  </a:lnTo>
                  <a:lnTo>
                    <a:pt x="768" y="279"/>
                  </a:lnTo>
                  <a:lnTo>
                    <a:pt x="772" y="274"/>
                  </a:lnTo>
                  <a:lnTo>
                    <a:pt x="777" y="270"/>
                  </a:lnTo>
                  <a:lnTo>
                    <a:pt x="785" y="266"/>
                  </a:lnTo>
                  <a:lnTo>
                    <a:pt x="794" y="262"/>
                  </a:lnTo>
                  <a:lnTo>
                    <a:pt x="822" y="266"/>
                  </a:lnTo>
                  <a:lnTo>
                    <a:pt x="844" y="272"/>
                  </a:lnTo>
                  <a:lnTo>
                    <a:pt x="860" y="262"/>
                  </a:lnTo>
                  <a:lnTo>
                    <a:pt x="873" y="251"/>
                  </a:lnTo>
                  <a:lnTo>
                    <a:pt x="897" y="249"/>
                  </a:lnTo>
                  <a:lnTo>
                    <a:pt x="912" y="246"/>
                  </a:lnTo>
                  <a:lnTo>
                    <a:pt x="914" y="238"/>
                  </a:lnTo>
                  <a:lnTo>
                    <a:pt x="916" y="233"/>
                  </a:lnTo>
                  <a:lnTo>
                    <a:pt x="921" y="233"/>
                  </a:lnTo>
                  <a:lnTo>
                    <a:pt x="931" y="231"/>
                  </a:lnTo>
                  <a:lnTo>
                    <a:pt x="923" y="205"/>
                  </a:lnTo>
                  <a:lnTo>
                    <a:pt x="914" y="183"/>
                  </a:lnTo>
                  <a:lnTo>
                    <a:pt x="923" y="170"/>
                  </a:lnTo>
                  <a:lnTo>
                    <a:pt x="936" y="159"/>
                  </a:lnTo>
                  <a:lnTo>
                    <a:pt x="923" y="155"/>
                  </a:lnTo>
                  <a:lnTo>
                    <a:pt x="910" y="153"/>
                  </a:lnTo>
                  <a:lnTo>
                    <a:pt x="894" y="157"/>
                  </a:lnTo>
                  <a:lnTo>
                    <a:pt x="883" y="161"/>
                  </a:lnTo>
                  <a:lnTo>
                    <a:pt x="875" y="166"/>
                  </a:lnTo>
                  <a:lnTo>
                    <a:pt x="870" y="168"/>
                  </a:lnTo>
                  <a:lnTo>
                    <a:pt x="853" y="164"/>
                  </a:lnTo>
                  <a:lnTo>
                    <a:pt x="838" y="163"/>
                  </a:lnTo>
                  <a:lnTo>
                    <a:pt x="827" y="172"/>
                  </a:lnTo>
                  <a:lnTo>
                    <a:pt x="814" y="187"/>
                  </a:lnTo>
                  <a:lnTo>
                    <a:pt x="807" y="194"/>
                  </a:lnTo>
                  <a:lnTo>
                    <a:pt x="796" y="198"/>
                  </a:lnTo>
                  <a:lnTo>
                    <a:pt x="788" y="200"/>
                  </a:lnTo>
                  <a:lnTo>
                    <a:pt x="781" y="200"/>
                  </a:lnTo>
                  <a:lnTo>
                    <a:pt x="772" y="198"/>
                  </a:lnTo>
                  <a:lnTo>
                    <a:pt x="761" y="196"/>
                  </a:lnTo>
                  <a:lnTo>
                    <a:pt x="711" y="163"/>
                  </a:lnTo>
                  <a:lnTo>
                    <a:pt x="637" y="115"/>
                  </a:lnTo>
                  <a:lnTo>
                    <a:pt x="602" y="89"/>
                  </a:lnTo>
                  <a:lnTo>
                    <a:pt x="569" y="61"/>
                  </a:lnTo>
                  <a:lnTo>
                    <a:pt x="556" y="48"/>
                  </a:lnTo>
                  <a:lnTo>
                    <a:pt x="545" y="35"/>
                  </a:lnTo>
                  <a:lnTo>
                    <a:pt x="537" y="24"/>
                  </a:lnTo>
                  <a:lnTo>
                    <a:pt x="533" y="13"/>
                  </a:lnTo>
                  <a:lnTo>
                    <a:pt x="521" y="15"/>
                  </a:lnTo>
                  <a:lnTo>
                    <a:pt x="506" y="17"/>
                  </a:lnTo>
                  <a:lnTo>
                    <a:pt x="489" y="15"/>
                  </a:lnTo>
                  <a:lnTo>
                    <a:pt x="471" y="11"/>
                  </a:lnTo>
                  <a:lnTo>
                    <a:pt x="450" y="7"/>
                  </a:lnTo>
                  <a:lnTo>
                    <a:pt x="432" y="4"/>
                  </a:lnTo>
                  <a:lnTo>
                    <a:pt x="413" y="0"/>
                  </a:lnTo>
                  <a:lnTo>
                    <a:pt x="397" y="0"/>
                  </a:lnTo>
                  <a:lnTo>
                    <a:pt x="369" y="26"/>
                  </a:lnTo>
                  <a:lnTo>
                    <a:pt x="343" y="52"/>
                  </a:lnTo>
                  <a:lnTo>
                    <a:pt x="345" y="63"/>
                  </a:lnTo>
                  <a:lnTo>
                    <a:pt x="352" y="74"/>
                  </a:lnTo>
                  <a:lnTo>
                    <a:pt x="347" y="85"/>
                  </a:lnTo>
                  <a:lnTo>
                    <a:pt x="343" y="102"/>
                  </a:lnTo>
                  <a:lnTo>
                    <a:pt x="349" y="111"/>
                  </a:lnTo>
                  <a:lnTo>
                    <a:pt x="354" y="120"/>
                  </a:lnTo>
                  <a:lnTo>
                    <a:pt x="349" y="124"/>
                  </a:lnTo>
                  <a:lnTo>
                    <a:pt x="343" y="126"/>
                  </a:lnTo>
                  <a:lnTo>
                    <a:pt x="336" y="128"/>
                  </a:lnTo>
                  <a:lnTo>
                    <a:pt x="328" y="128"/>
                  </a:lnTo>
                  <a:lnTo>
                    <a:pt x="327" y="120"/>
                  </a:lnTo>
                  <a:lnTo>
                    <a:pt x="323" y="113"/>
                  </a:lnTo>
                  <a:lnTo>
                    <a:pt x="317" y="113"/>
                  </a:lnTo>
                  <a:lnTo>
                    <a:pt x="314" y="113"/>
                  </a:lnTo>
                  <a:lnTo>
                    <a:pt x="301" y="107"/>
                  </a:lnTo>
                  <a:lnTo>
                    <a:pt x="290" y="102"/>
                  </a:lnTo>
                  <a:lnTo>
                    <a:pt x="275" y="100"/>
                  </a:lnTo>
                  <a:lnTo>
                    <a:pt x="264" y="100"/>
                  </a:lnTo>
                  <a:lnTo>
                    <a:pt x="262" y="96"/>
                  </a:lnTo>
                  <a:lnTo>
                    <a:pt x="264" y="89"/>
                  </a:lnTo>
                  <a:lnTo>
                    <a:pt x="262" y="85"/>
                  </a:lnTo>
                  <a:lnTo>
                    <a:pt x="262" y="79"/>
                  </a:lnTo>
                  <a:lnTo>
                    <a:pt x="258" y="76"/>
                  </a:lnTo>
                  <a:lnTo>
                    <a:pt x="253" y="70"/>
                  </a:lnTo>
                  <a:lnTo>
                    <a:pt x="234" y="61"/>
                  </a:lnTo>
                  <a:lnTo>
                    <a:pt x="219" y="50"/>
                  </a:lnTo>
                  <a:lnTo>
                    <a:pt x="212" y="39"/>
                  </a:lnTo>
                  <a:lnTo>
                    <a:pt x="206" y="30"/>
                  </a:lnTo>
                  <a:lnTo>
                    <a:pt x="203" y="26"/>
                  </a:lnTo>
                  <a:lnTo>
                    <a:pt x="199" y="22"/>
                  </a:lnTo>
                  <a:lnTo>
                    <a:pt x="192" y="19"/>
                  </a:lnTo>
                  <a:lnTo>
                    <a:pt x="184" y="15"/>
                  </a:lnTo>
                  <a:lnTo>
                    <a:pt x="182" y="15"/>
                  </a:lnTo>
                  <a:lnTo>
                    <a:pt x="181" y="17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79" y="31"/>
                  </a:lnTo>
                  <a:lnTo>
                    <a:pt x="181" y="37"/>
                  </a:lnTo>
                  <a:lnTo>
                    <a:pt x="190" y="50"/>
                  </a:lnTo>
                  <a:lnTo>
                    <a:pt x="197" y="61"/>
                  </a:lnTo>
                  <a:lnTo>
                    <a:pt x="201" y="67"/>
                  </a:lnTo>
                  <a:lnTo>
                    <a:pt x="203" y="74"/>
                  </a:lnTo>
                  <a:lnTo>
                    <a:pt x="203" y="79"/>
                  </a:lnTo>
                  <a:lnTo>
                    <a:pt x="203" y="85"/>
                  </a:lnTo>
                  <a:lnTo>
                    <a:pt x="186" y="98"/>
                  </a:lnTo>
                  <a:lnTo>
                    <a:pt x="171" y="109"/>
                  </a:lnTo>
                  <a:lnTo>
                    <a:pt x="175" y="129"/>
                  </a:lnTo>
                  <a:lnTo>
                    <a:pt x="177" y="146"/>
                  </a:lnTo>
                  <a:lnTo>
                    <a:pt x="162" y="148"/>
                  </a:lnTo>
                  <a:lnTo>
                    <a:pt x="151" y="148"/>
                  </a:lnTo>
                  <a:lnTo>
                    <a:pt x="147" y="150"/>
                  </a:lnTo>
                  <a:lnTo>
                    <a:pt x="146" y="153"/>
                  </a:lnTo>
                  <a:lnTo>
                    <a:pt x="144" y="159"/>
                  </a:lnTo>
                  <a:lnTo>
                    <a:pt x="144" y="164"/>
                  </a:lnTo>
                  <a:lnTo>
                    <a:pt x="142" y="168"/>
                  </a:lnTo>
                  <a:lnTo>
                    <a:pt x="138" y="170"/>
                  </a:lnTo>
                  <a:lnTo>
                    <a:pt x="134" y="172"/>
                  </a:lnTo>
                  <a:lnTo>
                    <a:pt x="127" y="172"/>
                  </a:lnTo>
                  <a:lnTo>
                    <a:pt x="127" y="179"/>
                  </a:lnTo>
                  <a:lnTo>
                    <a:pt x="125" y="187"/>
                  </a:lnTo>
                  <a:lnTo>
                    <a:pt x="123" y="192"/>
                  </a:lnTo>
                  <a:lnTo>
                    <a:pt x="120" y="196"/>
                  </a:lnTo>
                  <a:lnTo>
                    <a:pt x="127" y="198"/>
                  </a:lnTo>
                  <a:lnTo>
                    <a:pt x="138" y="194"/>
                  </a:lnTo>
                  <a:lnTo>
                    <a:pt x="144" y="201"/>
                  </a:lnTo>
                  <a:lnTo>
                    <a:pt x="151" y="205"/>
                  </a:lnTo>
                  <a:lnTo>
                    <a:pt x="170" y="196"/>
                  </a:lnTo>
                  <a:lnTo>
                    <a:pt x="181" y="192"/>
                  </a:lnTo>
                  <a:lnTo>
                    <a:pt x="181" y="196"/>
                  </a:lnTo>
                  <a:lnTo>
                    <a:pt x="184" y="198"/>
                  </a:lnTo>
                  <a:lnTo>
                    <a:pt x="192" y="194"/>
                  </a:lnTo>
                  <a:lnTo>
                    <a:pt x="201" y="190"/>
                  </a:lnTo>
                  <a:lnTo>
                    <a:pt x="206" y="209"/>
                  </a:lnTo>
                  <a:lnTo>
                    <a:pt x="212" y="227"/>
                  </a:lnTo>
                  <a:lnTo>
                    <a:pt x="195" y="233"/>
                  </a:lnTo>
                  <a:lnTo>
                    <a:pt x="179" y="242"/>
                  </a:lnTo>
                  <a:lnTo>
                    <a:pt x="162" y="251"/>
                  </a:lnTo>
                  <a:lnTo>
                    <a:pt x="147" y="257"/>
                  </a:lnTo>
                  <a:lnTo>
                    <a:pt x="144" y="262"/>
                  </a:lnTo>
                  <a:lnTo>
                    <a:pt x="140" y="266"/>
                  </a:lnTo>
                  <a:lnTo>
                    <a:pt x="140" y="268"/>
                  </a:lnTo>
                  <a:lnTo>
                    <a:pt x="142" y="272"/>
                  </a:lnTo>
                  <a:lnTo>
                    <a:pt x="146" y="275"/>
                  </a:lnTo>
                  <a:lnTo>
                    <a:pt x="146" y="279"/>
                  </a:lnTo>
                  <a:lnTo>
                    <a:pt x="142" y="286"/>
                  </a:lnTo>
                  <a:lnTo>
                    <a:pt x="136" y="294"/>
                  </a:lnTo>
                  <a:lnTo>
                    <a:pt x="129" y="299"/>
                  </a:lnTo>
                  <a:lnTo>
                    <a:pt x="120" y="301"/>
                  </a:lnTo>
                  <a:lnTo>
                    <a:pt x="109" y="301"/>
                  </a:lnTo>
                  <a:lnTo>
                    <a:pt x="103" y="298"/>
                  </a:lnTo>
                  <a:lnTo>
                    <a:pt x="97" y="292"/>
                  </a:lnTo>
                  <a:lnTo>
                    <a:pt x="94" y="290"/>
                  </a:lnTo>
                  <a:lnTo>
                    <a:pt x="81" y="292"/>
                  </a:lnTo>
                  <a:lnTo>
                    <a:pt x="66" y="29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9" name="Freeform 67"/>
            <p:cNvSpPr>
              <a:spLocks/>
            </p:cNvSpPr>
            <p:nvPr/>
          </p:nvSpPr>
          <p:spPr bwMode="auto">
            <a:xfrm>
              <a:off x="3541545" y="2443661"/>
              <a:ext cx="49570" cy="74300"/>
            </a:xfrm>
            <a:custGeom>
              <a:avLst/>
              <a:gdLst>
                <a:gd name="T0" fmla="*/ 48 w 95"/>
                <a:gd name="T1" fmla="*/ 94 h 146"/>
                <a:gd name="T2" fmla="*/ 30 w 95"/>
                <a:gd name="T3" fmla="*/ 103 h 146"/>
                <a:gd name="T4" fmla="*/ 10 w 95"/>
                <a:gd name="T5" fmla="*/ 103 h 146"/>
                <a:gd name="T6" fmla="*/ 0 w 95"/>
                <a:gd name="T7" fmla="*/ 112 h 146"/>
                <a:gd name="T8" fmla="*/ 2 w 95"/>
                <a:gd name="T9" fmla="*/ 127 h 146"/>
                <a:gd name="T10" fmla="*/ 0 w 95"/>
                <a:gd name="T11" fmla="*/ 138 h 146"/>
                <a:gd name="T12" fmla="*/ 10 w 95"/>
                <a:gd name="T13" fmla="*/ 146 h 146"/>
                <a:gd name="T14" fmla="*/ 21 w 95"/>
                <a:gd name="T15" fmla="*/ 140 h 146"/>
                <a:gd name="T16" fmla="*/ 37 w 95"/>
                <a:gd name="T17" fmla="*/ 131 h 146"/>
                <a:gd name="T18" fmla="*/ 54 w 95"/>
                <a:gd name="T19" fmla="*/ 120 h 146"/>
                <a:gd name="T20" fmla="*/ 58 w 95"/>
                <a:gd name="T21" fmla="*/ 122 h 146"/>
                <a:gd name="T22" fmla="*/ 54 w 95"/>
                <a:gd name="T23" fmla="*/ 129 h 146"/>
                <a:gd name="T24" fmla="*/ 56 w 95"/>
                <a:gd name="T25" fmla="*/ 136 h 146"/>
                <a:gd name="T26" fmla="*/ 61 w 95"/>
                <a:gd name="T27" fmla="*/ 140 h 146"/>
                <a:gd name="T28" fmla="*/ 67 w 95"/>
                <a:gd name="T29" fmla="*/ 140 h 146"/>
                <a:gd name="T30" fmla="*/ 74 w 95"/>
                <a:gd name="T31" fmla="*/ 135 h 146"/>
                <a:gd name="T32" fmla="*/ 87 w 95"/>
                <a:gd name="T33" fmla="*/ 120 h 146"/>
                <a:gd name="T34" fmla="*/ 95 w 95"/>
                <a:gd name="T35" fmla="*/ 96 h 146"/>
                <a:gd name="T36" fmla="*/ 87 w 95"/>
                <a:gd name="T37" fmla="*/ 66 h 146"/>
                <a:gd name="T38" fmla="*/ 74 w 95"/>
                <a:gd name="T39" fmla="*/ 48 h 146"/>
                <a:gd name="T40" fmla="*/ 54 w 95"/>
                <a:gd name="T41" fmla="*/ 38 h 146"/>
                <a:gd name="T42" fmla="*/ 39 w 95"/>
                <a:gd name="T43" fmla="*/ 20 h 146"/>
                <a:gd name="T44" fmla="*/ 32 w 95"/>
                <a:gd name="T45" fmla="*/ 5 h 146"/>
                <a:gd name="T46" fmla="*/ 26 w 95"/>
                <a:gd name="T47" fmla="*/ 0 h 146"/>
                <a:gd name="T48" fmla="*/ 21 w 95"/>
                <a:gd name="T49" fmla="*/ 3 h 146"/>
                <a:gd name="T50" fmla="*/ 19 w 95"/>
                <a:gd name="T51" fmla="*/ 13 h 146"/>
                <a:gd name="T52" fmla="*/ 26 w 95"/>
                <a:gd name="T53" fmla="*/ 27 h 146"/>
                <a:gd name="T54" fmla="*/ 34 w 95"/>
                <a:gd name="T55" fmla="*/ 40 h 146"/>
                <a:gd name="T56" fmla="*/ 37 w 95"/>
                <a:gd name="T57" fmla="*/ 55 h 146"/>
                <a:gd name="T58" fmla="*/ 52 w 95"/>
                <a:gd name="T59" fmla="*/ 57 h 146"/>
                <a:gd name="T60" fmla="*/ 63 w 95"/>
                <a:gd name="T61" fmla="*/ 62 h 146"/>
                <a:gd name="T62" fmla="*/ 59 w 95"/>
                <a:gd name="T63" fmla="*/ 79 h 1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5"/>
                <a:gd name="T97" fmla="*/ 0 h 146"/>
                <a:gd name="T98" fmla="*/ 95 w 95"/>
                <a:gd name="T99" fmla="*/ 146 h 1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5" h="146">
                  <a:moveTo>
                    <a:pt x="56" y="86"/>
                  </a:moveTo>
                  <a:lnTo>
                    <a:pt x="48" y="94"/>
                  </a:lnTo>
                  <a:lnTo>
                    <a:pt x="39" y="99"/>
                  </a:lnTo>
                  <a:lnTo>
                    <a:pt x="30" y="103"/>
                  </a:lnTo>
                  <a:lnTo>
                    <a:pt x="21" y="105"/>
                  </a:lnTo>
                  <a:lnTo>
                    <a:pt x="10" y="103"/>
                  </a:lnTo>
                  <a:lnTo>
                    <a:pt x="0" y="105"/>
                  </a:lnTo>
                  <a:lnTo>
                    <a:pt x="0" y="112"/>
                  </a:lnTo>
                  <a:lnTo>
                    <a:pt x="4" y="120"/>
                  </a:lnTo>
                  <a:lnTo>
                    <a:pt x="2" y="127"/>
                  </a:lnTo>
                  <a:lnTo>
                    <a:pt x="2" y="133"/>
                  </a:lnTo>
                  <a:lnTo>
                    <a:pt x="0" y="138"/>
                  </a:lnTo>
                  <a:lnTo>
                    <a:pt x="4" y="144"/>
                  </a:lnTo>
                  <a:lnTo>
                    <a:pt x="10" y="146"/>
                  </a:lnTo>
                  <a:lnTo>
                    <a:pt x="15" y="144"/>
                  </a:lnTo>
                  <a:lnTo>
                    <a:pt x="21" y="140"/>
                  </a:lnTo>
                  <a:lnTo>
                    <a:pt x="26" y="136"/>
                  </a:lnTo>
                  <a:lnTo>
                    <a:pt x="37" y="131"/>
                  </a:lnTo>
                  <a:lnTo>
                    <a:pt x="48" y="122"/>
                  </a:lnTo>
                  <a:lnTo>
                    <a:pt x="54" y="120"/>
                  </a:lnTo>
                  <a:lnTo>
                    <a:pt x="58" y="120"/>
                  </a:lnTo>
                  <a:lnTo>
                    <a:pt x="58" y="122"/>
                  </a:lnTo>
                  <a:lnTo>
                    <a:pt x="56" y="125"/>
                  </a:lnTo>
                  <a:lnTo>
                    <a:pt x="54" y="129"/>
                  </a:lnTo>
                  <a:lnTo>
                    <a:pt x="54" y="133"/>
                  </a:lnTo>
                  <a:lnTo>
                    <a:pt x="56" y="136"/>
                  </a:lnTo>
                  <a:lnTo>
                    <a:pt x="59" y="138"/>
                  </a:lnTo>
                  <a:lnTo>
                    <a:pt x="61" y="140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71" y="138"/>
                  </a:lnTo>
                  <a:lnTo>
                    <a:pt x="74" y="135"/>
                  </a:lnTo>
                  <a:lnTo>
                    <a:pt x="80" y="129"/>
                  </a:lnTo>
                  <a:lnTo>
                    <a:pt x="87" y="120"/>
                  </a:lnTo>
                  <a:lnTo>
                    <a:pt x="91" y="107"/>
                  </a:lnTo>
                  <a:lnTo>
                    <a:pt x="95" y="96"/>
                  </a:lnTo>
                  <a:lnTo>
                    <a:pt x="95" y="83"/>
                  </a:lnTo>
                  <a:lnTo>
                    <a:pt x="87" y="66"/>
                  </a:lnTo>
                  <a:lnTo>
                    <a:pt x="82" y="51"/>
                  </a:lnTo>
                  <a:lnTo>
                    <a:pt x="74" y="48"/>
                  </a:lnTo>
                  <a:lnTo>
                    <a:pt x="65" y="46"/>
                  </a:lnTo>
                  <a:lnTo>
                    <a:pt x="54" y="38"/>
                  </a:lnTo>
                  <a:lnTo>
                    <a:pt x="45" y="27"/>
                  </a:lnTo>
                  <a:lnTo>
                    <a:pt x="39" y="20"/>
                  </a:lnTo>
                  <a:lnTo>
                    <a:pt x="34" y="9"/>
                  </a:lnTo>
                  <a:lnTo>
                    <a:pt x="32" y="5"/>
                  </a:lnTo>
                  <a:lnTo>
                    <a:pt x="30" y="1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1" y="3"/>
                  </a:lnTo>
                  <a:lnTo>
                    <a:pt x="19" y="7"/>
                  </a:lnTo>
                  <a:lnTo>
                    <a:pt x="19" y="13"/>
                  </a:lnTo>
                  <a:lnTo>
                    <a:pt x="21" y="18"/>
                  </a:lnTo>
                  <a:lnTo>
                    <a:pt x="26" y="27"/>
                  </a:lnTo>
                  <a:lnTo>
                    <a:pt x="32" y="35"/>
                  </a:lnTo>
                  <a:lnTo>
                    <a:pt x="34" y="40"/>
                  </a:lnTo>
                  <a:lnTo>
                    <a:pt x="34" y="48"/>
                  </a:lnTo>
                  <a:lnTo>
                    <a:pt x="37" y="55"/>
                  </a:lnTo>
                  <a:lnTo>
                    <a:pt x="41" y="61"/>
                  </a:lnTo>
                  <a:lnTo>
                    <a:pt x="52" y="57"/>
                  </a:lnTo>
                  <a:lnTo>
                    <a:pt x="59" y="55"/>
                  </a:lnTo>
                  <a:lnTo>
                    <a:pt x="63" y="62"/>
                  </a:lnTo>
                  <a:lnTo>
                    <a:pt x="61" y="70"/>
                  </a:lnTo>
                  <a:lnTo>
                    <a:pt x="59" y="79"/>
                  </a:lnTo>
                  <a:lnTo>
                    <a:pt x="56" y="86"/>
                  </a:lnTo>
                  <a:close/>
                </a:path>
              </a:pathLst>
            </a:custGeom>
            <a:solidFill>
              <a:srgbClr val="C00000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0" name="Freeform 68"/>
            <p:cNvSpPr>
              <a:spLocks/>
            </p:cNvSpPr>
            <p:nvPr/>
          </p:nvSpPr>
          <p:spPr bwMode="auto">
            <a:xfrm>
              <a:off x="4123865" y="2409565"/>
              <a:ext cx="171670" cy="214248"/>
            </a:xfrm>
            <a:custGeom>
              <a:avLst/>
              <a:gdLst>
                <a:gd name="T0" fmla="*/ 296 w 329"/>
                <a:gd name="T1" fmla="*/ 117 h 421"/>
                <a:gd name="T2" fmla="*/ 277 w 329"/>
                <a:gd name="T3" fmla="*/ 105 h 421"/>
                <a:gd name="T4" fmla="*/ 270 w 329"/>
                <a:gd name="T5" fmla="*/ 81 h 421"/>
                <a:gd name="T6" fmla="*/ 255 w 329"/>
                <a:gd name="T7" fmla="*/ 83 h 421"/>
                <a:gd name="T8" fmla="*/ 244 w 329"/>
                <a:gd name="T9" fmla="*/ 61 h 421"/>
                <a:gd name="T10" fmla="*/ 227 w 329"/>
                <a:gd name="T11" fmla="*/ 46 h 421"/>
                <a:gd name="T12" fmla="*/ 196 w 329"/>
                <a:gd name="T13" fmla="*/ 33 h 421"/>
                <a:gd name="T14" fmla="*/ 168 w 329"/>
                <a:gd name="T15" fmla="*/ 4 h 421"/>
                <a:gd name="T16" fmla="*/ 144 w 329"/>
                <a:gd name="T17" fmla="*/ 19 h 421"/>
                <a:gd name="T18" fmla="*/ 133 w 329"/>
                <a:gd name="T19" fmla="*/ 32 h 421"/>
                <a:gd name="T20" fmla="*/ 133 w 329"/>
                <a:gd name="T21" fmla="*/ 48 h 421"/>
                <a:gd name="T22" fmla="*/ 111 w 329"/>
                <a:gd name="T23" fmla="*/ 50 h 421"/>
                <a:gd name="T24" fmla="*/ 74 w 329"/>
                <a:gd name="T25" fmla="*/ 50 h 421"/>
                <a:gd name="T26" fmla="*/ 63 w 329"/>
                <a:gd name="T27" fmla="*/ 46 h 421"/>
                <a:gd name="T28" fmla="*/ 65 w 329"/>
                <a:gd name="T29" fmla="*/ 78 h 421"/>
                <a:gd name="T30" fmla="*/ 17 w 329"/>
                <a:gd name="T31" fmla="*/ 129 h 421"/>
                <a:gd name="T32" fmla="*/ 0 w 329"/>
                <a:gd name="T33" fmla="*/ 177 h 421"/>
                <a:gd name="T34" fmla="*/ 15 w 329"/>
                <a:gd name="T35" fmla="*/ 227 h 421"/>
                <a:gd name="T36" fmla="*/ 13 w 329"/>
                <a:gd name="T37" fmla="*/ 259 h 421"/>
                <a:gd name="T38" fmla="*/ 2 w 329"/>
                <a:gd name="T39" fmla="*/ 270 h 421"/>
                <a:gd name="T40" fmla="*/ 4 w 329"/>
                <a:gd name="T41" fmla="*/ 288 h 421"/>
                <a:gd name="T42" fmla="*/ 13 w 329"/>
                <a:gd name="T43" fmla="*/ 303 h 421"/>
                <a:gd name="T44" fmla="*/ 46 w 329"/>
                <a:gd name="T45" fmla="*/ 298 h 421"/>
                <a:gd name="T46" fmla="*/ 46 w 329"/>
                <a:gd name="T47" fmla="*/ 316 h 421"/>
                <a:gd name="T48" fmla="*/ 28 w 329"/>
                <a:gd name="T49" fmla="*/ 338 h 421"/>
                <a:gd name="T50" fmla="*/ 22 w 329"/>
                <a:gd name="T51" fmla="*/ 372 h 421"/>
                <a:gd name="T52" fmla="*/ 19 w 329"/>
                <a:gd name="T53" fmla="*/ 392 h 421"/>
                <a:gd name="T54" fmla="*/ 33 w 329"/>
                <a:gd name="T55" fmla="*/ 384 h 421"/>
                <a:gd name="T56" fmla="*/ 44 w 329"/>
                <a:gd name="T57" fmla="*/ 399 h 421"/>
                <a:gd name="T58" fmla="*/ 76 w 329"/>
                <a:gd name="T59" fmla="*/ 403 h 421"/>
                <a:gd name="T60" fmla="*/ 89 w 329"/>
                <a:gd name="T61" fmla="*/ 407 h 421"/>
                <a:gd name="T62" fmla="*/ 96 w 329"/>
                <a:gd name="T63" fmla="*/ 421 h 421"/>
                <a:gd name="T64" fmla="*/ 111 w 329"/>
                <a:gd name="T65" fmla="*/ 412 h 421"/>
                <a:gd name="T66" fmla="*/ 118 w 329"/>
                <a:gd name="T67" fmla="*/ 401 h 421"/>
                <a:gd name="T68" fmla="*/ 144 w 329"/>
                <a:gd name="T69" fmla="*/ 397 h 421"/>
                <a:gd name="T70" fmla="*/ 150 w 329"/>
                <a:gd name="T71" fmla="*/ 375 h 421"/>
                <a:gd name="T72" fmla="*/ 165 w 329"/>
                <a:gd name="T73" fmla="*/ 359 h 421"/>
                <a:gd name="T74" fmla="*/ 209 w 329"/>
                <a:gd name="T75" fmla="*/ 301 h 421"/>
                <a:gd name="T76" fmla="*/ 231 w 329"/>
                <a:gd name="T77" fmla="*/ 275 h 421"/>
                <a:gd name="T78" fmla="*/ 268 w 329"/>
                <a:gd name="T79" fmla="*/ 288 h 421"/>
                <a:gd name="T80" fmla="*/ 281 w 329"/>
                <a:gd name="T81" fmla="*/ 264 h 421"/>
                <a:gd name="T82" fmla="*/ 296 w 329"/>
                <a:gd name="T83" fmla="*/ 257 h 421"/>
                <a:gd name="T84" fmla="*/ 288 w 329"/>
                <a:gd name="T85" fmla="*/ 244 h 421"/>
                <a:gd name="T86" fmla="*/ 277 w 329"/>
                <a:gd name="T87" fmla="*/ 246 h 421"/>
                <a:gd name="T88" fmla="*/ 253 w 329"/>
                <a:gd name="T89" fmla="*/ 246 h 421"/>
                <a:gd name="T90" fmla="*/ 229 w 329"/>
                <a:gd name="T91" fmla="*/ 242 h 421"/>
                <a:gd name="T92" fmla="*/ 209 w 329"/>
                <a:gd name="T93" fmla="*/ 226 h 421"/>
                <a:gd name="T94" fmla="*/ 187 w 329"/>
                <a:gd name="T95" fmla="*/ 209 h 421"/>
                <a:gd name="T96" fmla="*/ 192 w 329"/>
                <a:gd name="T97" fmla="*/ 176 h 421"/>
                <a:gd name="T98" fmla="*/ 211 w 329"/>
                <a:gd name="T99" fmla="*/ 148 h 421"/>
                <a:gd name="T100" fmla="*/ 225 w 329"/>
                <a:gd name="T101" fmla="*/ 150 h 421"/>
                <a:gd name="T102" fmla="*/ 242 w 329"/>
                <a:gd name="T103" fmla="*/ 166 h 421"/>
                <a:gd name="T104" fmla="*/ 237 w 329"/>
                <a:gd name="T105" fmla="*/ 192 h 421"/>
                <a:gd name="T106" fmla="*/ 268 w 329"/>
                <a:gd name="T107" fmla="*/ 192 h 421"/>
                <a:gd name="T108" fmla="*/ 277 w 329"/>
                <a:gd name="T109" fmla="*/ 203 h 421"/>
                <a:gd name="T110" fmla="*/ 292 w 329"/>
                <a:gd name="T111" fmla="*/ 198 h 421"/>
                <a:gd name="T112" fmla="*/ 303 w 329"/>
                <a:gd name="T113" fmla="*/ 198 h 421"/>
                <a:gd name="T114" fmla="*/ 314 w 329"/>
                <a:gd name="T115" fmla="*/ 202 h 421"/>
                <a:gd name="T116" fmla="*/ 318 w 329"/>
                <a:gd name="T117" fmla="*/ 183 h 421"/>
                <a:gd name="T118" fmla="*/ 329 w 329"/>
                <a:gd name="T119" fmla="*/ 163 h 42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29"/>
                <a:gd name="T181" fmla="*/ 0 h 421"/>
                <a:gd name="T182" fmla="*/ 329 w 329"/>
                <a:gd name="T183" fmla="*/ 421 h 42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29" h="421">
                  <a:moveTo>
                    <a:pt x="329" y="148"/>
                  </a:moveTo>
                  <a:lnTo>
                    <a:pt x="310" y="131"/>
                  </a:lnTo>
                  <a:lnTo>
                    <a:pt x="296" y="117"/>
                  </a:lnTo>
                  <a:lnTo>
                    <a:pt x="288" y="113"/>
                  </a:lnTo>
                  <a:lnTo>
                    <a:pt x="281" y="109"/>
                  </a:lnTo>
                  <a:lnTo>
                    <a:pt x="277" y="105"/>
                  </a:lnTo>
                  <a:lnTo>
                    <a:pt x="275" y="100"/>
                  </a:lnTo>
                  <a:lnTo>
                    <a:pt x="272" y="92"/>
                  </a:lnTo>
                  <a:lnTo>
                    <a:pt x="270" y="81"/>
                  </a:lnTo>
                  <a:lnTo>
                    <a:pt x="264" y="83"/>
                  </a:lnTo>
                  <a:lnTo>
                    <a:pt x="261" y="83"/>
                  </a:lnTo>
                  <a:lnTo>
                    <a:pt x="255" y="83"/>
                  </a:lnTo>
                  <a:lnTo>
                    <a:pt x="251" y="81"/>
                  </a:lnTo>
                  <a:lnTo>
                    <a:pt x="248" y="72"/>
                  </a:lnTo>
                  <a:lnTo>
                    <a:pt x="244" y="61"/>
                  </a:lnTo>
                  <a:lnTo>
                    <a:pt x="237" y="57"/>
                  </a:lnTo>
                  <a:lnTo>
                    <a:pt x="229" y="54"/>
                  </a:lnTo>
                  <a:lnTo>
                    <a:pt x="227" y="46"/>
                  </a:lnTo>
                  <a:lnTo>
                    <a:pt x="224" y="41"/>
                  </a:lnTo>
                  <a:lnTo>
                    <a:pt x="211" y="37"/>
                  </a:lnTo>
                  <a:lnTo>
                    <a:pt x="196" y="33"/>
                  </a:lnTo>
                  <a:lnTo>
                    <a:pt x="185" y="15"/>
                  </a:lnTo>
                  <a:lnTo>
                    <a:pt x="174" y="0"/>
                  </a:lnTo>
                  <a:lnTo>
                    <a:pt x="168" y="4"/>
                  </a:lnTo>
                  <a:lnTo>
                    <a:pt x="155" y="9"/>
                  </a:lnTo>
                  <a:lnTo>
                    <a:pt x="150" y="17"/>
                  </a:lnTo>
                  <a:lnTo>
                    <a:pt x="144" y="19"/>
                  </a:lnTo>
                  <a:lnTo>
                    <a:pt x="139" y="19"/>
                  </a:lnTo>
                  <a:lnTo>
                    <a:pt x="129" y="19"/>
                  </a:lnTo>
                  <a:lnTo>
                    <a:pt x="133" y="32"/>
                  </a:lnTo>
                  <a:lnTo>
                    <a:pt x="139" y="48"/>
                  </a:lnTo>
                  <a:lnTo>
                    <a:pt x="135" y="50"/>
                  </a:lnTo>
                  <a:lnTo>
                    <a:pt x="133" y="48"/>
                  </a:lnTo>
                  <a:lnTo>
                    <a:pt x="131" y="46"/>
                  </a:lnTo>
                  <a:lnTo>
                    <a:pt x="128" y="44"/>
                  </a:lnTo>
                  <a:lnTo>
                    <a:pt x="111" y="50"/>
                  </a:lnTo>
                  <a:lnTo>
                    <a:pt x="92" y="56"/>
                  </a:lnTo>
                  <a:lnTo>
                    <a:pt x="83" y="54"/>
                  </a:lnTo>
                  <a:lnTo>
                    <a:pt x="74" y="50"/>
                  </a:lnTo>
                  <a:lnTo>
                    <a:pt x="70" y="48"/>
                  </a:lnTo>
                  <a:lnTo>
                    <a:pt x="67" y="46"/>
                  </a:lnTo>
                  <a:lnTo>
                    <a:pt x="63" y="46"/>
                  </a:lnTo>
                  <a:lnTo>
                    <a:pt x="59" y="48"/>
                  </a:lnTo>
                  <a:lnTo>
                    <a:pt x="63" y="61"/>
                  </a:lnTo>
                  <a:lnTo>
                    <a:pt x="65" y="78"/>
                  </a:lnTo>
                  <a:lnTo>
                    <a:pt x="46" y="96"/>
                  </a:lnTo>
                  <a:lnTo>
                    <a:pt x="24" y="115"/>
                  </a:lnTo>
                  <a:lnTo>
                    <a:pt x="17" y="129"/>
                  </a:lnTo>
                  <a:lnTo>
                    <a:pt x="9" y="142"/>
                  </a:lnTo>
                  <a:lnTo>
                    <a:pt x="4" y="159"/>
                  </a:lnTo>
                  <a:lnTo>
                    <a:pt x="0" y="177"/>
                  </a:lnTo>
                  <a:lnTo>
                    <a:pt x="11" y="192"/>
                  </a:lnTo>
                  <a:lnTo>
                    <a:pt x="19" y="207"/>
                  </a:lnTo>
                  <a:lnTo>
                    <a:pt x="15" y="227"/>
                  </a:lnTo>
                  <a:lnTo>
                    <a:pt x="9" y="244"/>
                  </a:lnTo>
                  <a:lnTo>
                    <a:pt x="11" y="255"/>
                  </a:lnTo>
                  <a:lnTo>
                    <a:pt x="13" y="259"/>
                  </a:lnTo>
                  <a:lnTo>
                    <a:pt x="11" y="262"/>
                  </a:lnTo>
                  <a:lnTo>
                    <a:pt x="4" y="266"/>
                  </a:lnTo>
                  <a:lnTo>
                    <a:pt x="2" y="270"/>
                  </a:lnTo>
                  <a:lnTo>
                    <a:pt x="2" y="277"/>
                  </a:lnTo>
                  <a:lnTo>
                    <a:pt x="2" y="283"/>
                  </a:lnTo>
                  <a:lnTo>
                    <a:pt x="4" y="288"/>
                  </a:lnTo>
                  <a:lnTo>
                    <a:pt x="6" y="296"/>
                  </a:lnTo>
                  <a:lnTo>
                    <a:pt x="9" y="299"/>
                  </a:lnTo>
                  <a:lnTo>
                    <a:pt x="13" y="303"/>
                  </a:lnTo>
                  <a:lnTo>
                    <a:pt x="17" y="303"/>
                  </a:lnTo>
                  <a:lnTo>
                    <a:pt x="33" y="299"/>
                  </a:lnTo>
                  <a:lnTo>
                    <a:pt x="46" y="298"/>
                  </a:lnTo>
                  <a:lnTo>
                    <a:pt x="48" y="305"/>
                  </a:lnTo>
                  <a:lnTo>
                    <a:pt x="48" y="311"/>
                  </a:lnTo>
                  <a:lnTo>
                    <a:pt x="46" y="316"/>
                  </a:lnTo>
                  <a:lnTo>
                    <a:pt x="43" y="320"/>
                  </a:lnTo>
                  <a:lnTo>
                    <a:pt x="35" y="327"/>
                  </a:lnTo>
                  <a:lnTo>
                    <a:pt x="28" y="338"/>
                  </a:lnTo>
                  <a:lnTo>
                    <a:pt x="32" y="346"/>
                  </a:lnTo>
                  <a:lnTo>
                    <a:pt x="37" y="357"/>
                  </a:lnTo>
                  <a:lnTo>
                    <a:pt x="22" y="372"/>
                  </a:lnTo>
                  <a:lnTo>
                    <a:pt x="11" y="388"/>
                  </a:lnTo>
                  <a:lnTo>
                    <a:pt x="15" y="390"/>
                  </a:lnTo>
                  <a:lnTo>
                    <a:pt x="19" y="392"/>
                  </a:lnTo>
                  <a:lnTo>
                    <a:pt x="22" y="390"/>
                  </a:lnTo>
                  <a:lnTo>
                    <a:pt x="26" y="388"/>
                  </a:lnTo>
                  <a:lnTo>
                    <a:pt x="33" y="384"/>
                  </a:lnTo>
                  <a:lnTo>
                    <a:pt x="39" y="383"/>
                  </a:lnTo>
                  <a:lnTo>
                    <a:pt x="41" y="388"/>
                  </a:lnTo>
                  <a:lnTo>
                    <a:pt x="44" y="399"/>
                  </a:lnTo>
                  <a:lnTo>
                    <a:pt x="57" y="401"/>
                  </a:lnTo>
                  <a:lnTo>
                    <a:pt x="70" y="401"/>
                  </a:lnTo>
                  <a:lnTo>
                    <a:pt x="76" y="403"/>
                  </a:lnTo>
                  <a:lnTo>
                    <a:pt x="81" y="403"/>
                  </a:lnTo>
                  <a:lnTo>
                    <a:pt x="85" y="405"/>
                  </a:lnTo>
                  <a:lnTo>
                    <a:pt x="89" y="407"/>
                  </a:lnTo>
                  <a:lnTo>
                    <a:pt x="87" y="414"/>
                  </a:lnTo>
                  <a:lnTo>
                    <a:pt x="87" y="421"/>
                  </a:lnTo>
                  <a:lnTo>
                    <a:pt x="96" y="421"/>
                  </a:lnTo>
                  <a:lnTo>
                    <a:pt x="104" y="420"/>
                  </a:lnTo>
                  <a:lnTo>
                    <a:pt x="107" y="416"/>
                  </a:lnTo>
                  <a:lnTo>
                    <a:pt x="111" y="412"/>
                  </a:lnTo>
                  <a:lnTo>
                    <a:pt x="113" y="408"/>
                  </a:lnTo>
                  <a:lnTo>
                    <a:pt x="116" y="405"/>
                  </a:lnTo>
                  <a:lnTo>
                    <a:pt x="118" y="401"/>
                  </a:lnTo>
                  <a:lnTo>
                    <a:pt x="124" y="397"/>
                  </a:lnTo>
                  <a:lnTo>
                    <a:pt x="135" y="396"/>
                  </a:lnTo>
                  <a:lnTo>
                    <a:pt x="144" y="397"/>
                  </a:lnTo>
                  <a:lnTo>
                    <a:pt x="146" y="384"/>
                  </a:lnTo>
                  <a:lnTo>
                    <a:pt x="150" y="375"/>
                  </a:lnTo>
                  <a:lnTo>
                    <a:pt x="153" y="370"/>
                  </a:lnTo>
                  <a:lnTo>
                    <a:pt x="157" y="364"/>
                  </a:lnTo>
                  <a:lnTo>
                    <a:pt x="165" y="359"/>
                  </a:lnTo>
                  <a:lnTo>
                    <a:pt x="172" y="351"/>
                  </a:lnTo>
                  <a:lnTo>
                    <a:pt x="192" y="323"/>
                  </a:lnTo>
                  <a:lnTo>
                    <a:pt x="209" y="301"/>
                  </a:lnTo>
                  <a:lnTo>
                    <a:pt x="214" y="285"/>
                  </a:lnTo>
                  <a:lnTo>
                    <a:pt x="218" y="275"/>
                  </a:lnTo>
                  <a:lnTo>
                    <a:pt x="231" y="275"/>
                  </a:lnTo>
                  <a:lnTo>
                    <a:pt x="248" y="279"/>
                  </a:lnTo>
                  <a:lnTo>
                    <a:pt x="259" y="285"/>
                  </a:lnTo>
                  <a:lnTo>
                    <a:pt x="268" y="288"/>
                  </a:lnTo>
                  <a:lnTo>
                    <a:pt x="272" y="279"/>
                  </a:lnTo>
                  <a:lnTo>
                    <a:pt x="275" y="268"/>
                  </a:lnTo>
                  <a:lnTo>
                    <a:pt x="281" y="264"/>
                  </a:lnTo>
                  <a:lnTo>
                    <a:pt x="290" y="262"/>
                  </a:lnTo>
                  <a:lnTo>
                    <a:pt x="294" y="261"/>
                  </a:lnTo>
                  <a:lnTo>
                    <a:pt x="296" y="257"/>
                  </a:lnTo>
                  <a:lnTo>
                    <a:pt x="296" y="253"/>
                  </a:lnTo>
                  <a:lnTo>
                    <a:pt x="292" y="246"/>
                  </a:lnTo>
                  <a:lnTo>
                    <a:pt x="288" y="244"/>
                  </a:lnTo>
                  <a:lnTo>
                    <a:pt x="285" y="244"/>
                  </a:lnTo>
                  <a:lnTo>
                    <a:pt x="281" y="244"/>
                  </a:lnTo>
                  <a:lnTo>
                    <a:pt x="277" y="246"/>
                  </a:lnTo>
                  <a:lnTo>
                    <a:pt x="272" y="248"/>
                  </a:lnTo>
                  <a:lnTo>
                    <a:pt x="264" y="250"/>
                  </a:lnTo>
                  <a:lnTo>
                    <a:pt x="253" y="246"/>
                  </a:lnTo>
                  <a:lnTo>
                    <a:pt x="244" y="240"/>
                  </a:lnTo>
                  <a:lnTo>
                    <a:pt x="237" y="242"/>
                  </a:lnTo>
                  <a:lnTo>
                    <a:pt x="229" y="242"/>
                  </a:lnTo>
                  <a:lnTo>
                    <a:pt x="224" y="233"/>
                  </a:lnTo>
                  <a:lnTo>
                    <a:pt x="218" y="224"/>
                  </a:lnTo>
                  <a:lnTo>
                    <a:pt x="209" y="226"/>
                  </a:lnTo>
                  <a:lnTo>
                    <a:pt x="198" y="226"/>
                  </a:lnTo>
                  <a:lnTo>
                    <a:pt x="190" y="218"/>
                  </a:lnTo>
                  <a:lnTo>
                    <a:pt x="187" y="209"/>
                  </a:lnTo>
                  <a:lnTo>
                    <a:pt x="187" y="198"/>
                  </a:lnTo>
                  <a:lnTo>
                    <a:pt x="189" y="187"/>
                  </a:lnTo>
                  <a:lnTo>
                    <a:pt x="192" y="176"/>
                  </a:lnTo>
                  <a:lnTo>
                    <a:pt x="198" y="165"/>
                  </a:lnTo>
                  <a:lnTo>
                    <a:pt x="205" y="153"/>
                  </a:lnTo>
                  <a:lnTo>
                    <a:pt x="211" y="148"/>
                  </a:lnTo>
                  <a:lnTo>
                    <a:pt x="216" y="148"/>
                  </a:lnTo>
                  <a:lnTo>
                    <a:pt x="222" y="148"/>
                  </a:lnTo>
                  <a:lnTo>
                    <a:pt x="225" y="150"/>
                  </a:lnTo>
                  <a:lnTo>
                    <a:pt x="229" y="152"/>
                  </a:lnTo>
                  <a:lnTo>
                    <a:pt x="237" y="157"/>
                  </a:lnTo>
                  <a:lnTo>
                    <a:pt x="242" y="166"/>
                  </a:lnTo>
                  <a:lnTo>
                    <a:pt x="237" y="181"/>
                  </a:lnTo>
                  <a:lnTo>
                    <a:pt x="229" y="190"/>
                  </a:lnTo>
                  <a:lnTo>
                    <a:pt x="237" y="192"/>
                  </a:lnTo>
                  <a:lnTo>
                    <a:pt x="249" y="190"/>
                  </a:lnTo>
                  <a:lnTo>
                    <a:pt x="261" y="190"/>
                  </a:lnTo>
                  <a:lnTo>
                    <a:pt x="268" y="192"/>
                  </a:lnTo>
                  <a:lnTo>
                    <a:pt x="273" y="194"/>
                  </a:lnTo>
                  <a:lnTo>
                    <a:pt x="275" y="198"/>
                  </a:lnTo>
                  <a:lnTo>
                    <a:pt x="277" y="203"/>
                  </a:lnTo>
                  <a:lnTo>
                    <a:pt x="283" y="205"/>
                  </a:lnTo>
                  <a:lnTo>
                    <a:pt x="288" y="203"/>
                  </a:lnTo>
                  <a:lnTo>
                    <a:pt x="292" y="198"/>
                  </a:lnTo>
                  <a:lnTo>
                    <a:pt x="296" y="196"/>
                  </a:lnTo>
                  <a:lnTo>
                    <a:pt x="299" y="196"/>
                  </a:lnTo>
                  <a:lnTo>
                    <a:pt x="303" y="198"/>
                  </a:lnTo>
                  <a:lnTo>
                    <a:pt x="307" y="200"/>
                  </a:lnTo>
                  <a:lnTo>
                    <a:pt x="310" y="202"/>
                  </a:lnTo>
                  <a:lnTo>
                    <a:pt x="314" y="202"/>
                  </a:lnTo>
                  <a:lnTo>
                    <a:pt x="318" y="200"/>
                  </a:lnTo>
                  <a:lnTo>
                    <a:pt x="322" y="196"/>
                  </a:lnTo>
                  <a:lnTo>
                    <a:pt x="318" y="183"/>
                  </a:lnTo>
                  <a:lnTo>
                    <a:pt x="312" y="174"/>
                  </a:lnTo>
                  <a:lnTo>
                    <a:pt x="320" y="166"/>
                  </a:lnTo>
                  <a:lnTo>
                    <a:pt x="329" y="163"/>
                  </a:lnTo>
                  <a:lnTo>
                    <a:pt x="329" y="155"/>
                  </a:lnTo>
                  <a:lnTo>
                    <a:pt x="329" y="14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1" name="Freeform 69"/>
            <p:cNvSpPr>
              <a:spLocks/>
            </p:cNvSpPr>
            <p:nvPr/>
          </p:nvSpPr>
          <p:spPr bwMode="auto">
            <a:xfrm>
              <a:off x="4096210" y="2155622"/>
              <a:ext cx="206108" cy="214248"/>
            </a:xfrm>
            <a:custGeom>
              <a:avLst/>
              <a:gdLst>
                <a:gd name="T0" fmla="*/ 223 w 395"/>
                <a:gd name="T1" fmla="*/ 21 h 421"/>
                <a:gd name="T2" fmla="*/ 177 w 395"/>
                <a:gd name="T3" fmla="*/ 28 h 421"/>
                <a:gd name="T4" fmla="*/ 166 w 395"/>
                <a:gd name="T5" fmla="*/ 41 h 421"/>
                <a:gd name="T6" fmla="*/ 173 w 395"/>
                <a:gd name="T7" fmla="*/ 61 h 421"/>
                <a:gd name="T8" fmla="*/ 171 w 395"/>
                <a:gd name="T9" fmla="*/ 83 h 421"/>
                <a:gd name="T10" fmla="*/ 149 w 395"/>
                <a:gd name="T11" fmla="*/ 117 h 421"/>
                <a:gd name="T12" fmla="*/ 138 w 395"/>
                <a:gd name="T13" fmla="*/ 131 h 421"/>
                <a:gd name="T14" fmla="*/ 86 w 395"/>
                <a:gd name="T15" fmla="*/ 131 h 421"/>
                <a:gd name="T16" fmla="*/ 59 w 395"/>
                <a:gd name="T17" fmla="*/ 148 h 421"/>
                <a:gd name="T18" fmla="*/ 51 w 395"/>
                <a:gd name="T19" fmla="*/ 207 h 421"/>
                <a:gd name="T20" fmla="*/ 0 w 395"/>
                <a:gd name="T21" fmla="*/ 227 h 421"/>
                <a:gd name="T22" fmla="*/ 38 w 395"/>
                <a:gd name="T23" fmla="*/ 264 h 421"/>
                <a:gd name="T24" fmla="*/ 73 w 395"/>
                <a:gd name="T25" fmla="*/ 272 h 421"/>
                <a:gd name="T26" fmla="*/ 92 w 395"/>
                <a:gd name="T27" fmla="*/ 285 h 421"/>
                <a:gd name="T28" fmla="*/ 90 w 395"/>
                <a:gd name="T29" fmla="*/ 342 h 421"/>
                <a:gd name="T30" fmla="*/ 90 w 395"/>
                <a:gd name="T31" fmla="*/ 377 h 421"/>
                <a:gd name="T32" fmla="*/ 92 w 395"/>
                <a:gd name="T33" fmla="*/ 414 h 421"/>
                <a:gd name="T34" fmla="*/ 114 w 395"/>
                <a:gd name="T35" fmla="*/ 420 h 421"/>
                <a:gd name="T36" fmla="*/ 116 w 395"/>
                <a:gd name="T37" fmla="*/ 388 h 421"/>
                <a:gd name="T38" fmla="*/ 149 w 395"/>
                <a:gd name="T39" fmla="*/ 386 h 421"/>
                <a:gd name="T40" fmla="*/ 151 w 395"/>
                <a:gd name="T41" fmla="*/ 362 h 421"/>
                <a:gd name="T42" fmla="*/ 166 w 395"/>
                <a:gd name="T43" fmla="*/ 336 h 421"/>
                <a:gd name="T44" fmla="*/ 179 w 395"/>
                <a:gd name="T45" fmla="*/ 351 h 421"/>
                <a:gd name="T46" fmla="*/ 212 w 395"/>
                <a:gd name="T47" fmla="*/ 336 h 421"/>
                <a:gd name="T48" fmla="*/ 227 w 395"/>
                <a:gd name="T49" fmla="*/ 301 h 421"/>
                <a:gd name="T50" fmla="*/ 266 w 395"/>
                <a:gd name="T51" fmla="*/ 296 h 421"/>
                <a:gd name="T52" fmla="*/ 295 w 395"/>
                <a:gd name="T53" fmla="*/ 311 h 421"/>
                <a:gd name="T54" fmla="*/ 304 w 395"/>
                <a:gd name="T55" fmla="*/ 340 h 421"/>
                <a:gd name="T56" fmla="*/ 330 w 395"/>
                <a:gd name="T57" fmla="*/ 335 h 421"/>
                <a:gd name="T58" fmla="*/ 330 w 395"/>
                <a:gd name="T59" fmla="*/ 335 h 421"/>
                <a:gd name="T60" fmla="*/ 328 w 395"/>
                <a:gd name="T61" fmla="*/ 331 h 421"/>
                <a:gd name="T62" fmla="*/ 328 w 395"/>
                <a:gd name="T63" fmla="*/ 324 h 421"/>
                <a:gd name="T64" fmla="*/ 328 w 395"/>
                <a:gd name="T65" fmla="*/ 320 h 421"/>
                <a:gd name="T66" fmla="*/ 328 w 395"/>
                <a:gd name="T67" fmla="*/ 320 h 421"/>
                <a:gd name="T68" fmla="*/ 328 w 395"/>
                <a:gd name="T69" fmla="*/ 318 h 421"/>
                <a:gd name="T70" fmla="*/ 328 w 395"/>
                <a:gd name="T71" fmla="*/ 316 h 421"/>
                <a:gd name="T72" fmla="*/ 328 w 395"/>
                <a:gd name="T73" fmla="*/ 314 h 421"/>
                <a:gd name="T74" fmla="*/ 336 w 395"/>
                <a:gd name="T75" fmla="*/ 307 h 421"/>
                <a:gd name="T76" fmla="*/ 345 w 395"/>
                <a:gd name="T77" fmla="*/ 303 h 421"/>
                <a:gd name="T78" fmla="*/ 345 w 395"/>
                <a:gd name="T79" fmla="*/ 303 h 421"/>
                <a:gd name="T80" fmla="*/ 345 w 395"/>
                <a:gd name="T81" fmla="*/ 303 h 421"/>
                <a:gd name="T82" fmla="*/ 347 w 395"/>
                <a:gd name="T83" fmla="*/ 298 h 421"/>
                <a:gd name="T84" fmla="*/ 338 w 395"/>
                <a:gd name="T85" fmla="*/ 279 h 421"/>
                <a:gd name="T86" fmla="*/ 369 w 395"/>
                <a:gd name="T87" fmla="*/ 255 h 421"/>
                <a:gd name="T88" fmla="*/ 395 w 395"/>
                <a:gd name="T89" fmla="*/ 235 h 421"/>
                <a:gd name="T90" fmla="*/ 376 w 395"/>
                <a:gd name="T91" fmla="*/ 209 h 421"/>
                <a:gd name="T92" fmla="*/ 356 w 395"/>
                <a:gd name="T93" fmla="*/ 178 h 421"/>
                <a:gd name="T94" fmla="*/ 317 w 395"/>
                <a:gd name="T95" fmla="*/ 192 h 421"/>
                <a:gd name="T96" fmla="*/ 312 w 395"/>
                <a:gd name="T97" fmla="*/ 174 h 421"/>
                <a:gd name="T98" fmla="*/ 251 w 395"/>
                <a:gd name="T99" fmla="*/ 161 h 421"/>
                <a:gd name="T100" fmla="*/ 234 w 395"/>
                <a:gd name="T101" fmla="*/ 183 h 421"/>
                <a:gd name="T102" fmla="*/ 214 w 395"/>
                <a:gd name="T103" fmla="*/ 163 h 421"/>
                <a:gd name="T104" fmla="*/ 205 w 395"/>
                <a:gd name="T105" fmla="*/ 120 h 421"/>
                <a:gd name="T106" fmla="*/ 240 w 395"/>
                <a:gd name="T107" fmla="*/ 91 h 421"/>
                <a:gd name="T108" fmla="*/ 271 w 395"/>
                <a:gd name="T109" fmla="*/ 41 h 421"/>
                <a:gd name="T110" fmla="*/ 266 w 395"/>
                <a:gd name="T111" fmla="*/ 26 h 421"/>
                <a:gd name="T112" fmla="*/ 253 w 395"/>
                <a:gd name="T113" fmla="*/ 0 h 421"/>
                <a:gd name="T114" fmla="*/ 240 w 395"/>
                <a:gd name="T115" fmla="*/ 4 h 4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95"/>
                <a:gd name="T175" fmla="*/ 0 h 421"/>
                <a:gd name="T176" fmla="*/ 395 w 395"/>
                <a:gd name="T177" fmla="*/ 421 h 4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95" h="421">
                  <a:moveTo>
                    <a:pt x="240" y="4"/>
                  </a:moveTo>
                  <a:lnTo>
                    <a:pt x="238" y="9"/>
                  </a:lnTo>
                  <a:lnTo>
                    <a:pt x="234" y="13"/>
                  </a:lnTo>
                  <a:lnTo>
                    <a:pt x="229" y="17"/>
                  </a:lnTo>
                  <a:lnTo>
                    <a:pt x="223" y="21"/>
                  </a:lnTo>
                  <a:lnTo>
                    <a:pt x="208" y="26"/>
                  </a:lnTo>
                  <a:lnTo>
                    <a:pt x="197" y="28"/>
                  </a:lnTo>
                  <a:lnTo>
                    <a:pt x="188" y="30"/>
                  </a:lnTo>
                  <a:lnTo>
                    <a:pt x="182" y="28"/>
                  </a:lnTo>
                  <a:lnTo>
                    <a:pt x="177" y="28"/>
                  </a:lnTo>
                  <a:lnTo>
                    <a:pt x="171" y="26"/>
                  </a:lnTo>
                  <a:lnTo>
                    <a:pt x="169" y="26"/>
                  </a:lnTo>
                  <a:lnTo>
                    <a:pt x="166" y="30"/>
                  </a:lnTo>
                  <a:lnTo>
                    <a:pt x="164" y="35"/>
                  </a:lnTo>
                  <a:lnTo>
                    <a:pt x="166" y="41"/>
                  </a:lnTo>
                  <a:lnTo>
                    <a:pt x="168" y="45"/>
                  </a:lnTo>
                  <a:lnTo>
                    <a:pt x="169" y="46"/>
                  </a:lnTo>
                  <a:lnTo>
                    <a:pt x="173" y="52"/>
                  </a:lnTo>
                  <a:lnTo>
                    <a:pt x="177" y="57"/>
                  </a:lnTo>
                  <a:lnTo>
                    <a:pt x="173" y="61"/>
                  </a:lnTo>
                  <a:lnTo>
                    <a:pt x="169" y="65"/>
                  </a:lnTo>
                  <a:lnTo>
                    <a:pt x="171" y="69"/>
                  </a:lnTo>
                  <a:lnTo>
                    <a:pt x="173" y="72"/>
                  </a:lnTo>
                  <a:lnTo>
                    <a:pt x="173" y="78"/>
                  </a:lnTo>
                  <a:lnTo>
                    <a:pt x="171" y="83"/>
                  </a:lnTo>
                  <a:lnTo>
                    <a:pt x="162" y="89"/>
                  </a:lnTo>
                  <a:lnTo>
                    <a:pt x="155" y="94"/>
                  </a:lnTo>
                  <a:lnTo>
                    <a:pt x="149" y="100"/>
                  </a:lnTo>
                  <a:lnTo>
                    <a:pt x="149" y="107"/>
                  </a:lnTo>
                  <a:lnTo>
                    <a:pt x="149" y="117"/>
                  </a:lnTo>
                  <a:lnTo>
                    <a:pt x="149" y="126"/>
                  </a:lnTo>
                  <a:lnTo>
                    <a:pt x="147" y="131"/>
                  </a:lnTo>
                  <a:lnTo>
                    <a:pt x="145" y="133"/>
                  </a:lnTo>
                  <a:lnTo>
                    <a:pt x="144" y="133"/>
                  </a:lnTo>
                  <a:lnTo>
                    <a:pt x="138" y="131"/>
                  </a:lnTo>
                  <a:lnTo>
                    <a:pt x="133" y="131"/>
                  </a:lnTo>
                  <a:lnTo>
                    <a:pt x="123" y="130"/>
                  </a:lnTo>
                  <a:lnTo>
                    <a:pt x="112" y="131"/>
                  </a:lnTo>
                  <a:lnTo>
                    <a:pt x="97" y="135"/>
                  </a:lnTo>
                  <a:lnTo>
                    <a:pt x="86" y="131"/>
                  </a:lnTo>
                  <a:lnTo>
                    <a:pt x="79" y="131"/>
                  </a:lnTo>
                  <a:lnTo>
                    <a:pt x="75" y="135"/>
                  </a:lnTo>
                  <a:lnTo>
                    <a:pt x="70" y="139"/>
                  </a:lnTo>
                  <a:lnTo>
                    <a:pt x="62" y="144"/>
                  </a:lnTo>
                  <a:lnTo>
                    <a:pt x="59" y="148"/>
                  </a:lnTo>
                  <a:lnTo>
                    <a:pt x="68" y="168"/>
                  </a:lnTo>
                  <a:lnTo>
                    <a:pt x="75" y="198"/>
                  </a:lnTo>
                  <a:lnTo>
                    <a:pt x="66" y="200"/>
                  </a:lnTo>
                  <a:lnTo>
                    <a:pt x="57" y="202"/>
                  </a:lnTo>
                  <a:lnTo>
                    <a:pt x="51" y="207"/>
                  </a:lnTo>
                  <a:lnTo>
                    <a:pt x="46" y="209"/>
                  </a:lnTo>
                  <a:lnTo>
                    <a:pt x="35" y="200"/>
                  </a:lnTo>
                  <a:lnTo>
                    <a:pt x="25" y="194"/>
                  </a:lnTo>
                  <a:lnTo>
                    <a:pt x="16" y="207"/>
                  </a:lnTo>
                  <a:lnTo>
                    <a:pt x="0" y="227"/>
                  </a:lnTo>
                  <a:lnTo>
                    <a:pt x="7" y="239"/>
                  </a:lnTo>
                  <a:lnTo>
                    <a:pt x="16" y="248"/>
                  </a:lnTo>
                  <a:lnTo>
                    <a:pt x="24" y="255"/>
                  </a:lnTo>
                  <a:lnTo>
                    <a:pt x="31" y="261"/>
                  </a:lnTo>
                  <a:lnTo>
                    <a:pt x="38" y="264"/>
                  </a:lnTo>
                  <a:lnTo>
                    <a:pt x="46" y="266"/>
                  </a:lnTo>
                  <a:lnTo>
                    <a:pt x="53" y="266"/>
                  </a:lnTo>
                  <a:lnTo>
                    <a:pt x="60" y="266"/>
                  </a:lnTo>
                  <a:lnTo>
                    <a:pt x="68" y="268"/>
                  </a:lnTo>
                  <a:lnTo>
                    <a:pt x="73" y="272"/>
                  </a:lnTo>
                  <a:lnTo>
                    <a:pt x="77" y="277"/>
                  </a:lnTo>
                  <a:lnTo>
                    <a:pt x="81" y="285"/>
                  </a:lnTo>
                  <a:lnTo>
                    <a:pt x="86" y="279"/>
                  </a:lnTo>
                  <a:lnTo>
                    <a:pt x="92" y="276"/>
                  </a:lnTo>
                  <a:lnTo>
                    <a:pt x="92" y="285"/>
                  </a:lnTo>
                  <a:lnTo>
                    <a:pt x="88" y="296"/>
                  </a:lnTo>
                  <a:lnTo>
                    <a:pt x="92" y="300"/>
                  </a:lnTo>
                  <a:lnTo>
                    <a:pt x="96" y="307"/>
                  </a:lnTo>
                  <a:lnTo>
                    <a:pt x="94" y="324"/>
                  </a:lnTo>
                  <a:lnTo>
                    <a:pt x="90" y="342"/>
                  </a:lnTo>
                  <a:lnTo>
                    <a:pt x="92" y="351"/>
                  </a:lnTo>
                  <a:lnTo>
                    <a:pt x="96" y="361"/>
                  </a:lnTo>
                  <a:lnTo>
                    <a:pt x="94" y="368"/>
                  </a:lnTo>
                  <a:lnTo>
                    <a:pt x="92" y="373"/>
                  </a:lnTo>
                  <a:lnTo>
                    <a:pt x="90" y="377"/>
                  </a:lnTo>
                  <a:lnTo>
                    <a:pt x="90" y="381"/>
                  </a:lnTo>
                  <a:lnTo>
                    <a:pt x="92" y="388"/>
                  </a:lnTo>
                  <a:lnTo>
                    <a:pt x="94" y="396"/>
                  </a:lnTo>
                  <a:lnTo>
                    <a:pt x="92" y="407"/>
                  </a:lnTo>
                  <a:lnTo>
                    <a:pt x="92" y="414"/>
                  </a:lnTo>
                  <a:lnTo>
                    <a:pt x="96" y="418"/>
                  </a:lnTo>
                  <a:lnTo>
                    <a:pt x="103" y="421"/>
                  </a:lnTo>
                  <a:lnTo>
                    <a:pt x="107" y="421"/>
                  </a:lnTo>
                  <a:lnTo>
                    <a:pt x="110" y="421"/>
                  </a:lnTo>
                  <a:lnTo>
                    <a:pt x="114" y="420"/>
                  </a:lnTo>
                  <a:lnTo>
                    <a:pt x="116" y="416"/>
                  </a:lnTo>
                  <a:lnTo>
                    <a:pt x="118" y="412"/>
                  </a:lnTo>
                  <a:lnTo>
                    <a:pt x="120" y="407"/>
                  </a:lnTo>
                  <a:lnTo>
                    <a:pt x="118" y="399"/>
                  </a:lnTo>
                  <a:lnTo>
                    <a:pt x="116" y="388"/>
                  </a:lnTo>
                  <a:lnTo>
                    <a:pt x="121" y="388"/>
                  </a:lnTo>
                  <a:lnTo>
                    <a:pt x="129" y="390"/>
                  </a:lnTo>
                  <a:lnTo>
                    <a:pt x="136" y="390"/>
                  </a:lnTo>
                  <a:lnTo>
                    <a:pt x="144" y="388"/>
                  </a:lnTo>
                  <a:lnTo>
                    <a:pt x="149" y="386"/>
                  </a:lnTo>
                  <a:lnTo>
                    <a:pt x="153" y="385"/>
                  </a:lnTo>
                  <a:lnTo>
                    <a:pt x="155" y="379"/>
                  </a:lnTo>
                  <a:lnTo>
                    <a:pt x="155" y="373"/>
                  </a:lnTo>
                  <a:lnTo>
                    <a:pt x="153" y="368"/>
                  </a:lnTo>
                  <a:lnTo>
                    <a:pt x="151" y="362"/>
                  </a:lnTo>
                  <a:lnTo>
                    <a:pt x="151" y="357"/>
                  </a:lnTo>
                  <a:lnTo>
                    <a:pt x="151" y="351"/>
                  </a:lnTo>
                  <a:lnTo>
                    <a:pt x="155" y="346"/>
                  </a:lnTo>
                  <a:lnTo>
                    <a:pt x="160" y="340"/>
                  </a:lnTo>
                  <a:lnTo>
                    <a:pt x="166" y="336"/>
                  </a:lnTo>
                  <a:lnTo>
                    <a:pt x="169" y="338"/>
                  </a:lnTo>
                  <a:lnTo>
                    <a:pt x="171" y="340"/>
                  </a:lnTo>
                  <a:lnTo>
                    <a:pt x="173" y="344"/>
                  </a:lnTo>
                  <a:lnTo>
                    <a:pt x="177" y="348"/>
                  </a:lnTo>
                  <a:lnTo>
                    <a:pt x="179" y="351"/>
                  </a:lnTo>
                  <a:lnTo>
                    <a:pt x="184" y="353"/>
                  </a:lnTo>
                  <a:lnTo>
                    <a:pt x="190" y="353"/>
                  </a:lnTo>
                  <a:lnTo>
                    <a:pt x="201" y="349"/>
                  </a:lnTo>
                  <a:lnTo>
                    <a:pt x="206" y="344"/>
                  </a:lnTo>
                  <a:lnTo>
                    <a:pt x="212" y="336"/>
                  </a:lnTo>
                  <a:lnTo>
                    <a:pt x="214" y="329"/>
                  </a:lnTo>
                  <a:lnTo>
                    <a:pt x="216" y="324"/>
                  </a:lnTo>
                  <a:lnTo>
                    <a:pt x="218" y="316"/>
                  </a:lnTo>
                  <a:lnTo>
                    <a:pt x="221" y="307"/>
                  </a:lnTo>
                  <a:lnTo>
                    <a:pt x="227" y="301"/>
                  </a:lnTo>
                  <a:lnTo>
                    <a:pt x="238" y="294"/>
                  </a:lnTo>
                  <a:lnTo>
                    <a:pt x="253" y="288"/>
                  </a:lnTo>
                  <a:lnTo>
                    <a:pt x="258" y="288"/>
                  </a:lnTo>
                  <a:lnTo>
                    <a:pt x="262" y="292"/>
                  </a:lnTo>
                  <a:lnTo>
                    <a:pt x="266" y="296"/>
                  </a:lnTo>
                  <a:lnTo>
                    <a:pt x="267" y="300"/>
                  </a:lnTo>
                  <a:lnTo>
                    <a:pt x="269" y="311"/>
                  </a:lnTo>
                  <a:lnTo>
                    <a:pt x="273" y="316"/>
                  </a:lnTo>
                  <a:lnTo>
                    <a:pt x="286" y="314"/>
                  </a:lnTo>
                  <a:lnTo>
                    <a:pt x="295" y="311"/>
                  </a:lnTo>
                  <a:lnTo>
                    <a:pt x="295" y="320"/>
                  </a:lnTo>
                  <a:lnTo>
                    <a:pt x="297" y="327"/>
                  </a:lnTo>
                  <a:lnTo>
                    <a:pt x="299" y="333"/>
                  </a:lnTo>
                  <a:lnTo>
                    <a:pt x="301" y="336"/>
                  </a:lnTo>
                  <a:lnTo>
                    <a:pt x="304" y="340"/>
                  </a:lnTo>
                  <a:lnTo>
                    <a:pt x="308" y="340"/>
                  </a:lnTo>
                  <a:lnTo>
                    <a:pt x="312" y="342"/>
                  </a:lnTo>
                  <a:lnTo>
                    <a:pt x="317" y="340"/>
                  </a:lnTo>
                  <a:lnTo>
                    <a:pt x="323" y="336"/>
                  </a:lnTo>
                  <a:lnTo>
                    <a:pt x="330" y="335"/>
                  </a:lnTo>
                  <a:lnTo>
                    <a:pt x="328" y="333"/>
                  </a:lnTo>
                  <a:lnTo>
                    <a:pt x="328" y="331"/>
                  </a:lnTo>
                  <a:lnTo>
                    <a:pt x="328" y="327"/>
                  </a:lnTo>
                  <a:lnTo>
                    <a:pt x="328" y="324"/>
                  </a:lnTo>
                  <a:lnTo>
                    <a:pt x="328" y="322"/>
                  </a:lnTo>
                  <a:lnTo>
                    <a:pt x="328" y="320"/>
                  </a:lnTo>
                  <a:lnTo>
                    <a:pt x="328" y="318"/>
                  </a:lnTo>
                  <a:lnTo>
                    <a:pt x="328" y="316"/>
                  </a:lnTo>
                  <a:lnTo>
                    <a:pt x="328" y="314"/>
                  </a:lnTo>
                  <a:lnTo>
                    <a:pt x="330" y="314"/>
                  </a:lnTo>
                  <a:lnTo>
                    <a:pt x="330" y="312"/>
                  </a:lnTo>
                  <a:lnTo>
                    <a:pt x="336" y="307"/>
                  </a:lnTo>
                  <a:lnTo>
                    <a:pt x="345" y="303"/>
                  </a:lnTo>
                  <a:lnTo>
                    <a:pt x="345" y="301"/>
                  </a:lnTo>
                  <a:lnTo>
                    <a:pt x="347" y="298"/>
                  </a:lnTo>
                  <a:lnTo>
                    <a:pt x="345" y="294"/>
                  </a:lnTo>
                  <a:lnTo>
                    <a:pt x="343" y="290"/>
                  </a:lnTo>
                  <a:lnTo>
                    <a:pt x="341" y="287"/>
                  </a:lnTo>
                  <a:lnTo>
                    <a:pt x="338" y="283"/>
                  </a:lnTo>
                  <a:lnTo>
                    <a:pt x="338" y="279"/>
                  </a:lnTo>
                  <a:lnTo>
                    <a:pt x="339" y="274"/>
                  </a:lnTo>
                  <a:lnTo>
                    <a:pt x="345" y="266"/>
                  </a:lnTo>
                  <a:lnTo>
                    <a:pt x="352" y="259"/>
                  </a:lnTo>
                  <a:lnTo>
                    <a:pt x="362" y="255"/>
                  </a:lnTo>
                  <a:lnTo>
                    <a:pt x="369" y="255"/>
                  </a:lnTo>
                  <a:lnTo>
                    <a:pt x="375" y="255"/>
                  </a:lnTo>
                  <a:lnTo>
                    <a:pt x="380" y="255"/>
                  </a:lnTo>
                  <a:lnTo>
                    <a:pt x="386" y="253"/>
                  </a:lnTo>
                  <a:lnTo>
                    <a:pt x="391" y="248"/>
                  </a:lnTo>
                  <a:lnTo>
                    <a:pt x="395" y="235"/>
                  </a:lnTo>
                  <a:lnTo>
                    <a:pt x="395" y="227"/>
                  </a:lnTo>
                  <a:lnTo>
                    <a:pt x="393" y="222"/>
                  </a:lnTo>
                  <a:lnTo>
                    <a:pt x="389" y="218"/>
                  </a:lnTo>
                  <a:lnTo>
                    <a:pt x="382" y="215"/>
                  </a:lnTo>
                  <a:lnTo>
                    <a:pt x="376" y="209"/>
                  </a:lnTo>
                  <a:lnTo>
                    <a:pt x="371" y="203"/>
                  </a:lnTo>
                  <a:lnTo>
                    <a:pt x="365" y="196"/>
                  </a:lnTo>
                  <a:lnTo>
                    <a:pt x="363" y="187"/>
                  </a:lnTo>
                  <a:lnTo>
                    <a:pt x="360" y="183"/>
                  </a:lnTo>
                  <a:lnTo>
                    <a:pt x="356" y="178"/>
                  </a:lnTo>
                  <a:lnTo>
                    <a:pt x="352" y="176"/>
                  </a:lnTo>
                  <a:lnTo>
                    <a:pt x="347" y="176"/>
                  </a:lnTo>
                  <a:lnTo>
                    <a:pt x="334" y="185"/>
                  </a:lnTo>
                  <a:lnTo>
                    <a:pt x="321" y="192"/>
                  </a:lnTo>
                  <a:lnTo>
                    <a:pt x="317" y="192"/>
                  </a:lnTo>
                  <a:lnTo>
                    <a:pt x="315" y="189"/>
                  </a:lnTo>
                  <a:lnTo>
                    <a:pt x="314" y="187"/>
                  </a:lnTo>
                  <a:lnTo>
                    <a:pt x="314" y="185"/>
                  </a:lnTo>
                  <a:lnTo>
                    <a:pt x="315" y="179"/>
                  </a:lnTo>
                  <a:lnTo>
                    <a:pt x="312" y="174"/>
                  </a:lnTo>
                  <a:lnTo>
                    <a:pt x="299" y="170"/>
                  </a:lnTo>
                  <a:lnTo>
                    <a:pt x="284" y="168"/>
                  </a:lnTo>
                  <a:lnTo>
                    <a:pt x="273" y="165"/>
                  </a:lnTo>
                  <a:lnTo>
                    <a:pt x="260" y="163"/>
                  </a:lnTo>
                  <a:lnTo>
                    <a:pt x="251" y="161"/>
                  </a:lnTo>
                  <a:lnTo>
                    <a:pt x="243" y="161"/>
                  </a:lnTo>
                  <a:lnTo>
                    <a:pt x="242" y="168"/>
                  </a:lnTo>
                  <a:lnTo>
                    <a:pt x="238" y="178"/>
                  </a:lnTo>
                  <a:lnTo>
                    <a:pt x="236" y="181"/>
                  </a:lnTo>
                  <a:lnTo>
                    <a:pt x="234" y="183"/>
                  </a:lnTo>
                  <a:lnTo>
                    <a:pt x="229" y="183"/>
                  </a:lnTo>
                  <a:lnTo>
                    <a:pt x="223" y="181"/>
                  </a:lnTo>
                  <a:lnTo>
                    <a:pt x="218" y="174"/>
                  </a:lnTo>
                  <a:lnTo>
                    <a:pt x="214" y="168"/>
                  </a:lnTo>
                  <a:lnTo>
                    <a:pt x="214" y="163"/>
                  </a:lnTo>
                  <a:lnTo>
                    <a:pt x="216" y="159"/>
                  </a:lnTo>
                  <a:lnTo>
                    <a:pt x="221" y="152"/>
                  </a:lnTo>
                  <a:lnTo>
                    <a:pt x="223" y="146"/>
                  </a:lnTo>
                  <a:lnTo>
                    <a:pt x="214" y="133"/>
                  </a:lnTo>
                  <a:lnTo>
                    <a:pt x="205" y="120"/>
                  </a:lnTo>
                  <a:lnTo>
                    <a:pt x="212" y="113"/>
                  </a:lnTo>
                  <a:lnTo>
                    <a:pt x="221" y="107"/>
                  </a:lnTo>
                  <a:lnTo>
                    <a:pt x="223" y="102"/>
                  </a:lnTo>
                  <a:lnTo>
                    <a:pt x="225" y="96"/>
                  </a:lnTo>
                  <a:lnTo>
                    <a:pt x="240" y="91"/>
                  </a:lnTo>
                  <a:lnTo>
                    <a:pt x="253" y="85"/>
                  </a:lnTo>
                  <a:lnTo>
                    <a:pt x="256" y="72"/>
                  </a:lnTo>
                  <a:lnTo>
                    <a:pt x="260" y="59"/>
                  </a:lnTo>
                  <a:lnTo>
                    <a:pt x="266" y="52"/>
                  </a:lnTo>
                  <a:lnTo>
                    <a:pt x="271" y="41"/>
                  </a:lnTo>
                  <a:lnTo>
                    <a:pt x="267" y="39"/>
                  </a:lnTo>
                  <a:lnTo>
                    <a:pt x="266" y="37"/>
                  </a:lnTo>
                  <a:lnTo>
                    <a:pt x="266" y="32"/>
                  </a:lnTo>
                  <a:lnTo>
                    <a:pt x="266" y="26"/>
                  </a:lnTo>
                  <a:lnTo>
                    <a:pt x="267" y="17"/>
                  </a:lnTo>
                  <a:lnTo>
                    <a:pt x="266" y="9"/>
                  </a:lnTo>
                  <a:lnTo>
                    <a:pt x="262" y="6"/>
                  </a:lnTo>
                  <a:lnTo>
                    <a:pt x="258" y="2"/>
                  </a:lnTo>
                  <a:lnTo>
                    <a:pt x="253" y="0"/>
                  </a:lnTo>
                  <a:lnTo>
                    <a:pt x="247" y="0"/>
                  </a:lnTo>
                  <a:lnTo>
                    <a:pt x="243" y="2"/>
                  </a:lnTo>
                  <a:lnTo>
                    <a:pt x="240" y="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2" name="Freeform 70"/>
            <p:cNvSpPr>
              <a:spLocks/>
            </p:cNvSpPr>
            <p:nvPr/>
          </p:nvSpPr>
          <p:spPr bwMode="auto">
            <a:xfrm>
              <a:off x="4267357" y="2227886"/>
              <a:ext cx="86096" cy="117556"/>
            </a:xfrm>
            <a:custGeom>
              <a:avLst/>
              <a:gdLst>
                <a:gd name="T0" fmla="*/ 37 w 165"/>
                <a:gd name="T1" fmla="*/ 54 h 231"/>
                <a:gd name="T2" fmla="*/ 48 w 165"/>
                <a:gd name="T3" fmla="*/ 67 h 231"/>
                <a:gd name="T4" fmla="*/ 61 w 165"/>
                <a:gd name="T5" fmla="*/ 76 h 231"/>
                <a:gd name="T6" fmla="*/ 67 w 165"/>
                <a:gd name="T7" fmla="*/ 85 h 231"/>
                <a:gd name="T8" fmla="*/ 63 w 165"/>
                <a:gd name="T9" fmla="*/ 106 h 231"/>
                <a:gd name="T10" fmla="*/ 52 w 165"/>
                <a:gd name="T11" fmla="*/ 113 h 231"/>
                <a:gd name="T12" fmla="*/ 41 w 165"/>
                <a:gd name="T13" fmla="*/ 113 h 231"/>
                <a:gd name="T14" fmla="*/ 24 w 165"/>
                <a:gd name="T15" fmla="*/ 117 h 231"/>
                <a:gd name="T16" fmla="*/ 11 w 165"/>
                <a:gd name="T17" fmla="*/ 132 h 231"/>
                <a:gd name="T18" fmla="*/ 10 w 165"/>
                <a:gd name="T19" fmla="*/ 141 h 231"/>
                <a:gd name="T20" fmla="*/ 15 w 165"/>
                <a:gd name="T21" fmla="*/ 148 h 231"/>
                <a:gd name="T22" fmla="*/ 19 w 165"/>
                <a:gd name="T23" fmla="*/ 156 h 231"/>
                <a:gd name="T24" fmla="*/ 11 w 165"/>
                <a:gd name="T25" fmla="*/ 163 h 231"/>
                <a:gd name="T26" fmla="*/ 2 w 165"/>
                <a:gd name="T27" fmla="*/ 170 h 231"/>
                <a:gd name="T28" fmla="*/ 0 w 165"/>
                <a:gd name="T29" fmla="*/ 183 h 231"/>
                <a:gd name="T30" fmla="*/ 2 w 165"/>
                <a:gd name="T31" fmla="*/ 193 h 231"/>
                <a:gd name="T32" fmla="*/ 2 w 165"/>
                <a:gd name="T33" fmla="*/ 193 h 231"/>
                <a:gd name="T34" fmla="*/ 2 w 165"/>
                <a:gd name="T35" fmla="*/ 193 h 231"/>
                <a:gd name="T36" fmla="*/ 2 w 165"/>
                <a:gd name="T37" fmla="*/ 202 h 231"/>
                <a:gd name="T38" fmla="*/ 8 w 165"/>
                <a:gd name="T39" fmla="*/ 215 h 231"/>
                <a:gd name="T40" fmla="*/ 15 w 165"/>
                <a:gd name="T41" fmla="*/ 222 h 231"/>
                <a:gd name="T42" fmla="*/ 21 w 165"/>
                <a:gd name="T43" fmla="*/ 220 h 231"/>
                <a:gd name="T44" fmla="*/ 30 w 165"/>
                <a:gd name="T45" fmla="*/ 213 h 231"/>
                <a:gd name="T46" fmla="*/ 45 w 165"/>
                <a:gd name="T47" fmla="*/ 219 h 231"/>
                <a:gd name="T48" fmla="*/ 72 w 165"/>
                <a:gd name="T49" fmla="*/ 228 h 231"/>
                <a:gd name="T50" fmla="*/ 96 w 165"/>
                <a:gd name="T51" fmla="*/ 230 h 231"/>
                <a:gd name="T52" fmla="*/ 104 w 165"/>
                <a:gd name="T53" fmla="*/ 224 h 231"/>
                <a:gd name="T54" fmla="*/ 98 w 165"/>
                <a:gd name="T55" fmla="*/ 209 h 231"/>
                <a:gd name="T56" fmla="*/ 89 w 165"/>
                <a:gd name="T57" fmla="*/ 189 h 231"/>
                <a:gd name="T58" fmla="*/ 96 w 165"/>
                <a:gd name="T59" fmla="*/ 174 h 231"/>
                <a:gd name="T60" fmla="*/ 113 w 165"/>
                <a:gd name="T61" fmla="*/ 150 h 231"/>
                <a:gd name="T62" fmla="*/ 122 w 165"/>
                <a:gd name="T63" fmla="*/ 121 h 231"/>
                <a:gd name="T64" fmla="*/ 137 w 165"/>
                <a:gd name="T65" fmla="*/ 95 h 231"/>
                <a:gd name="T66" fmla="*/ 165 w 165"/>
                <a:gd name="T67" fmla="*/ 74 h 231"/>
                <a:gd name="T68" fmla="*/ 161 w 165"/>
                <a:gd name="T69" fmla="*/ 76 h 231"/>
                <a:gd name="T70" fmla="*/ 156 w 165"/>
                <a:gd name="T71" fmla="*/ 78 h 231"/>
                <a:gd name="T72" fmla="*/ 156 w 165"/>
                <a:gd name="T73" fmla="*/ 78 h 231"/>
                <a:gd name="T74" fmla="*/ 156 w 165"/>
                <a:gd name="T75" fmla="*/ 78 h 231"/>
                <a:gd name="T76" fmla="*/ 152 w 165"/>
                <a:gd name="T77" fmla="*/ 78 h 231"/>
                <a:gd name="T78" fmla="*/ 139 w 165"/>
                <a:gd name="T79" fmla="*/ 61 h 231"/>
                <a:gd name="T80" fmla="*/ 119 w 165"/>
                <a:gd name="T81" fmla="*/ 47 h 231"/>
                <a:gd name="T82" fmla="*/ 109 w 165"/>
                <a:gd name="T83" fmla="*/ 39 h 231"/>
                <a:gd name="T84" fmla="*/ 102 w 165"/>
                <a:gd name="T85" fmla="*/ 19 h 231"/>
                <a:gd name="T86" fmla="*/ 82 w 165"/>
                <a:gd name="T87" fmla="*/ 12 h 231"/>
                <a:gd name="T88" fmla="*/ 74 w 165"/>
                <a:gd name="T89" fmla="*/ 8 h 231"/>
                <a:gd name="T90" fmla="*/ 69 w 165"/>
                <a:gd name="T91" fmla="*/ 8 h 231"/>
                <a:gd name="T92" fmla="*/ 61 w 165"/>
                <a:gd name="T93" fmla="*/ 4 h 231"/>
                <a:gd name="T94" fmla="*/ 52 w 165"/>
                <a:gd name="T95" fmla="*/ 2 h 231"/>
                <a:gd name="T96" fmla="*/ 41 w 165"/>
                <a:gd name="T97" fmla="*/ 12 h 231"/>
                <a:gd name="T98" fmla="*/ 41 w 165"/>
                <a:gd name="T99" fmla="*/ 24 h 231"/>
                <a:gd name="T100" fmla="*/ 45 w 165"/>
                <a:gd name="T101" fmla="*/ 36 h 231"/>
                <a:gd name="T102" fmla="*/ 43 w 165"/>
                <a:gd name="T103" fmla="*/ 43 h 231"/>
                <a:gd name="T104" fmla="*/ 37 w 165"/>
                <a:gd name="T105" fmla="*/ 45 h 23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5"/>
                <a:gd name="T160" fmla="*/ 0 h 231"/>
                <a:gd name="T161" fmla="*/ 165 w 165"/>
                <a:gd name="T162" fmla="*/ 231 h 23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5" h="231">
                  <a:moveTo>
                    <a:pt x="35" y="45"/>
                  </a:moveTo>
                  <a:lnTo>
                    <a:pt x="37" y="54"/>
                  </a:lnTo>
                  <a:lnTo>
                    <a:pt x="43" y="61"/>
                  </a:lnTo>
                  <a:lnTo>
                    <a:pt x="48" y="67"/>
                  </a:lnTo>
                  <a:lnTo>
                    <a:pt x="54" y="73"/>
                  </a:lnTo>
                  <a:lnTo>
                    <a:pt x="61" y="76"/>
                  </a:lnTo>
                  <a:lnTo>
                    <a:pt x="65" y="80"/>
                  </a:lnTo>
                  <a:lnTo>
                    <a:pt x="67" y="85"/>
                  </a:lnTo>
                  <a:lnTo>
                    <a:pt x="67" y="93"/>
                  </a:lnTo>
                  <a:lnTo>
                    <a:pt x="63" y="106"/>
                  </a:lnTo>
                  <a:lnTo>
                    <a:pt x="58" y="111"/>
                  </a:lnTo>
                  <a:lnTo>
                    <a:pt x="52" y="113"/>
                  </a:lnTo>
                  <a:lnTo>
                    <a:pt x="47" y="113"/>
                  </a:lnTo>
                  <a:lnTo>
                    <a:pt x="41" y="113"/>
                  </a:lnTo>
                  <a:lnTo>
                    <a:pt x="34" y="113"/>
                  </a:lnTo>
                  <a:lnTo>
                    <a:pt x="24" y="117"/>
                  </a:lnTo>
                  <a:lnTo>
                    <a:pt x="17" y="124"/>
                  </a:lnTo>
                  <a:lnTo>
                    <a:pt x="11" y="132"/>
                  </a:lnTo>
                  <a:lnTo>
                    <a:pt x="10" y="137"/>
                  </a:lnTo>
                  <a:lnTo>
                    <a:pt x="10" y="141"/>
                  </a:lnTo>
                  <a:lnTo>
                    <a:pt x="13" y="145"/>
                  </a:lnTo>
                  <a:lnTo>
                    <a:pt x="15" y="148"/>
                  </a:lnTo>
                  <a:lnTo>
                    <a:pt x="17" y="152"/>
                  </a:lnTo>
                  <a:lnTo>
                    <a:pt x="19" y="156"/>
                  </a:lnTo>
                  <a:lnTo>
                    <a:pt x="17" y="159"/>
                  </a:lnTo>
                  <a:lnTo>
                    <a:pt x="11" y="163"/>
                  </a:lnTo>
                  <a:lnTo>
                    <a:pt x="4" y="167"/>
                  </a:lnTo>
                  <a:lnTo>
                    <a:pt x="2" y="170"/>
                  </a:lnTo>
                  <a:lnTo>
                    <a:pt x="0" y="176"/>
                  </a:lnTo>
                  <a:lnTo>
                    <a:pt x="0" y="183"/>
                  </a:lnTo>
                  <a:lnTo>
                    <a:pt x="2" y="193"/>
                  </a:lnTo>
                  <a:lnTo>
                    <a:pt x="2" y="202"/>
                  </a:lnTo>
                  <a:lnTo>
                    <a:pt x="4" y="209"/>
                  </a:lnTo>
                  <a:lnTo>
                    <a:pt x="8" y="215"/>
                  </a:lnTo>
                  <a:lnTo>
                    <a:pt x="11" y="220"/>
                  </a:lnTo>
                  <a:lnTo>
                    <a:pt x="15" y="222"/>
                  </a:lnTo>
                  <a:lnTo>
                    <a:pt x="19" y="222"/>
                  </a:lnTo>
                  <a:lnTo>
                    <a:pt x="21" y="220"/>
                  </a:lnTo>
                  <a:lnTo>
                    <a:pt x="24" y="219"/>
                  </a:lnTo>
                  <a:lnTo>
                    <a:pt x="30" y="213"/>
                  </a:lnTo>
                  <a:lnTo>
                    <a:pt x="35" y="211"/>
                  </a:lnTo>
                  <a:lnTo>
                    <a:pt x="45" y="219"/>
                  </a:lnTo>
                  <a:lnTo>
                    <a:pt x="58" y="226"/>
                  </a:lnTo>
                  <a:lnTo>
                    <a:pt x="72" y="228"/>
                  </a:lnTo>
                  <a:lnTo>
                    <a:pt x="89" y="231"/>
                  </a:lnTo>
                  <a:lnTo>
                    <a:pt x="96" y="230"/>
                  </a:lnTo>
                  <a:lnTo>
                    <a:pt x="100" y="228"/>
                  </a:lnTo>
                  <a:lnTo>
                    <a:pt x="104" y="224"/>
                  </a:lnTo>
                  <a:lnTo>
                    <a:pt x="106" y="220"/>
                  </a:lnTo>
                  <a:lnTo>
                    <a:pt x="98" y="209"/>
                  </a:lnTo>
                  <a:lnTo>
                    <a:pt x="89" y="196"/>
                  </a:lnTo>
                  <a:lnTo>
                    <a:pt x="89" y="189"/>
                  </a:lnTo>
                  <a:lnTo>
                    <a:pt x="93" y="182"/>
                  </a:lnTo>
                  <a:lnTo>
                    <a:pt x="96" y="174"/>
                  </a:lnTo>
                  <a:lnTo>
                    <a:pt x="102" y="167"/>
                  </a:lnTo>
                  <a:lnTo>
                    <a:pt x="113" y="150"/>
                  </a:lnTo>
                  <a:lnTo>
                    <a:pt x="122" y="137"/>
                  </a:lnTo>
                  <a:lnTo>
                    <a:pt x="122" y="121"/>
                  </a:lnTo>
                  <a:lnTo>
                    <a:pt x="122" y="106"/>
                  </a:lnTo>
                  <a:lnTo>
                    <a:pt x="137" y="95"/>
                  </a:lnTo>
                  <a:lnTo>
                    <a:pt x="165" y="74"/>
                  </a:lnTo>
                  <a:lnTo>
                    <a:pt x="161" y="76"/>
                  </a:lnTo>
                  <a:lnTo>
                    <a:pt x="156" y="78"/>
                  </a:lnTo>
                  <a:lnTo>
                    <a:pt x="152" y="78"/>
                  </a:lnTo>
                  <a:lnTo>
                    <a:pt x="148" y="78"/>
                  </a:lnTo>
                  <a:lnTo>
                    <a:pt x="139" y="61"/>
                  </a:lnTo>
                  <a:lnTo>
                    <a:pt x="128" y="47"/>
                  </a:lnTo>
                  <a:lnTo>
                    <a:pt x="119" y="47"/>
                  </a:lnTo>
                  <a:lnTo>
                    <a:pt x="109" y="47"/>
                  </a:lnTo>
                  <a:lnTo>
                    <a:pt x="109" y="39"/>
                  </a:lnTo>
                  <a:lnTo>
                    <a:pt x="111" y="34"/>
                  </a:lnTo>
                  <a:lnTo>
                    <a:pt x="102" y="19"/>
                  </a:lnTo>
                  <a:lnTo>
                    <a:pt x="91" y="10"/>
                  </a:lnTo>
                  <a:lnTo>
                    <a:pt x="82" y="12"/>
                  </a:lnTo>
                  <a:lnTo>
                    <a:pt x="76" y="10"/>
                  </a:lnTo>
                  <a:lnTo>
                    <a:pt x="74" y="8"/>
                  </a:lnTo>
                  <a:lnTo>
                    <a:pt x="72" y="6"/>
                  </a:lnTo>
                  <a:lnTo>
                    <a:pt x="69" y="8"/>
                  </a:lnTo>
                  <a:lnTo>
                    <a:pt x="67" y="10"/>
                  </a:lnTo>
                  <a:lnTo>
                    <a:pt x="61" y="4"/>
                  </a:lnTo>
                  <a:lnTo>
                    <a:pt x="58" y="0"/>
                  </a:lnTo>
                  <a:lnTo>
                    <a:pt x="52" y="2"/>
                  </a:lnTo>
                  <a:lnTo>
                    <a:pt x="47" y="6"/>
                  </a:lnTo>
                  <a:lnTo>
                    <a:pt x="41" y="12"/>
                  </a:lnTo>
                  <a:lnTo>
                    <a:pt x="39" y="17"/>
                  </a:lnTo>
                  <a:lnTo>
                    <a:pt x="41" y="24"/>
                  </a:lnTo>
                  <a:lnTo>
                    <a:pt x="45" y="32"/>
                  </a:lnTo>
                  <a:lnTo>
                    <a:pt x="45" y="36"/>
                  </a:lnTo>
                  <a:lnTo>
                    <a:pt x="45" y="39"/>
                  </a:lnTo>
                  <a:lnTo>
                    <a:pt x="43" y="43"/>
                  </a:lnTo>
                  <a:lnTo>
                    <a:pt x="39" y="45"/>
                  </a:lnTo>
                  <a:lnTo>
                    <a:pt x="37" y="45"/>
                  </a:lnTo>
                  <a:lnTo>
                    <a:pt x="35" y="4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3" name="Freeform 71"/>
            <p:cNvSpPr>
              <a:spLocks/>
            </p:cNvSpPr>
            <p:nvPr/>
          </p:nvSpPr>
          <p:spPr bwMode="auto">
            <a:xfrm>
              <a:off x="4030464" y="2324069"/>
              <a:ext cx="171670" cy="144019"/>
            </a:xfrm>
            <a:custGeom>
              <a:avLst/>
              <a:gdLst>
                <a:gd name="T0" fmla="*/ 290 w 329"/>
                <a:gd name="T1" fmla="*/ 166 h 283"/>
                <a:gd name="T2" fmla="*/ 303 w 329"/>
                <a:gd name="T3" fmla="*/ 161 h 283"/>
                <a:gd name="T4" fmla="*/ 316 w 329"/>
                <a:gd name="T5" fmla="*/ 153 h 283"/>
                <a:gd name="T6" fmla="*/ 310 w 329"/>
                <a:gd name="T7" fmla="*/ 127 h 283"/>
                <a:gd name="T8" fmla="*/ 327 w 329"/>
                <a:gd name="T9" fmla="*/ 116 h 283"/>
                <a:gd name="T10" fmla="*/ 319 w 329"/>
                <a:gd name="T11" fmla="*/ 103 h 283"/>
                <a:gd name="T12" fmla="*/ 310 w 329"/>
                <a:gd name="T13" fmla="*/ 105 h 283"/>
                <a:gd name="T14" fmla="*/ 290 w 329"/>
                <a:gd name="T15" fmla="*/ 116 h 283"/>
                <a:gd name="T16" fmla="*/ 283 w 329"/>
                <a:gd name="T17" fmla="*/ 137 h 283"/>
                <a:gd name="T18" fmla="*/ 273 w 329"/>
                <a:gd name="T19" fmla="*/ 144 h 283"/>
                <a:gd name="T20" fmla="*/ 266 w 329"/>
                <a:gd name="T21" fmla="*/ 124 h 283"/>
                <a:gd name="T22" fmla="*/ 238 w 329"/>
                <a:gd name="T23" fmla="*/ 122 h 283"/>
                <a:gd name="T24" fmla="*/ 235 w 329"/>
                <a:gd name="T25" fmla="*/ 109 h 283"/>
                <a:gd name="T26" fmla="*/ 227 w 329"/>
                <a:gd name="T27" fmla="*/ 96 h 283"/>
                <a:gd name="T28" fmla="*/ 218 w 329"/>
                <a:gd name="T29" fmla="*/ 83 h 283"/>
                <a:gd name="T30" fmla="*/ 218 w 329"/>
                <a:gd name="T31" fmla="*/ 57 h 283"/>
                <a:gd name="T32" fmla="*/ 218 w 329"/>
                <a:gd name="T33" fmla="*/ 42 h 283"/>
                <a:gd name="T34" fmla="*/ 218 w 329"/>
                <a:gd name="T35" fmla="*/ 20 h 283"/>
                <a:gd name="T36" fmla="*/ 216 w 329"/>
                <a:gd name="T37" fmla="*/ 7 h 283"/>
                <a:gd name="T38" fmla="*/ 201 w 329"/>
                <a:gd name="T39" fmla="*/ 20 h 283"/>
                <a:gd name="T40" fmla="*/ 190 w 329"/>
                <a:gd name="T41" fmla="*/ 7 h 283"/>
                <a:gd name="T42" fmla="*/ 174 w 329"/>
                <a:gd name="T43" fmla="*/ 4 h 283"/>
                <a:gd name="T44" fmla="*/ 155 w 329"/>
                <a:gd name="T45" fmla="*/ 4 h 283"/>
                <a:gd name="T46" fmla="*/ 122 w 329"/>
                <a:gd name="T47" fmla="*/ 9 h 283"/>
                <a:gd name="T48" fmla="*/ 72 w 329"/>
                <a:gd name="T49" fmla="*/ 7 h 283"/>
                <a:gd name="T50" fmla="*/ 61 w 329"/>
                <a:gd name="T51" fmla="*/ 15 h 283"/>
                <a:gd name="T52" fmla="*/ 63 w 329"/>
                <a:gd name="T53" fmla="*/ 24 h 283"/>
                <a:gd name="T54" fmla="*/ 66 w 329"/>
                <a:gd name="T55" fmla="*/ 30 h 283"/>
                <a:gd name="T56" fmla="*/ 52 w 329"/>
                <a:gd name="T57" fmla="*/ 50 h 283"/>
                <a:gd name="T58" fmla="*/ 28 w 329"/>
                <a:gd name="T59" fmla="*/ 59 h 283"/>
                <a:gd name="T60" fmla="*/ 22 w 329"/>
                <a:gd name="T61" fmla="*/ 54 h 283"/>
                <a:gd name="T62" fmla="*/ 15 w 329"/>
                <a:gd name="T63" fmla="*/ 46 h 283"/>
                <a:gd name="T64" fmla="*/ 0 w 329"/>
                <a:gd name="T65" fmla="*/ 54 h 283"/>
                <a:gd name="T66" fmla="*/ 0 w 329"/>
                <a:gd name="T67" fmla="*/ 65 h 283"/>
                <a:gd name="T68" fmla="*/ 20 w 329"/>
                <a:gd name="T69" fmla="*/ 72 h 283"/>
                <a:gd name="T70" fmla="*/ 29 w 329"/>
                <a:gd name="T71" fmla="*/ 90 h 283"/>
                <a:gd name="T72" fmla="*/ 44 w 329"/>
                <a:gd name="T73" fmla="*/ 92 h 283"/>
                <a:gd name="T74" fmla="*/ 57 w 329"/>
                <a:gd name="T75" fmla="*/ 103 h 283"/>
                <a:gd name="T76" fmla="*/ 94 w 329"/>
                <a:gd name="T77" fmla="*/ 113 h 283"/>
                <a:gd name="T78" fmla="*/ 96 w 329"/>
                <a:gd name="T79" fmla="*/ 148 h 283"/>
                <a:gd name="T80" fmla="*/ 111 w 329"/>
                <a:gd name="T81" fmla="*/ 172 h 283"/>
                <a:gd name="T82" fmla="*/ 129 w 329"/>
                <a:gd name="T83" fmla="*/ 175 h 283"/>
                <a:gd name="T84" fmla="*/ 144 w 329"/>
                <a:gd name="T85" fmla="*/ 181 h 283"/>
                <a:gd name="T86" fmla="*/ 146 w 329"/>
                <a:gd name="T87" fmla="*/ 196 h 283"/>
                <a:gd name="T88" fmla="*/ 155 w 329"/>
                <a:gd name="T89" fmla="*/ 203 h 283"/>
                <a:gd name="T90" fmla="*/ 161 w 329"/>
                <a:gd name="T91" fmla="*/ 231 h 283"/>
                <a:gd name="T92" fmla="*/ 168 w 329"/>
                <a:gd name="T93" fmla="*/ 242 h 283"/>
                <a:gd name="T94" fmla="*/ 188 w 329"/>
                <a:gd name="T95" fmla="*/ 260 h 283"/>
                <a:gd name="T96" fmla="*/ 186 w 329"/>
                <a:gd name="T97" fmla="*/ 275 h 283"/>
                <a:gd name="T98" fmla="*/ 203 w 329"/>
                <a:gd name="T99" fmla="*/ 283 h 283"/>
                <a:gd name="T100" fmla="*/ 242 w 329"/>
                <a:gd name="T101" fmla="*/ 229 h 283"/>
                <a:gd name="T102" fmla="*/ 246 w 329"/>
                <a:gd name="T103" fmla="*/ 214 h 283"/>
                <a:gd name="T104" fmla="*/ 262 w 329"/>
                <a:gd name="T105" fmla="*/ 222 h 283"/>
                <a:gd name="T106" fmla="*/ 307 w 329"/>
                <a:gd name="T107" fmla="*/ 212 h 283"/>
                <a:gd name="T108" fmla="*/ 314 w 329"/>
                <a:gd name="T109" fmla="*/ 218 h 283"/>
                <a:gd name="T110" fmla="*/ 308 w 329"/>
                <a:gd name="T111" fmla="*/ 187 h 283"/>
                <a:gd name="T112" fmla="*/ 299 w 329"/>
                <a:gd name="T113" fmla="*/ 175 h 2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9"/>
                <a:gd name="T172" fmla="*/ 0 h 283"/>
                <a:gd name="T173" fmla="*/ 329 w 329"/>
                <a:gd name="T174" fmla="*/ 283 h 28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9" h="283">
                  <a:moveTo>
                    <a:pt x="292" y="174"/>
                  </a:moveTo>
                  <a:lnTo>
                    <a:pt x="290" y="170"/>
                  </a:lnTo>
                  <a:lnTo>
                    <a:pt x="290" y="166"/>
                  </a:lnTo>
                  <a:lnTo>
                    <a:pt x="292" y="164"/>
                  </a:lnTo>
                  <a:lnTo>
                    <a:pt x="297" y="163"/>
                  </a:lnTo>
                  <a:lnTo>
                    <a:pt x="303" y="161"/>
                  </a:lnTo>
                  <a:lnTo>
                    <a:pt x="308" y="159"/>
                  </a:lnTo>
                  <a:lnTo>
                    <a:pt x="314" y="157"/>
                  </a:lnTo>
                  <a:lnTo>
                    <a:pt x="316" y="153"/>
                  </a:lnTo>
                  <a:lnTo>
                    <a:pt x="310" y="142"/>
                  </a:lnTo>
                  <a:lnTo>
                    <a:pt x="301" y="133"/>
                  </a:lnTo>
                  <a:lnTo>
                    <a:pt x="310" y="127"/>
                  </a:lnTo>
                  <a:lnTo>
                    <a:pt x="319" y="122"/>
                  </a:lnTo>
                  <a:lnTo>
                    <a:pt x="325" y="120"/>
                  </a:lnTo>
                  <a:lnTo>
                    <a:pt x="327" y="116"/>
                  </a:lnTo>
                  <a:lnTo>
                    <a:pt x="329" y="113"/>
                  </a:lnTo>
                  <a:lnTo>
                    <a:pt x="325" y="107"/>
                  </a:lnTo>
                  <a:lnTo>
                    <a:pt x="319" y="103"/>
                  </a:lnTo>
                  <a:lnTo>
                    <a:pt x="316" y="103"/>
                  </a:lnTo>
                  <a:lnTo>
                    <a:pt x="312" y="103"/>
                  </a:lnTo>
                  <a:lnTo>
                    <a:pt x="310" y="105"/>
                  </a:lnTo>
                  <a:lnTo>
                    <a:pt x="305" y="109"/>
                  </a:lnTo>
                  <a:lnTo>
                    <a:pt x="299" y="113"/>
                  </a:lnTo>
                  <a:lnTo>
                    <a:pt x="290" y="116"/>
                  </a:lnTo>
                  <a:lnTo>
                    <a:pt x="283" y="118"/>
                  </a:lnTo>
                  <a:lnTo>
                    <a:pt x="283" y="126"/>
                  </a:lnTo>
                  <a:lnTo>
                    <a:pt x="283" y="137"/>
                  </a:lnTo>
                  <a:lnTo>
                    <a:pt x="279" y="140"/>
                  </a:lnTo>
                  <a:lnTo>
                    <a:pt x="277" y="144"/>
                  </a:lnTo>
                  <a:lnTo>
                    <a:pt x="273" y="144"/>
                  </a:lnTo>
                  <a:lnTo>
                    <a:pt x="270" y="142"/>
                  </a:lnTo>
                  <a:lnTo>
                    <a:pt x="268" y="133"/>
                  </a:lnTo>
                  <a:lnTo>
                    <a:pt x="266" y="124"/>
                  </a:lnTo>
                  <a:lnTo>
                    <a:pt x="255" y="126"/>
                  </a:lnTo>
                  <a:lnTo>
                    <a:pt x="240" y="127"/>
                  </a:lnTo>
                  <a:lnTo>
                    <a:pt x="238" y="122"/>
                  </a:lnTo>
                  <a:lnTo>
                    <a:pt x="236" y="116"/>
                  </a:lnTo>
                  <a:lnTo>
                    <a:pt x="236" y="113"/>
                  </a:lnTo>
                  <a:lnTo>
                    <a:pt x="235" y="109"/>
                  </a:lnTo>
                  <a:lnTo>
                    <a:pt x="231" y="105"/>
                  </a:lnTo>
                  <a:lnTo>
                    <a:pt x="225" y="103"/>
                  </a:lnTo>
                  <a:lnTo>
                    <a:pt x="227" y="96"/>
                  </a:lnTo>
                  <a:lnTo>
                    <a:pt x="227" y="90"/>
                  </a:lnTo>
                  <a:lnTo>
                    <a:pt x="222" y="87"/>
                  </a:lnTo>
                  <a:lnTo>
                    <a:pt x="218" y="83"/>
                  </a:lnTo>
                  <a:lnTo>
                    <a:pt x="218" y="76"/>
                  </a:lnTo>
                  <a:lnTo>
                    <a:pt x="220" y="65"/>
                  </a:lnTo>
                  <a:lnTo>
                    <a:pt x="218" y="57"/>
                  </a:lnTo>
                  <a:lnTo>
                    <a:pt x="216" y="50"/>
                  </a:lnTo>
                  <a:lnTo>
                    <a:pt x="216" y="46"/>
                  </a:lnTo>
                  <a:lnTo>
                    <a:pt x="218" y="42"/>
                  </a:lnTo>
                  <a:lnTo>
                    <a:pt x="220" y="37"/>
                  </a:lnTo>
                  <a:lnTo>
                    <a:pt x="222" y="30"/>
                  </a:lnTo>
                  <a:lnTo>
                    <a:pt x="218" y="20"/>
                  </a:lnTo>
                  <a:lnTo>
                    <a:pt x="216" y="11"/>
                  </a:lnTo>
                  <a:lnTo>
                    <a:pt x="216" y="9"/>
                  </a:lnTo>
                  <a:lnTo>
                    <a:pt x="216" y="7"/>
                  </a:lnTo>
                  <a:lnTo>
                    <a:pt x="212" y="13"/>
                  </a:lnTo>
                  <a:lnTo>
                    <a:pt x="207" y="17"/>
                  </a:lnTo>
                  <a:lnTo>
                    <a:pt x="201" y="20"/>
                  </a:lnTo>
                  <a:lnTo>
                    <a:pt x="194" y="20"/>
                  </a:lnTo>
                  <a:lnTo>
                    <a:pt x="194" y="13"/>
                  </a:lnTo>
                  <a:lnTo>
                    <a:pt x="190" y="7"/>
                  </a:lnTo>
                  <a:lnTo>
                    <a:pt x="183" y="9"/>
                  </a:lnTo>
                  <a:lnTo>
                    <a:pt x="175" y="9"/>
                  </a:lnTo>
                  <a:lnTo>
                    <a:pt x="174" y="4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55" y="4"/>
                  </a:lnTo>
                  <a:lnTo>
                    <a:pt x="151" y="7"/>
                  </a:lnTo>
                  <a:lnTo>
                    <a:pt x="146" y="11"/>
                  </a:lnTo>
                  <a:lnTo>
                    <a:pt x="122" y="9"/>
                  </a:lnTo>
                  <a:lnTo>
                    <a:pt x="98" y="5"/>
                  </a:lnTo>
                  <a:lnTo>
                    <a:pt x="85" y="5"/>
                  </a:lnTo>
                  <a:lnTo>
                    <a:pt x="72" y="7"/>
                  </a:lnTo>
                  <a:lnTo>
                    <a:pt x="68" y="9"/>
                  </a:lnTo>
                  <a:lnTo>
                    <a:pt x="65" y="11"/>
                  </a:lnTo>
                  <a:lnTo>
                    <a:pt x="61" y="15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63" y="24"/>
                  </a:lnTo>
                  <a:lnTo>
                    <a:pt x="65" y="24"/>
                  </a:lnTo>
                  <a:lnTo>
                    <a:pt x="66" y="26"/>
                  </a:lnTo>
                  <a:lnTo>
                    <a:pt x="66" y="30"/>
                  </a:lnTo>
                  <a:lnTo>
                    <a:pt x="66" y="33"/>
                  </a:lnTo>
                  <a:lnTo>
                    <a:pt x="59" y="42"/>
                  </a:lnTo>
                  <a:lnTo>
                    <a:pt x="52" y="50"/>
                  </a:lnTo>
                  <a:lnTo>
                    <a:pt x="41" y="54"/>
                  </a:lnTo>
                  <a:lnTo>
                    <a:pt x="29" y="59"/>
                  </a:lnTo>
                  <a:lnTo>
                    <a:pt x="28" y="59"/>
                  </a:lnTo>
                  <a:lnTo>
                    <a:pt x="26" y="57"/>
                  </a:lnTo>
                  <a:lnTo>
                    <a:pt x="24" y="57"/>
                  </a:lnTo>
                  <a:lnTo>
                    <a:pt x="22" y="54"/>
                  </a:lnTo>
                  <a:lnTo>
                    <a:pt x="20" y="50"/>
                  </a:lnTo>
                  <a:lnTo>
                    <a:pt x="18" y="46"/>
                  </a:lnTo>
                  <a:lnTo>
                    <a:pt x="15" y="46"/>
                  </a:lnTo>
                  <a:lnTo>
                    <a:pt x="9" y="46"/>
                  </a:lnTo>
                  <a:lnTo>
                    <a:pt x="4" y="48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61"/>
                  </a:lnTo>
                  <a:lnTo>
                    <a:pt x="0" y="65"/>
                  </a:lnTo>
                  <a:lnTo>
                    <a:pt x="2" y="68"/>
                  </a:lnTo>
                  <a:lnTo>
                    <a:pt x="9" y="72"/>
                  </a:lnTo>
                  <a:lnTo>
                    <a:pt x="20" y="72"/>
                  </a:lnTo>
                  <a:lnTo>
                    <a:pt x="24" y="81"/>
                  </a:lnTo>
                  <a:lnTo>
                    <a:pt x="28" y="87"/>
                  </a:lnTo>
                  <a:lnTo>
                    <a:pt x="29" y="90"/>
                  </a:lnTo>
                  <a:lnTo>
                    <a:pt x="35" y="92"/>
                  </a:lnTo>
                  <a:lnTo>
                    <a:pt x="41" y="90"/>
                  </a:lnTo>
                  <a:lnTo>
                    <a:pt x="44" y="92"/>
                  </a:lnTo>
                  <a:lnTo>
                    <a:pt x="48" y="94"/>
                  </a:lnTo>
                  <a:lnTo>
                    <a:pt x="52" y="98"/>
                  </a:lnTo>
                  <a:lnTo>
                    <a:pt x="57" y="103"/>
                  </a:lnTo>
                  <a:lnTo>
                    <a:pt x="65" y="109"/>
                  </a:lnTo>
                  <a:lnTo>
                    <a:pt x="79" y="109"/>
                  </a:lnTo>
                  <a:lnTo>
                    <a:pt x="94" y="113"/>
                  </a:lnTo>
                  <a:lnTo>
                    <a:pt x="94" y="124"/>
                  </a:lnTo>
                  <a:lnTo>
                    <a:pt x="92" y="137"/>
                  </a:lnTo>
                  <a:lnTo>
                    <a:pt x="96" y="148"/>
                  </a:lnTo>
                  <a:lnTo>
                    <a:pt x="100" y="157"/>
                  </a:lnTo>
                  <a:lnTo>
                    <a:pt x="105" y="166"/>
                  </a:lnTo>
                  <a:lnTo>
                    <a:pt x="111" y="172"/>
                  </a:lnTo>
                  <a:lnTo>
                    <a:pt x="118" y="174"/>
                  </a:lnTo>
                  <a:lnTo>
                    <a:pt x="124" y="175"/>
                  </a:lnTo>
                  <a:lnTo>
                    <a:pt x="129" y="175"/>
                  </a:lnTo>
                  <a:lnTo>
                    <a:pt x="135" y="177"/>
                  </a:lnTo>
                  <a:lnTo>
                    <a:pt x="140" y="179"/>
                  </a:lnTo>
                  <a:lnTo>
                    <a:pt x="144" y="181"/>
                  </a:lnTo>
                  <a:lnTo>
                    <a:pt x="146" y="187"/>
                  </a:lnTo>
                  <a:lnTo>
                    <a:pt x="146" y="192"/>
                  </a:lnTo>
                  <a:lnTo>
                    <a:pt x="146" y="196"/>
                  </a:lnTo>
                  <a:lnTo>
                    <a:pt x="148" y="198"/>
                  </a:lnTo>
                  <a:lnTo>
                    <a:pt x="151" y="200"/>
                  </a:lnTo>
                  <a:lnTo>
                    <a:pt x="155" y="203"/>
                  </a:lnTo>
                  <a:lnTo>
                    <a:pt x="155" y="211"/>
                  </a:lnTo>
                  <a:lnTo>
                    <a:pt x="155" y="220"/>
                  </a:lnTo>
                  <a:lnTo>
                    <a:pt x="161" y="231"/>
                  </a:lnTo>
                  <a:lnTo>
                    <a:pt x="168" y="242"/>
                  </a:lnTo>
                  <a:lnTo>
                    <a:pt x="174" y="249"/>
                  </a:lnTo>
                  <a:lnTo>
                    <a:pt x="181" y="257"/>
                  </a:lnTo>
                  <a:lnTo>
                    <a:pt x="188" y="260"/>
                  </a:lnTo>
                  <a:lnTo>
                    <a:pt x="194" y="264"/>
                  </a:lnTo>
                  <a:lnTo>
                    <a:pt x="188" y="270"/>
                  </a:lnTo>
                  <a:lnTo>
                    <a:pt x="186" y="275"/>
                  </a:lnTo>
                  <a:lnTo>
                    <a:pt x="194" y="281"/>
                  </a:lnTo>
                  <a:lnTo>
                    <a:pt x="203" y="283"/>
                  </a:lnTo>
                  <a:lnTo>
                    <a:pt x="225" y="264"/>
                  </a:lnTo>
                  <a:lnTo>
                    <a:pt x="244" y="246"/>
                  </a:lnTo>
                  <a:lnTo>
                    <a:pt x="242" y="229"/>
                  </a:lnTo>
                  <a:lnTo>
                    <a:pt x="238" y="216"/>
                  </a:lnTo>
                  <a:lnTo>
                    <a:pt x="242" y="214"/>
                  </a:lnTo>
                  <a:lnTo>
                    <a:pt x="246" y="214"/>
                  </a:lnTo>
                  <a:lnTo>
                    <a:pt x="249" y="216"/>
                  </a:lnTo>
                  <a:lnTo>
                    <a:pt x="253" y="218"/>
                  </a:lnTo>
                  <a:lnTo>
                    <a:pt x="262" y="222"/>
                  </a:lnTo>
                  <a:lnTo>
                    <a:pt x="271" y="224"/>
                  </a:lnTo>
                  <a:lnTo>
                    <a:pt x="290" y="218"/>
                  </a:lnTo>
                  <a:lnTo>
                    <a:pt x="307" y="212"/>
                  </a:lnTo>
                  <a:lnTo>
                    <a:pt x="310" y="214"/>
                  </a:lnTo>
                  <a:lnTo>
                    <a:pt x="312" y="216"/>
                  </a:lnTo>
                  <a:lnTo>
                    <a:pt x="314" y="218"/>
                  </a:lnTo>
                  <a:lnTo>
                    <a:pt x="318" y="216"/>
                  </a:lnTo>
                  <a:lnTo>
                    <a:pt x="312" y="200"/>
                  </a:lnTo>
                  <a:lnTo>
                    <a:pt x="308" y="187"/>
                  </a:lnTo>
                  <a:lnTo>
                    <a:pt x="308" y="183"/>
                  </a:lnTo>
                  <a:lnTo>
                    <a:pt x="305" y="179"/>
                  </a:lnTo>
                  <a:lnTo>
                    <a:pt x="299" y="175"/>
                  </a:lnTo>
                  <a:lnTo>
                    <a:pt x="292" y="17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4" name="Freeform 72"/>
            <p:cNvSpPr>
              <a:spLocks/>
            </p:cNvSpPr>
            <p:nvPr/>
          </p:nvSpPr>
          <p:spPr bwMode="auto">
            <a:xfrm>
              <a:off x="4147867" y="2302186"/>
              <a:ext cx="113751" cy="117048"/>
            </a:xfrm>
            <a:custGeom>
              <a:avLst/>
              <a:gdLst>
                <a:gd name="T0" fmla="*/ 98 w 218"/>
                <a:gd name="T1" fmla="*/ 230 h 230"/>
                <a:gd name="T2" fmla="*/ 122 w 218"/>
                <a:gd name="T3" fmla="*/ 217 h 230"/>
                <a:gd name="T4" fmla="*/ 128 w 218"/>
                <a:gd name="T5" fmla="*/ 196 h 230"/>
                <a:gd name="T6" fmla="*/ 144 w 218"/>
                <a:gd name="T7" fmla="*/ 170 h 230"/>
                <a:gd name="T8" fmla="*/ 159 w 218"/>
                <a:gd name="T9" fmla="*/ 163 h 230"/>
                <a:gd name="T10" fmla="*/ 161 w 218"/>
                <a:gd name="T11" fmla="*/ 145 h 230"/>
                <a:gd name="T12" fmla="*/ 185 w 218"/>
                <a:gd name="T13" fmla="*/ 104 h 230"/>
                <a:gd name="T14" fmla="*/ 202 w 218"/>
                <a:gd name="T15" fmla="*/ 76 h 230"/>
                <a:gd name="T16" fmla="*/ 215 w 218"/>
                <a:gd name="T17" fmla="*/ 58 h 230"/>
                <a:gd name="T18" fmla="*/ 209 w 218"/>
                <a:gd name="T19" fmla="*/ 52 h 230"/>
                <a:gd name="T20" fmla="*/ 200 w 218"/>
                <a:gd name="T21" fmla="*/ 45 h 230"/>
                <a:gd name="T22" fmla="*/ 196 w 218"/>
                <a:gd name="T23" fmla="*/ 23 h 230"/>
                <a:gd name="T24" fmla="*/ 170 w 218"/>
                <a:gd name="T25" fmla="*/ 23 h 230"/>
                <a:gd name="T26" fmla="*/ 163 w 218"/>
                <a:gd name="T27" fmla="*/ 4 h 230"/>
                <a:gd name="T28" fmla="*/ 139 w 218"/>
                <a:gd name="T29" fmla="*/ 6 h 230"/>
                <a:gd name="T30" fmla="*/ 119 w 218"/>
                <a:gd name="T31" fmla="*/ 28 h 230"/>
                <a:gd name="T32" fmla="*/ 113 w 218"/>
                <a:gd name="T33" fmla="*/ 48 h 230"/>
                <a:gd name="T34" fmla="*/ 91 w 218"/>
                <a:gd name="T35" fmla="*/ 65 h 230"/>
                <a:gd name="T36" fmla="*/ 78 w 218"/>
                <a:gd name="T37" fmla="*/ 60 h 230"/>
                <a:gd name="T38" fmla="*/ 70 w 218"/>
                <a:gd name="T39" fmla="*/ 50 h 230"/>
                <a:gd name="T40" fmla="*/ 56 w 218"/>
                <a:gd name="T41" fmla="*/ 58 h 230"/>
                <a:gd name="T42" fmla="*/ 52 w 218"/>
                <a:gd name="T43" fmla="*/ 74 h 230"/>
                <a:gd name="T44" fmla="*/ 56 w 218"/>
                <a:gd name="T45" fmla="*/ 91 h 230"/>
                <a:gd name="T46" fmla="*/ 45 w 218"/>
                <a:gd name="T47" fmla="*/ 100 h 230"/>
                <a:gd name="T48" fmla="*/ 22 w 218"/>
                <a:gd name="T49" fmla="*/ 100 h 230"/>
                <a:gd name="T50" fmla="*/ 21 w 218"/>
                <a:gd name="T51" fmla="*/ 119 h 230"/>
                <a:gd name="T52" fmla="*/ 15 w 218"/>
                <a:gd name="T53" fmla="*/ 132 h 230"/>
                <a:gd name="T54" fmla="*/ 4 w 218"/>
                <a:gd name="T55" fmla="*/ 133 h 230"/>
                <a:gd name="T56" fmla="*/ 0 w 218"/>
                <a:gd name="T57" fmla="*/ 146 h 230"/>
                <a:gd name="T58" fmla="*/ 11 w 218"/>
                <a:gd name="T59" fmla="*/ 156 h 230"/>
                <a:gd name="T60" fmla="*/ 15 w 218"/>
                <a:gd name="T61" fmla="*/ 170 h 230"/>
                <a:gd name="T62" fmla="*/ 43 w 218"/>
                <a:gd name="T63" fmla="*/ 176 h 230"/>
                <a:gd name="T64" fmla="*/ 52 w 218"/>
                <a:gd name="T65" fmla="*/ 187 h 230"/>
                <a:gd name="T66" fmla="*/ 58 w 218"/>
                <a:gd name="T67" fmla="*/ 169 h 230"/>
                <a:gd name="T68" fmla="*/ 74 w 218"/>
                <a:gd name="T69" fmla="*/ 156 h 230"/>
                <a:gd name="T70" fmla="*/ 87 w 218"/>
                <a:gd name="T71" fmla="*/ 146 h 230"/>
                <a:gd name="T72" fmla="*/ 100 w 218"/>
                <a:gd name="T73" fmla="*/ 150 h 230"/>
                <a:gd name="T74" fmla="*/ 100 w 218"/>
                <a:gd name="T75" fmla="*/ 163 h 230"/>
                <a:gd name="T76" fmla="*/ 76 w 218"/>
                <a:gd name="T77" fmla="*/ 176 h 230"/>
                <a:gd name="T78" fmla="*/ 89 w 218"/>
                <a:gd name="T79" fmla="*/ 200 h 230"/>
                <a:gd name="T80" fmla="*/ 72 w 218"/>
                <a:gd name="T81" fmla="*/ 206 h 230"/>
                <a:gd name="T82" fmla="*/ 65 w 218"/>
                <a:gd name="T83" fmla="*/ 213 h 230"/>
                <a:gd name="T84" fmla="*/ 80 w 218"/>
                <a:gd name="T85" fmla="*/ 222 h 23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18"/>
                <a:gd name="T130" fmla="*/ 0 h 230"/>
                <a:gd name="T131" fmla="*/ 218 w 218"/>
                <a:gd name="T132" fmla="*/ 230 h 23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18" h="230">
                  <a:moveTo>
                    <a:pt x="83" y="230"/>
                  </a:moveTo>
                  <a:lnTo>
                    <a:pt x="93" y="230"/>
                  </a:lnTo>
                  <a:lnTo>
                    <a:pt x="98" y="230"/>
                  </a:lnTo>
                  <a:lnTo>
                    <a:pt x="104" y="228"/>
                  </a:lnTo>
                  <a:lnTo>
                    <a:pt x="109" y="220"/>
                  </a:lnTo>
                  <a:lnTo>
                    <a:pt x="122" y="217"/>
                  </a:lnTo>
                  <a:lnTo>
                    <a:pt x="126" y="211"/>
                  </a:lnTo>
                  <a:lnTo>
                    <a:pt x="128" y="196"/>
                  </a:lnTo>
                  <a:lnTo>
                    <a:pt x="128" y="183"/>
                  </a:lnTo>
                  <a:lnTo>
                    <a:pt x="137" y="176"/>
                  </a:lnTo>
                  <a:lnTo>
                    <a:pt x="144" y="170"/>
                  </a:lnTo>
                  <a:lnTo>
                    <a:pt x="154" y="169"/>
                  </a:lnTo>
                  <a:lnTo>
                    <a:pt x="161" y="169"/>
                  </a:lnTo>
                  <a:lnTo>
                    <a:pt x="159" y="163"/>
                  </a:lnTo>
                  <a:lnTo>
                    <a:pt x="159" y="158"/>
                  </a:lnTo>
                  <a:lnTo>
                    <a:pt x="159" y="150"/>
                  </a:lnTo>
                  <a:lnTo>
                    <a:pt x="161" y="145"/>
                  </a:lnTo>
                  <a:lnTo>
                    <a:pt x="165" y="132"/>
                  </a:lnTo>
                  <a:lnTo>
                    <a:pt x="170" y="122"/>
                  </a:lnTo>
                  <a:lnTo>
                    <a:pt x="185" y="104"/>
                  </a:lnTo>
                  <a:lnTo>
                    <a:pt x="196" y="91"/>
                  </a:lnTo>
                  <a:lnTo>
                    <a:pt x="198" y="82"/>
                  </a:lnTo>
                  <a:lnTo>
                    <a:pt x="202" y="76"/>
                  </a:lnTo>
                  <a:lnTo>
                    <a:pt x="205" y="71"/>
                  </a:lnTo>
                  <a:lnTo>
                    <a:pt x="211" y="65"/>
                  </a:lnTo>
                  <a:lnTo>
                    <a:pt x="215" y="58"/>
                  </a:lnTo>
                  <a:lnTo>
                    <a:pt x="218" y="52"/>
                  </a:lnTo>
                  <a:lnTo>
                    <a:pt x="213" y="54"/>
                  </a:lnTo>
                  <a:lnTo>
                    <a:pt x="209" y="52"/>
                  </a:lnTo>
                  <a:lnTo>
                    <a:pt x="205" y="52"/>
                  </a:lnTo>
                  <a:lnTo>
                    <a:pt x="202" y="48"/>
                  </a:lnTo>
                  <a:lnTo>
                    <a:pt x="200" y="45"/>
                  </a:lnTo>
                  <a:lnTo>
                    <a:pt x="198" y="39"/>
                  </a:lnTo>
                  <a:lnTo>
                    <a:pt x="196" y="32"/>
                  </a:lnTo>
                  <a:lnTo>
                    <a:pt x="196" y="23"/>
                  </a:lnTo>
                  <a:lnTo>
                    <a:pt x="187" y="26"/>
                  </a:lnTo>
                  <a:lnTo>
                    <a:pt x="174" y="28"/>
                  </a:lnTo>
                  <a:lnTo>
                    <a:pt x="170" y="23"/>
                  </a:lnTo>
                  <a:lnTo>
                    <a:pt x="168" y="12"/>
                  </a:lnTo>
                  <a:lnTo>
                    <a:pt x="167" y="8"/>
                  </a:lnTo>
                  <a:lnTo>
                    <a:pt x="163" y="4"/>
                  </a:lnTo>
                  <a:lnTo>
                    <a:pt x="159" y="0"/>
                  </a:lnTo>
                  <a:lnTo>
                    <a:pt x="154" y="0"/>
                  </a:lnTo>
                  <a:lnTo>
                    <a:pt x="139" y="6"/>
                  </a:lnTo>
                  <a:lnTo>
                    <a:pt x="128" y="13"/>
                  </a:lnTo>
                  <a:lnTo>
                    <a:pt x="122" y="19"/>
                  </a:lnTo>
                  <a:lnTo>
                    <a:pt x="119" y="28"/>
                  </a:lnTo>
                  <a:lnTo>
                    <a:pt x="117" y="36"/>
                  </a:lnTo>
                  <a:lnTo>
                    <a:pt x="115" y="41"/>
                  </a:lnTo>
                  <a:lnTo>
                    <a:pt x="113" y="48"/>
                  </a:lnTo>
                  <a:lnTo>
                    <a:pt x="107" y="56"/>
                  </a:lnTo>
                  <a:lnTo>
                    <a:pt x="102" y="61"/>
                  </a:lnTo>
                  <a:lnTo>
                    <a:pt x="91" y="65"/>
                  </a:lnTo>
                  <a:lnTo>
                    <a:pt x="85" y="65"/>
                  </a:lnTo>
                  <a:lnTo>
                    <a:pt x="80" y="63"/>
                  </a:lnTo>
                  <a:lnTo>
                    <a:pt x="78" y="60"/>
                  </a:lnTo>
                  <a:lnTo>
                    <a:pt x="74" y="56"/>
                  </a:lnTo>
                  <a:lnTo>
                    <a:pt x="72" y="52"/>
                  </a:lnTo>
                  <a:lnTo>
                    <a:pt x="70" y="50"/>
                  </a:lnTo>
                  <a:lnTo>
                    <a:pt x="67" y="48"/>
                  </a:lnTo>
                  <a:lnTo>
                    <a:pt x="61" y="52"/>
                  </a:lnTo>
                  <a:lnTo>
                    <a:pt x="56" y="58"/>
                  </a:lnTo>
                  <a:lnTo>
                    <a:pt x="52" y="63"/>
                  </a:lnTo>
                  <a:lnTo>
                    <a:pt x="52" y="69"/>
                  </a:lnTo>
                  <a:lnTo>
                    <a:pt x="52" y="74"/>
                  </a:lnTo>
                  <a:lnTo>
                    <a:pt x="54" y="80"/>
                  </a:lnTo>
                  <a:lnTo>
                    <a:pt x="56" y="85"/>
                  </a:lnTo>
                  <a:lnTo>
                    <a:pt x="56" y="91"/>
                  </a:lnTo>
                  <a:lnTo>
                    <a:pt x="54" y="97"/>
                  </a:lnTo>
                  <a:lnTo>
                    <a:pt x="50" y="98"/>
                  </a:lnTo>
                  <a:lnTo>
                    <a:pt x="45" y="100"/>
                  </a:lnTo>
                  <a:lnTo>
                    <a:pt x="37" y="102"/>
                  </a:lnTo>
                  <a:lnTo>
                    <a:pt x="30" y="102"/>
                  </a:lnTo>
                  <a:lnTo>
                    <a:pt x="22" y="100"/>
                  </a:lnTo>
                  <a:lnTo>
                    <a:pt x="17" y="100"/>
                  </a:lnTo>
                  <a:lnTo>
                    <a:pt x="19" y="111"/>
                  </a:lnTo>
                  <a:lnTo>
                    <a:pt x="21" y="119"/>
                  </a:lnTo>
                  <a:lnTo>
                    <a:pt x="19" y="124"/>
                  </a:lnTo>
                  <a:lnTo>
                    <a:pt x="17" y="128"/>
                  </a:lnTo>
                  <a:lnTo>
                    <a:pt x="15" y="132"/>
                  </a:lnTo>
                  <a:lnTo>
                    <a:pt x="11" y="133"/>
                  </a:lnTo>
                  <a:lnTo>
                    <a:pt x="8" y="133"/>
                  </a:lnTo>
                  <a:lnTo>
                    <a:pt x="4" y="133"/>
                  </a:lnTo>
                  <a:lnTo>
                    <a:pt x="2" y="133"/>
                  </a:lnTo>
                  <a:lnTo>
                    <a:pt x="2" y="139"/>
                  </a:lnTo>
                  <a:lnTo>
                    <a:pt x="0" y="146"/>
                  </a:lnTo>
                  <a:lnTo>
                    <a:pt x="6" y="148"/>
                  </a:lnTo>
                  <a:lnTo>
                    <a:pt x="10" y="152"/>
                  </a:lnTo>
                  <a:lnTo>
                    <a:pt x="11" y="156"/>
                  </a:lnTo>
                  <a:lnTo>
                    <a:pt x="11" y="159"/>
                  </a:lnTo>
                  <a:lnTo>
                    <a:pt x="13" y="165"/>
                  </a:lnTo>
                  <a:lnTo>
                    <a:pt x="15" y="170"/>
                  </a:lnTo>
                  <a:lnTo>
                    <a:pt x="30" y="169"/>
                  </a:lnTo>
                  <a:lnTo>
                    <a:pt x="41" y="167"/>
                  </a:lnTo>
                  <a:lnTo>
                    <a:pt x="43" y="176"/>
                  </a:lnTo>
                  <a:lnTo>
                    <a:pt x="45" y="185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4" y="183"/>
                  </a:lnTo>
                  <a:lnTo>
                    <a:pt x="58" y="180"/>
                  </a:lnTo>
                  <a:lnTo>
                    <a:pt x="58" y="169"/>
                  </a:lnTo>
                  <a:lnTo>
                    <a:pt x="58" y="161"/>
                  </a:lnTo>
                  <a:lnTo>
                    <a:pt x="65" y="159"/>
                  </a:lnTo>
                  <a:lnTo>
                    <a:pt x="74" y="156"/>
                  </a:lnTo>
                  <a:lnTo>
                    <a:pt x="80" y="152"/>
                  </a:lnTo>
                  <a:lnTo>
                    <a:pt x="85" y="148"/>
                  </a:lnTo>
                  <a:lnTo>
                    <a:pt x="87" y="146"/>
                  </a:lnTo>
                  <a:lnTo>
                    <a:pt x="91" y="146"/>
                  </a:lnTo>
                  <a:lnTo>
                    <a:pt x="94" y="146"/>
                  </a:lnTo>
                  <a:lnTo>
                    <a:pt x="100" y="150"/>
                  </a:lnTo>
                  <a:lnTo>
                    <a:pt x="104" y="156"/>
                  </a:lnTo>
                  <a:lnTo>
                    <a:pt x="102" y="159"/>
                  </a:lnTo>
                  <a:lnTo>
                    <a:pt x="100" y="163"/>
                  </a:lnTo>
                  <a:lnTo>
                    <a:pt x="94" y="165"/>
                  </a:lnTo>
                  <a:lnTo>
                    <a:pt x="85" y="170"/>
                  </a:lnTo>
                  <a:lnTo>
                    <a:pt x="76" y="176"/>
                  </a:lnTo>
                  <a:lnTo>
                    <a:pt x="85" y="185"/>
                  </a:lnTo>
                  <a:lnTo>
                    <a:pt x="91" y="196"/>
                  </a:lnTo>
                  <a:lnTo>
                    <a:pt x="89" y="200"/>
                  </a:lnTo>
                  <a:lnTo>
                    <a:pt x="83" y="202"/>
                  </a:lnTo>
                  <a:lnTo>
                    <a:pt x="78" y="204"/>
                  </a:lnTo>
                  <a:lnTo>
                    <a:pt x="72" y="206"/>
                  </a:lnTo>
                  <a:lnTo>
                    <a:pt x="67" y="207"/>
                  </a:lnTo>
                  <a:lnTo>
                    <a:pt x="65" y="209"/>
                  </a:lnTo>
                  <a:lnTo>
                    <a:pt x="65" y="213"/>
                  </a:lnTo>
                  <a:lnTo>
                    <a:pt x="67" y="217"/>
                  </a:lnTo>
                  <a:lnTo>
                    <a:pt x="74" y="218"/>
                  </a:lnTo>
                  <a:lnTo>
                    <a:pt x="80" y="222"/>
                  </a:lnTo>
                  <a:lnTo>
                    <a:pt x="83" y="226"/>
                  </a:lnTo>
                  <a:lnTo>
                    <a:pt x="83" y="23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5" name="Freeform 73"/>
            <p:cNvSpPr>
              <a:spLocks/>
            </p:cNvSpPr>
            <p:nvPr/>
          </p:nvSpPr>
          <p:spPr bwMode="auto">
            <a:xfrm>
              <a:off x="3997591" y="2397351"/>
              <a:ext cx="120534" cy="107378"/>
            </a:xfrm>
            <a:custGeom>
              <a:avLst/>
              <a:gdLst>
                <a:gd name="T0" fmla="*/ 30 w 231"/>
                <a:gd name="T1" fmla="*/ 209 h 211"/>
                <a:gd name="T2" fmla="*/ 33 w 231"/>
                <a:gd name="T3" fmla="*/ 211 h 211"/>
                <a:gd name="T4" fmla="*/ 54 w 231"/>
                <a:gd name="T5" fmla="*/ 209 h 211"/>
                <a:gd name="T6" fmla="*/ 81 w 231"/>
                <a:gd name="T7" fmla="*/ 201 h 211"/>
                <a:gd name="T8" fmla="*/ 91 w 231"/>
                <a:gd name="T9" fmla="*/ 192 h 211"/>
                <a:gd name="T10" fmla="*/ 94 w 231"/>
                <a:gd name="T11" fmla="*/ 179 h 211"/>
                <a:gd name="T12" fmla="*/ 102 w 231"/>
                <a:gd name="T13" fmla="*/ 177 h 211"/>
                <a:gd name="T14" fmla="*/ 126 w 231"/>
                <a:gd name="T15" fmla="*/ 174 h 211"/>
                <a:gd name="T16" fmla="*/ 157 w 231"/>
                <a:gd name="T17" fmla="*/ 165 h 211"/>
                <a:gd name="T18" fmla="*/ 176 w 231"/>
                <a:gd name="T19" fmla="*/ 150 h 211"/>
                <a:gd name="T20" fmla="*/ 194 w 231"/>
                <a:gd name="T21" fmla="*/ 129 h 211"/>
                <a:gd name="T22" fmla="*/ 220 w 231"/>
                <a:gd name="T23" fmla="*/ 109 h 211"/>
                <a:gd name="T24" fmla="*/ 231 w 231"/>
                <a:gd name="T25" fmla="*/ 98 h 211"/>
                <a:gd name="T26" fmla="*/ 224 w 231"/>
                <a:gd name="T27" fmla="*/ 87 h 211"/>
                <a:gd name="T28" fmla="*/ 218 w 231"/>
                <a:gd name="T29" fmla="*/ 67 h 211"/>
                <a:gd name="T30" fmla="*/ 214 w 231"/>
                <a:gd name="T31" fmla="*/ 56 h 211"/>
                <a:gd name="T32" fmla="*/ 209 w 231"/>
                <a:gd name="T33" fmla="*/ 52 h 211"/>
                <a:gd name="T34" fmla="*/ 209 w 231"/>
                <a:gd name="T35" fmla="*/ 43 h 211"/>
                <a:gd name="T36" fmla="*/ 203 w 231"/>
                <a:gd name="T37" fmla="*/ 35 h 211"/>
                <a:gd name="T38" fmla="*/ 192 w 231"/>
                <a:gd name="T39" fmla="*/ 31 h 211"/>
                <a:gd name="T40" fmla="*/ 181 w 231"/>
                <a:gd name="T41" fmla="*/ 30 h 211"/>
                <a:gd name="T42" fmla="*/ 168 w 231"/>
                <a:gd name="T43" fmla="*/ 22 h 211"/>
                <a:gd name="T44" fmla="*/ 163 w 231"/>
                <a:gd name="T45" fmla="*/ 11 h 211"/>
                <a:gd name="T46" fmla="*/ 144 w 231"/>
                <a:gd name="T47" fmla="*/ 22 h 211"/>
                <a:gd name="T48" fmla="*/ 128 w 231"/>
                <a:gd name="T49" fmla="*/ 35 h 211"/>
                <a:gd name="T50" fmla="*/ 120 w 231"/>
                <a:gd name="T51" fmla="*/ 46 h 211"/>
                <a:gd name="T52" fmla="*/ 102 w 231"/>
                <a:gd name="T53" fmla="*/ 35 h 211"/>
                <a:gd name="T54" fmla="*/ 74 w 231"/>
                <a:gd name="T55" fmla="*/ 6 h 211"/>
                <a:gd name="T56" fmla="*/ 56 w 231"/>
                <a:gd name="T57" fmla="*/ 4 h 211"/>
                <a:gd name="T58" fmla="*/ 39 w 231"/>
                <a:gd name="T59" fmla="*/ 6 h 211"/>
                <a:gd name="T60" fmla="*/ 32 w 231"/>
                <a:gd name="T61" fmla="*/ 0 h 211"/>
                <a:gd name="T62" fmla="*/ 22 w 231"/>
                <a:gd name="T63" fmla="*/ 0 h 211"/>
                <a:gd name="T64" fmla="*/ 11 w 231"/>
                <a:gd name="T65" fmla="*/ 19 h 211"/>
                <a:gd name="T66" fmla="*/ 7 w 231"/>
                <a:gd name="T67" fmla="*/ 44 h 211"/>
                <a:gd name="T68" fmla="*/ 4 w 231"/>
                <a:gd name="T69" fmla="*/ 52 h 211"/>
                <a:gd name="T70" fmla="*/ 4 w 231"/>
                <a:gd name="T71" fmla="*/ 63 h 211"/>
                <a:gd name="T72" fmla="*/ 7 w 231"/>
                <a:gd name="T73" fmla="*/ 83 h 211"/>
                <a:gd name="T74" fmla="*/ 9 w 231"/>
                <a:gd name="T75" fmla="*/ 100 h 211"/>
                <a:gd name="T76" fmla="*/ 9 w 231"/>
                <a:gd name="T77" fmla="*/ 113 h 211"/>
                <a:gd name="T78" fmla="*/ 13 w 231"/>
                <a:gd name="T79" fmla="*/ 128 h 211"/>
                <a:gd name="T80" fmla="*/ 17 w 231"/>
                <a:gd name="T81" fmla="*/ 144 h 211"/>
                <a:gd name="T82" fmla="*/ 17 w 231"/>
                <a:gd name="T83" fmla="*/ 168 h 211"/>
                <a:gd name="T84" fmla="*/ 24 w 231"/>
                <a:gd name="T85" fmla="*/ 196 h 21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31"/>
                <a:gd name="T130" fmla="*/ 0 h 211"/>
                <a:gd name="T131" fmla="*/ 231 w 231"/>
                <a:gd name="T132" fmla="*/ 211 h 21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31" h="211">
                  <a:moveTo>
                    <a:pt x="26" y="209"/>
                  </a:moveTo>
                  <a:lnTo>
                    <a:pt x="30" y="209"/>
                  </a:lnTo>
                  <a:lnTo>
                    <a:pt x="33" y="209"/>
                  </a:lnTo>
                  <a:lnTo>
                    <a:pt x="33" y="211"/>
                  </a:lnTo>
                  <a:lnTo>
                    <a:pt x="54" y="209"/>
                  </a:lnTo>
                  <a:lnTo>
                    <a:pt x="74" y="203"/>
                  </a:lnTo>
                  <a:lnTo>
                    <a:pt x="81" y="201"/>
                  </a:lnTo>
                  <a:lnTo>
                    <a:pt x="87" y="198"/>
                  </a:lnTo>
                  <a:lnTo>
                    <a:pt x="91" y="192"/>
                  </a:lnTo>
                  <a:lnTo>
                    <a:pt x="92" y="187"/>
                  </a:lnTo>
                  <a:lnTo>
                    <a:pt x="94" y="179"/>
                  </a:lnTo>
                  <a:lnTo>
                    <a:pt x="96" y="174"/>
                  </a:lnTo>
                  <a:lnTo>
                    <a:pt x="102" y="177"/>
                  </a:lnTo>
                  <a:lnTo>
                    <a:pt x="113" y="183"/>
                  </a:lnTo>
                  <a:lnTo>
                    <a:pt x="126" y="174"/>
                  </a:lnTo>
                  <a:lnTo>
                    <a:pt x="140" y="165"/>
                  </a:lnTo>
                  <a:lnTo>
                    <a:pt x="157" y="165"/>
                  </a:lnTo>
                  <a:lnTo>
                    <a:pt x="168" y="166"/>
                  </a:lnTo>
                  <a:lnTo>
                    <a:pt x="176" y="150"/>
                  </a:lnTo>
                  <a:lnTo>
                    <a:pt x="179" y="137"/>
                  </a:lnTo>
                  <a:lnTo>
                    <a:pt x="194" y="129"/>
                  </a:lnTo>
                  <a:lnTo>
                    <a:pt x="213" y="120"/>
                  </a:lnTo>
                  <a:lnTo>
                    <a:pt x="220" y="109"/>
                  </a:lnTo>
                  <a:lnTo>
                    <a:pt x="231" y="98"/>
                  </a:lnTo>
                  <a:lnTo>
                    <a:pt x="224" y="87"/>
                  </a:lnTo>
                  <a:lnTo>
                    <a:pt x="218" y="76"/>
                  </a:lnTo>
                  <a:lnTo>
                    <a:pt x="218" y="67"/>
                  </a:lnTo>
                  <a:lnTo>
                    <a:pt x="218" y="59"/>
                  </a:lnTo>
                  <a:lnTo>
                    <a:pt x="214" y="56"/>
                  </a:lnTo>
                  <a:lnTo>
                    <a:pt x="211" y="54"/>
                  </a:lnTo>
                  <a:lnTo>
                    <a:pt x="209" y="52"/>
                  </a:lnTo>
                  <a:lnTo>
                    <a:pt x="209" y="48"/>
                  </a:lnTo>
                  <a:lnTo>
                    <a:pt x="209" y="43"/>
                  </a:lnTo>
                  <a:lnTo>
                    <a:pt x="207" y="37"/>
                  </a:lnTo>
                  <a:lnTo>
                    <a:pt x="203" y="35"/>
                  </a:lnTo>
                  <a:lnTo>
                    <a:pt x="198" y="33"/>
                  </a:lnTo>
                  <a:lnTo>
                    <a:pt x="192" y="31"/>
                  </a:lnTo>
                  <a:lnTo>
                    <a:pt x="187" y="31"/>
                  </a:lnTo>
                  <a:lnTo>
                    <a:pt x="181" y="30"/>
                  </a:lnTo>
                  <a:lnTo>
                    <a:pt x="174" y="28"/>
                  </a:lnTo>
                  <a:lnTo>
                    <a:pt x="168" y="22"/>
                  </a:lnTo>
                  <a:lnTo>
                    <a:pt x="163" y="13"/>
                  </a:lnTo>
                  <a:lnTo>
                    <a:pt x="163" y="11"/>
                  </a:lnTo>
                  <a:lnTo>
                    <a:pt x="161" y="9"/>
                  </a:lnTo>
                  <a:lnTo>
                    <a:pt x="144" y="22"/>
                  </a:lnTo>
                  <a:lnTo>
                    <a:pt x="131" y="30"/>
                  </a:lnTo>
                  <a:lnTo>
                    <a:pt x="128" y="35"/>
                  </a:lnTo>
                  <a:lnTo>
                    <a:pt x="126" y="41"/>
                  </a:lnTo>
                  <a:lnTo>
                    <a:pt x="120" y="46"/>
                  </a:lnTo>
                  <a:lnTo>
                    <a:pt x="115" y="48"/>
                  </a:lnTo>
                  <a:lnTo>
                    <a:pt x="102" y="35"/>
                  </a:lnTo>
                  <a:lnTo>
                    <a:pt x="85" y="17"/>
                  </a:lnTo>
                  <a:lnTo>
                    <a:pt x="74" y="6"/>
                  </a:lnTo>
                  <a:lnTo>
                    <a:pt x="65" y="0"/>
                  </a:lnTo>
                  <a:lnTo>
                    <a:pt x="56" y="4"/>
                  </a:lnTo>
                  <a:lnTo>
                    <a:pt x="46" y="7"/>
                  </a:lnTo>
                  <a:lnTo>
                    <a:pt x="39" y="6"/>
                  </a:lnTo>
                  <a:lnTo>
                    <a:pt x="33" y="2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15" y="2"/>
                  </a:lnTo>
                  <a:lnTo>
                    <a:pt x="11" y="19"/>
                  </a:lnTo>
                  <a:lnTo>
                    <a:pt x="7" y="41"/>
                  </a:lnTo>
                  <a:lnTo>
                    <a:pt x="7" y="44"/>
                  </a:lnTo>
                  <a:lnTo>
                    <a:pt x="7" y="48"/>
                  </a:lnTo>
                  <a:lnTo>
                    <a:pt x="4" y="52"/>
                  </a:lnTo>
                  <a:lnTo>
                    <a:pt x="0" y="56"/>
                  </a:lnTo>
                  <a:lnTo>
                    <a:pt x="4" y="63"/>
                  </a:lnTo>
                  <a:lnTo>
                    <a:pt x="7" y="70"/>
                  </a:lnTo>
                  <a:lnTo>
                    <a:pt x="7" y="83"/>
                  </a:lnTo>
                  <a:lnTo>
                    <a:pt x="6" y="94"/>
                  </a:lnTo>
                  <a:lnTo>
                    <a:pt x="9" y="100"/>
                  </a:lnTo>
                  <a:lnTo>
                    <a:pt x="13" y="105"/>
                  </a:lnTo>
                  <a:lnTo>
                    <a:pt x="9" y="113"/>
                  </a:lnTo>
                  <a:lnTo>
                    <a:pt x="7" y="122"/>
                  </a:lnTo>
                  <a:lnTo>
                    <a:pt x="13" y="128"/>
                  </a:lnTo>
                  <a:lnTo>
                    <a:pt x="19" y="135"/>
                  </a:lnTo>
                  <a:lnTo>
                    <a:pt x="17" y="144"/>
                  </a:lnTo>
                  <a:lnTo>
                    <a:pt x="13" y="153"/>
                  </a:lnTo>
                  <a:lnTo>
                    <a:pt x="17" y="168"/>
                  </a:lnTo>
                  <a:lnTo>
                    <a:pt x="20" y="181"/>
                  </a:lnTo>
                  <a:lnTo>
                    <a:pt x="24" y="196"/>
                  </a:lnTo>
                  <a:lnTo>
                    <a:pt x="26" y="20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6" name="Freeform 74"/>
            <p:cNvSpPr>
              <a:spLocks/>
            </p:cNvSpPr>
            <p:nvPr/>
          </p:nvSpPr>
          <p:spPr bwMode="auto">
            <a:xfrm>
              <a:off x="3842619" y="2337300"/>
              <a:ext cx="168539" cy="187276"/>
            </a:xfrm>
            <a:custGeom>
              <a:avLst/>
              <a:gdLst>
                <a:gd name="T0" fmla="*/ 123 w 323"/>
                <a:gd name="T1" fmla="*/ 292 h 368"/>
                <a:gd name="T2" fmla="*/ 118 w 323"/>
                <a:gd name="T3" fmla="*/ 351 h 368"/>
                <a:gd name="T4" fmla="*/ 129 w 323"/>
                <a:gd name="T5" fmla="*/ 368 h 368"/>
                <a:gd name="T6" fmla="*/ 147 w 323"/>
                <a:gd name="T7" fmla="*/ 366 h 368"/>
                <a:gd name="T8" fmla="*/ 159 w 323"/>
                <a:gd name="T9" fmla="*/ 356 h 368"/>
                <a:gd name="T10" fmla="*/ 162 w 323"/>
                <a:gd name="T11" fmla="*/ 336 h 368"/>
                <a:gd name="T12" fmla="*/ 166 w 323"/>
                <a:gd name="T13" fmla="*/ 323 h 368"/>
                <a:gd name="T14" fmla="*/ 181 w 323"/>
                <a:gd name="T15" fmla="*/ 316 h 368"/>
                <a:gd name="T16" fmla="*/ 197 w 323"/>
                <a:gd name="T17" fmla="*/ 321 h 368"/>
                <a:gd name="T18" fmla="*/ 210 w 323"/>
                <a:gd name="T19" fmla="*/ 329 h 368"/>
                <a:gd name="T20" fmla="*/ 225 w 323"/>
                <a:gd name="T21" fmla="*/ 319 h 368"/>
                <a:gd name="T22" fmla="*/ 249 w 323"/>
                <a:gd name="T23" fmla="*/ 321 h 368"/>
                <a:gd name="T24" fmla="*/ 304 w 323"/>
                <a:gd name="T25" fmla="*/ 323 h 368"/>
                <a:gd name="T26" fmla="*/ 319 w 323"/>
                <a:gd name="T27" fmla="*/ 329 h 368"/>
                <a:gd name="T28" fmla="*/ 317 w 323"/>
                <a:gd name="T29" fmla="*/ 299 h 368"/>
                <a:gd name="T30" fmla="*/ 314 w 323"/>
                <a:gd name="T31" fmla="*/ 262 h 368"/>
                <a:gd name="T32" fmla="*/ 304 w 323"/>
                <a:gd name="T33" fmla="*/ 240 h 368"/>
                <a:gd name="T34" fmla="*/ 306 w 323"/>
                <a:gd name="T35" fmla="*/ 218 h 368"/>
                <a:gd name="T36" fmla="*/ 304 w 323"/>
                <a:gd name="T37" fmla="*/ 188 h 368"/>
                <a:gd name="T38" fmla="*/ 286 w 323"/>
                <a:gd name="T39" fmla="*/ 166 h 368"/>
                <a:gd name="T40" fmla="*/ 266 w 323"/>
                <a:gd name="T41" fmla="*/ 149 h 368"/>
                <a:gd name="T42" fmla="*/ 231 w 323"/>
                <a:gd name="T43" fmla="*/ 125 h 368"/>
                <a:gd name="T44" fmla="*/ 184 w 323"/>
                <a:gd name="T45" fmla="*/ 105 h 368"/>
                <a:gd name="T46" fmla="*/ 157 w 323"/>
                <a:gd name="T47" fmla="*/ 81 h 368"/>
                <a:gd name="T48" fmla="*/ 133 w 323"/>
                <a:gd name="T49" fmla="*/ 53 h 368"/>
                <a:gd name="T50" fmla="*/ 116 w 323"/>
                <a:gd name="T51" fmla="*/ 50 h 368"/>
                <a:gd name="T52" fmla="*/ 98 w 323"/>
                <a:gd name="T53" fmla="*/ 35 h 368"/>
                <a:gd name="T54" fmla="*/ 75 w 323"/>
                <a:gd name="T55" fmla="*/ 15 h 368"/>
                <a:gd name="T56" fmla="*/ 59 w 323"/>
                <a:gd name="T57" fmla="*/ 9 h 368"/>
                <a:gd name="T58" fmla="*/ 20 w 323"/>
                <a:gd name="T59" fmla="*/ 37 h 368"/>
                <a:gd name="T60" fmla="*/ 9 w 323"/>
                <a:gd name="T61" fmla="*/ 57 h 368"/>
                <a:gd name="T62" fmla="*/ 0 w 323"/>
                <a:gd name="T63" fmla="*/ 61 h 368"/>
                <a:gd name="T64" fmla="*/ 13 w 323"/>
                <a:gd name="T65" fmla="*/ 74 h 368"/>
                <a:gd name="T66" fmla="*/ 14 w 323"/>
                <a:gd name="T67" fmla="*/ 92 h 368"/>
                <a:gd name="T68" fmla="*/ 33 w 323"/>
                <a:gd name="T69" fmla="*/ 96 h 368"/>
                <a:gd name="T70" fmla="*/ 46 w 323"/>
                <a:gd name="T71" fmla="*/ 113 h 368"/>
                <a:gd name="T72" fmla="*/ 59 w 323"/>
                <a:gd name="T73" fmla="*/ 114 h 368"/>
                <a:gd name="T74" fmla="*/ 74 w 323"/>
                <a:gd name="T75" fmla="*/ 133 h 368"/>
                <a:gd name="T76" fmla="*/ 79 w 323"/>
                <a:gd name="T77" fmla="*/ 155 h 368"/>
                <a:gd name="T78" fmla="*/ 50 w 323"/>
                <a:gd name="T79" fmla="*/ 194 h 368"/>
                <a:gd name="T80" fmla="*/ 51 w 323"/>
                <a:gd name="T81" fmla="*/ 205 h 368"/>
                <a:gd name="T82" fmla="*/ 66 w 323"/>
                <a:gd name="T83" fmla="*/ 218 h 368"/>
                <a:gd name="T84" fmla="*/ 74 w 323"/>
                <a:gd name="T85" fmla="*/ 227 h 368"/>
                <a:gd name="T86" fmla="*/ 88 w 323"/>
                <a:gd name="T87" fmla="*/ 236 h 368"/>
                <a:gd name="T88" fmla="*/ 101 w 323"/>
                <a:gd name="T89" fmla="*/ 259 h 3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23"/>
                <a:gd name="T136" fmla="*/ 0 h 368"/>
                <a:gd name="T137" fmla="*/ 323 w 323"/>
                <a:gd name="T138" fmla="*/ 368 h 3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23" h="368">
                  <a:moveTo>
                    <a:pt x="118" y="292"/>
                  </a:moveTo>
                  <a:lnTo>
                    <a:pt x="120" y="292"/>
                  </a:lnTo>
                  <a:lnTo>
                    <a:pt x="123" y="292"/>
                  </a:lnTo>
                  <a:lnTo>
                    <a:pt x="123" y="312"/>
                  </a:lnTo>
                  <a:lnTo>
                    <a:pt x="120" y="340"/>
                  </a:lnTo>
                  <a:lnTo>
                    <a:pt x="118" y="351"/>
                  </a:lnTo>
                  <a:lnTo>
                    <a:pt x="122" y="362"/>
                  </a:lnTo>
                  <a:lnTo>
                    <a:pt x="123" y="366"/>
                  </a:lnTo>
                  <a:lnTo>
                    <a:pt x="129" y="368"/>
                  </a:lnTo>
                  <a:lnTo>
                    <a:pt x="135" y="368"/>
                  </a:lnTo>
                  <a:lnTo>
                    <a:pt x="142" y="368"/>
                  </a:lnTo>
                  <a:lnTo>
                    <a:pt x="147" y="366"/>
                  </a:lnTo>
                  <a:lnTo>
                    <a:pt x="153" y="364"/>
                  </a:lnTo>
                  <a:lnTo>
                    <a:pt x="157" y="360"/>
                  </a:lnTo>
                  <a:lnTo>
                    <a:pt x="159" y="356"/>
                  </a:lnTo>
                  <a:lnTo>
                    <a:pt x="162" y="351"/>
                  </a:lnTo>
                  <a:lnTo>
                    <a:pt x="162" y="344"/>
                  </a:lnTo>
                  <a:lnTo>
                    <a:pt x="162" y="336"/>
                  </a:lnTo>
                  <a:lnTo>
                    <a:pt x="164" y="329"/>
                  </a:lnTo>
                  <a:lnTo>
                    <a:pt x="164" y="325"/>
                  </a:lnTo>
                  <a:lnTo>
                    <a:pt x="166" y="323"/>
                  </a:lnTo>
                  <a:lnTo>
                    <a:pt x="170" y="319"/>
                  </a:lnTo>
                  <a:lnTo>
                    <a:pt x="173" y="318"/>
                  </a:lnTo>
                  <a:lnTo>
                    <a:pt x="181" y="316"/>
                  </a:lnTo>
                  <a:lnTo>
                    <a:pt x="186" y="316"/>
                  </a:lnTo>
                  <a:lnTo>
                    <a:pt x="192" y="318"/>
                  </a:lnTo>
                  <a:lnTo>
                    <a:pt x="197" y="321"/>
                  </a:lnTo>
                  <a:lnTo>
                    <a:pt x="201" y="325"/>
                  </a:lnTo>
                  <a:lnTo>
                    <a:pt x="207" y="327"/>
                  </a:lnTo>
                  <a:lnTo>
                    <a:pt x="210" y="329"/>
                  </a:lnTo>
                  <a:lnTo>
                    <a:pt x="218" y="329"/>
                  </a:lnTo>
                  <a:lnTo>
                    <a:pt x="221" y="325"/>
                  </a:lnTo>
                  <a:lnTo>
                    <a:pt x="225" y="319"/>
                  </a:lnTo>
                  <a:lnTo>
                    <a:pt x="231" y="316"/>
                  </a:lnTo>
                  <a:lnTo>
                    <a:pt x="236" y="314"/>
                  </a:lnTo>
                  <a:lnTo>
                    <a:pt x="249" y="321"/>
                  </a:lnTo>
                  <a:lnTo>
                    <a:pt x="268" y="331"/>
                  </a:lnTo>
                  <a:lnTo>
                    <a:pt x="290" y="327"/>
                  </a:lnTo>
                  <a:lnTo>
                    <a:pt x="304" y="323"/>
                  </a:lnTo>
                  <a:lnTo>
                    <a:pt x="310" y="327"/>
                  </a:lnTo>
                  <a:lnTo>
                    <a:pt x="316" y="329"/>
                  </a:lnTo>
                  <a:lnTo>
                    <a:pt x="319" y="329"/>
                  </a:lnTo>
                  <a:lnTo>
                    <a:pt x="323" y="327"/>
                  </a:lnTo>
                  <a:lnTo>
                    <a:pt x="321" y="314"/>
                  </a:lnTo>
                  <a:lnTo>
                    <a:pt x="317" y="299"/>
                  </a:lnTo>
                  <a:lnTo>
                    <a:pt x="314" y="286"/>
                  </a:lnTo>
                  <a:lnTo>
                    <a:pt x="310" y="271"/>
                  </a:lnTo>
                  <a:lnTo>
                    <a:pt x="314" y="262"/>
                  </a:lnTo>
                  <a:lnTo>
                    <a:pt x="316" y="253"/>
                  </a:lnTo>
                  <a:lnTo>
                    <a:pt x="310" y="246"/>
                  </a:lnTo>
                  <a:lnTo>
                    <a:pt x="304" y="240"/>
                  </a:lnTo>
                  <a:lnTo>
                    <a:pt x="306" y="231"/>
                  </a:lnTo>
                  <a:lnTo>
                    <a:pt x="310" y="223"/>
                  </a:lnTo>
                  <a:lnTo>
                    <a:pt x="306" y="218"/>
                  </a:lnTo>
                  <a:lnTo>
                    <a:pt x="303" y="212"/>
                  </a:lnTo>
                  <a:lnTo>
                    <a:pt x="304" y="201"/>
                  </a:lnTo>
                  <a:lnTo>
                    <a:pt x="304" y="188"/>
                  </a:lnTo>
                  <a:lnTo>
                    <a:pt x="299" y="179"/>
                  </a:lnTo>
                  <a:lnTo>
                    <a:pt x="293" y="168"/>
                  </a:lnTo>
                  <a:lnTo>
                    <a:pt x="286" y="166"/>
                  </a:lnTo>
                  <a:lnTo>
                    <a:pt x="277" y="164"/>
                  </a:lnTo>
                  <a:lnTo>
                    <a:pt x="271" y="155"/>
                  </a:lnTo>
                  <a:lnTo>
                    <a:pt x="266" y="149"/>
                  </a:lnTo>
                  <a:lnTo>
                    <a:pt x="256" y="149"/>
                  </a:lnTo>
                  <a:lnTo>
                    <a:pt x="247" y="149"/>
                  </a:lnTo>
                  <a:lnTo>
                    <a:pt x="231" y="125"/>
                  </a:lnTo>
                  <a:lnTo>
                    <a:pt x="214" y="100"/>
                  </a:lnTo>
                  <a:lnTo>
                    <a:pt x="199" y="101"/>
                  </a:lnTo>
                  <a:lnTo>
                    <a:pt x="184" y="105"/>
                  </a:lnTo>
                  <a:lnTo>
                    <a:pt x="177" y="96"/>
                  </a:lnTo>
                  <a:lnTo>
                    <a:pt x="170" y="83"/>
                  </a:lnTo>
                  <a:lnTo>
                    <a:pt x="157" y="81"/>
                  </a:lnTo>
                  <a:lnTo>
                    <a:pt x="147" y="77"/>
                  </a:lnTo>
                  <a:lnTo>
                    <a:pt x="140" y="66"/>
                  </a:lnTo>
                  <a:lnTo>
                    <a:pt x="133" y="53"/>
                  </a:lnTo>
                  <a:lnTo>
                    <a:pt x="127" y="53"/>
                  </a:lnTo>
                  <a:lnTo>
                    <a:pt x="120" y="52"/>
                  </a:lnTo>
                  <a:lnTo>
                    <a:pt x="116" y="50"/>
                  </a:lnTo>
                  <a:lnTo>
                    <a:pt x="112" y="46"/>
                  </a:lnTo>
                  <a:lnTo>
                    <a:pt x="105" y="40"/>
                  </a:lnTo>
                  <a:lnTo>
                    <a:pt x="98" y="35"/>
                  </a:lnTo>
                  <a:lnTo>
                    <a:pt x="87" y="33"/>
                  </a:lnTo>
                  <a:lnTo>
                    <a:pt x="77" y="31"/>
                  </a:lnTo>
                  <a:lnTo>
                    <a:pt x="75" y="15"/>
                  </a:lnTo>
                  <a:lnTo>
                    <a:pt x="70" y="0"/>
                  </a:lnTo>
                  <a:lnTo>
                    <a:pt x="64" y="4"/>
                  </a:lnTo>
                  <a:lnTo>
                    <a:pt x="59" y="9"/>
                  </a:lnTo>
                  <a:lnTo>
                    <a:pt x="40" y="18"/>
                  </a:lnTo>
                  <a:lnTo>
                    <a:pt x="20" y="26"/>
                  </a:lnTo>
                  <a:lnTo>
                    <a:pt x="20" y="37"/>
                  </a:lnTo>
                  <a:lnTo>
                    <a:pt x="18" y="50"/>
                  </a:lnTo>
                  <a:lnTo>
                    <a:pt x="14" y="53"/>
                  </a:lnTo>
                  <a:lnTo>
                    <a:pt x="9" y="57"/>
                  </a:lnTo>
                  <a:lnTo>
                    <a:pt x="5" y="59"/>
                  </a:lnTo>
                  <a:lnTo>
                    <a:pt x="0" y="61"/>
                  </a:lnTo>
                  <a:lnTo>
                    <a:pt x="7" y="66"/>
                  </a:lnTo>
                  <a:lnTo>
                    <a:pt x="13" y="74"/>
                  </a:lnTo>
                  <a:lnTo>
                    <a:pt x="14" y="79"/>
                  </a:lnTo>
                  <a:lnTo>
                    <a:pt x="14" y="83"/>
                  </a:lnTo>
                  <a:lnTo>
                    <a:pt x="14" y="92"/>
                  </a:lnTo>
                  <a:lnTo>
                    <a:pt x="16" y="98"/>
                  </a:lnTo>
                  <a:lnTo>
                    <a:pt x="24" y="98"/>
                  </a:lnTo>
                  <a:lnTo>
                    <a:pt x="33" y="96"/>
                  </a:lnTo>
                  <a:lnTo>
                    <a:pt x="37" y="103"/>
                  </a:lnTo>
                  <a:lnTo>
                    <a:pt x="40" y="113"/>
                  </a:lnTo>
                  <a:lnTo>
                    <a:pt x="46" y="113"/>
                  </a:lnTo>
                  <a:lnTo>
                    <a:pt x="51" y="113"/>
                  </a:lnTo>
                  <a:lnTo>
                    <a:pt x="55" y="113"/>
                  </a:lnTo>
                  <a:lnTo>
                    <a:pt x="59" y="114"/>
                  </a:lnTo>
                  <a:lnTo>
                    <a:pt x="62" y="118"/>
                  </a:lnTo>
                  <a:lnTo>
                    <a:pt x="68" y="125"/>
                  </a:lnTo>
                  <a:lnTo>
                    <a:pt x="74" y="133"/>
                  </a:lnTo>
                  <a:lnTo>
                    <a:pt x="77" y="140"/>
                  </a:lnTo>
                  <a:lnTo>
                    <a:pt x="79" y="148"/>
                  </a:lnTo>
                  <a:lnTo>
                    <a:pt x="79" y="155"/>
                  </a:lnTo>
                  <a:lnTo>
                    <a:pt x="64" y="172"/>
                  </a:lnTo>
                  <a:lnTo>
                    <a:pt x="51" y="188"/>
                  </a:lnTo>
                  <a:lnTo>
                    <a:pt x="50" y="194"/>
                  </a:lnTo>
                  <a:lnTo>
                    <a:pt x="50" y="198"/>
                  </a:lnTo>
                  <a:lnTo>
                    <a:pt x="50" y="201"/>
                  </a:lnTo>
                  <a:lnTo>
                    <a:pt x="51" y="205"/>
                  </a:lnTo>
                  <a:lnTo>
                    <a:pt x="57" y="210"/>
                  </a:lnTo>
                  <a:lnTo>
                    <a:pt x="61" y="214"/>
                  </a:lnTo>
                  <a:lnTo>
                    <a:pt x="66" y="218"/>
                  </a:lnTo>
                  <a:lnTo>
                    <a:pt x="70" y="220"/>
                  </a:lnTo>
                  <a:lnTo>
                    <a:pt x="72" y="223"/>
                  </a:lnTo>
                  <a:lnTo>
                    <a:pt x="74" y="227"/>
                  </a:lnTo>
                  <a:lnTo>
                    <a:pt x="75" y="233"/>
                  </a:lnTo>
                  <a:lnTo>
                    <a:pt x="79" y="238"/>
                  </a:lnTo>
                  <a:lnTo>
                    <a:pt x="88" y="236"/>
                  </a:lnTo>
                  <a:lnTo>
                    <a:pt x="99" y="236"/>
                  </a:lnTo>
                  <a:lnTo>
                    <a:pt x="99" y="244"/>
                  </a:lnTo>
                  <a:lnTo>
                    <a:pt x="101" y="259"/>
                  </a:lnTo>
                  <a:lnTo>
                    <a:pt x="109" y="275"/>
                  </a:lnTo>
                  <a:lnTo>
                    <a:pt x="118" y="29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7" name="Freeform 75"/>
            <p:cNvSpPr>
              <a:spLocks/>
            </p:cNvSpPr>
            <p:nvPr/>
          </p:nvSpPr>
          <p:spPr bwMode="auto">
            <a:xfrm>
              <a:off x="3691299" y="2223306"/>
              <a:ext cx="82965" cy="108396"/>
            </a:xfrm>
            <a:custGeom>
              <a:avLst/>
              <a:gdLst>
                <a:gd name="T0" fmla="*/ 33 w 159"/>
                <a:gd name="T1" fmla="*/ 0 h 213"/>
                <a:gd name="T2" fmla="*/ 14 w 159"/>
                <a:gd name="T3" fmla="*/ 11 h 213"/>
                <a:gd name="T4" fmla="*/ 0 w 159"/>
                <a:gd name="T5" fmla="*/ 22 h 213"/>
                <a:gd name="T6" fmla="*/ 0 w 159"/>
                <a:gd name="T7" fmla="*/ 30 h 213"/>
                <a:gd name="T8" fmla="*/ 2 w 159"/>
                <a:gd name="T9" fmla="*/ 35 h 213"/>
                <a:gd name="T10" fmla="*/ 7 w 159"/>
                <a:gd name="T11" fmla="*/ 43 h 213"/>
                <a:gd name="T12" fmla="*/ 13 w 159"/>
                <a:gd name="T13" fmla="*/ 52 h 213"/>
                <a:gd name="T14" fmla="*/ 13 w 159"/>
                <a:gd name="T15" fmla="*/ 61 h 213"/>
                <a:gd name="T16" fmla="*/ 11 w 159"/>
                <a:gd name="T17" fmla="*/ 70 h 213"/>
                <a:gd name="T18" fmla="*/ 13 w 159"/>
                <a:gd name="T19" fmla="*/ 80 h 213"/>
                <a:gd name="T20" fmla="*/ 16 w 159"/>
                <a:gd name="T21" fmla="*/ 87 h 213"/>
                <a:gd name="T22" fmla="*/ 40 w 159"/>
                <a:gd name="T23" fmla="*/ 98 h 213"/>
                <a:gd name="T24" fmla="*/ 61 w 159"/>
                <a:gd name="T25" fmla="*/ 109 h 213"/>
                <a:gd name="T26" fmla="*/ 53 w 159"/>
                <a:gd name="T27" fmla="*/ 128 h 213"/>
                <a:gd name="T28" fmla="*/ 44 w 159"/>
                <a:gd name="T29" fmla="*/ 150 h 213"/>
                <a:gd name="T30" fmla="*/ 46 w 159"/>
                <a:gd name="T31" fmla="*/ 157 h 213"/>
                <a:gd name="T32" fmla="*/ 51 w 159"/>
                <a:gd name="T33" fmla="*/ 163 h 213"/>
                <a:gd name="T34" fmla="*/ 59 w 159"/>
                <a:gd name="T35" fmla="*/ 168 h 213"/>
                <a:gd name="T36" fmla="*/ 64 w 159"/>
                <a:gd name="T37" fmla="*/ 174 h 213"/>
                <a:gd name="T38" fmla="*/ 66 w 159"/>
                <a:gd name="T39" fmla="*/ 189 h 213"/>
                <a:gd name="T40" fmla="*/ 74 w 159"/>
                <a:gd name="T41" fmla="*/ 213 h 213"/>
                <a:gd name="T42" fmla="*/ 83 w 159"/>
                <a:gd name="T43" fmla="*/ 211 h 213"/>
                <a:gd name="T44" fmla="*/ 92 w 159"/>
                <a:gd name="T45" fmla="*/ 205 h 213"/>
                <a:gd name="T46" fmla="*/ 99 w 159"/>
                <a:gd name="T47" fmla="*/ 196 h 213"/>
                <a:gd name="T48" fmla="*/ 107 w 159"/>
                <a:gd name="T49" fmla="*/ 181 h 213"/>
                <a:gd name="T50" fmla="*/ 116 w 159"/>
                <a:gd name="T51" fmla="*/ 170 h 213"/>
                <a:gd name="T52" fmla="*/ 123 w 159"/>
                <a:gd name="T53" fmla="*/ 163 h 213"/>
                <a:gd name="T54" fmla="*/ 125 w 159"/>
                <a:gd name="T55" fmla="*/ 154 h 213"/>
                <a:gd name="T56" fmla="*/ 125 w 159"/>
                <a:gd name="T57" fmla="*/ 144 h 213"/>
                <a:gd name="T58" fmla="*/ 136 w 159"/>
                <a:gd name="T59" fmla="*/ 141 h 213"/>
                <a:gd name="T60" fmla="*/ 147 w 159"/>
                <a:gd name="T61" fmla="*/ 135 h 213"/>
                <a:gd name="T62" fmla="*/ 144 w 159"/>
                <a:gd name="T63" fmla="*/ 122 h 213"/>
                <a:gd name="T64" fmla="*/ 142 w 159"/>
                <a:gd name="T65" fmla="*/ 111 h 213"/>
                <a:gd name="T66" fmla="*/ 149 w 159"/>
                <a:gd name="T67" fmla="*/ 109 h 213"/>
                <a:gd name="T68" fmla="*/ 159 w 159"/>
                <a:gd name="T69" fmla="*/ 109 h 213"/>
                <a:gd name="T70" fmla="*/ 159 w 159"/>
                <a:gd name="T71" fmla="*/ 102 h 213"/>
                <a:gd name="T72" fmla="*/ 155 w 159"/>
                <a:gd name="T73" fmla="*/ 93 h 213"/>
                <a:gd name="T74" fmla="*/ 147 w 159"/>
                <a:gd name="T75" fmla="*/ 80 h 213"/>
                <a:gd name="T76" fmla="*/ 138 w 159"/>
                <a:gd name="T77" fmla="*/ 67 h 213"/>
                <a:gd name="T78" fmla="*/ 129 w 159"/>
                <a:gd name="T79" fmla="*/ 54 h 213"/>
                <a:gd name="T80" fmla="*/ 118 w 159"/>
                <a:gd name="T81" fmla="*/ 46 h 213"/>
                <a:gd name="T82" fmla="*/ 98 w 159"/>
                <a:gd name="T83" fmla="*/ 39 h 213"/>
                <a:gd name="T84" fmla="*/ 77 w 159"/>
                <a:gd name="T85" fmla="*/ 32 h 213"/>
                <a:gd name="T86" fmla="*/ 55 w 159"/>
                <a:gd name="T87" fmla="*/ 15 h 213"/>
                <a:gd name="T88" fmla="*/ 33 w 159"/>
                <a:gd name="T89" fmla="*/ 0 h 21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9"/>
                <a:gd name="T136" fmla="*/ 0 h 213"/>
                <a:gd name="T137" fmla="*/ 159 w 159"/>
                <a:gd name="T138" fmla="*/ 213 h 21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9" h="213">
                  <a:moveTo>
                    <a:pt x="33" y="0"/>
                  </a:moveTo>
                  <a:lnTo>
                    <a:pt x="14" y="11"/>
                  </a:lnTo>
                  <a:lnTo>
                    <a:pt x="0" y="22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7" y="43"/>
                  </a:lnTo>
                  <a:lnTo>
                    <a:pt x="13" y="52"/>
                  </a:lnTo>
                  <a:lnTo>
                    <a:pt x="13" y="61"/>
                  </a:lnTo>
                  <a:lnTo>
                    <a:pt x="11" y="70"/>
                  </a:lnTo>
                  <a:lnTo>
                    <a:pt x="13" y="80"/>
                  </a:lnTo>
                  <a:lnTo>
                    <a:pt x="16" y="87"/>
                  </a:lnTo>
                  <a:lnTo>
                    <a:pt x="40" y="98"/>
                  </a:lnTo>
                  <a:lnTo>
                    <a:pt x="61" y="109"/>
                  </a:lnTo>
                  <a:lnTo>
                    <a:pt x="53" y="128"/>
                  </a:lnTo>
                  <a:lnTo>
                    <a:pt x="44" y="150"/>
                  </a:lnTo>
                  <a:lnTo>
                    <a:pt x="46" y="157"/>
                  </a:lnTo>
                  <a:lnTo>
                    <a:pt x="51" y="163"/>
                  </a:lnTo>
                  <a:lnTo>
                    <a:pt x="59" y="168"/>
                  </a:lnTo>
                  <a:lnTo>
                    <a:pt x="64" y="174"/>
                  </a:lnTo>
                  <a:lnTo>
                    <a:pt x="66" y="189"/>
                  </a:lnTo>
                  <a:lnTo>
                    <a:pt x="74" y="213"/>
                  </a:lnTo>
                  <a:lnTo>
                    <a:pt x="83" y="211"/>
                  </a:lnTo>
                  <a:lnTo>
                    <a:pt x="92" y="205"/>
                  </a:lnTo>
                  <a:lnTo>
                    <a:pt x="99" y="196"/>
                  </a:lnTo>
                  <a:lnTo>
                    <a:pt x="107" y="181"/>
                  </a:lnTo>
                  <a:lnTo>
                    <a:pt x="116" y="170"/>
                  </a:lnTo>
                  <a:lnTo>
                    <a:pt x="123" y="163"/>
                  </a:lnTo>
                  <a:lnTo>
                    <a:pt x="125" y="154"/>
                  </a:lnTo>
                  <a:lnTo>
                    <a:pt x="125" y="144"/>
                  </a:lnTo>
                  <a:lnTo>
                    <a:pt x="136" y="141"/>
                  </a:lnTo>
                  <a:lnTo>
                    <a:pt x="147" y="135"/>
                  </a:lnTo>
                  <a:lnTo>
                    <a:pt x="144" y="122"/>
                  </a:lnTo>
                  <a:lnTo>
                    <a:pt x="142" y="111"/>
                  </a:lnTo>
                  <a:lnTo>
                    <a:pt x="149" y="109"/>
                  </a:lnTo>
                  <a:lnTo>
                    <a:pt x="159" y="109"/>
                  </a:lnTo>
                  <a:lnTo>
                    <a:pt x="159" y="102"/>
                  </a:lnTo>
                  <a:lnTo>
                    <a:pt x="155" y="93"/>
                  </a:lnTo>
                  <a:lnTo>
                    <a:pt x="147" y="80"/>
                  </a:lnTo>
                  <a:lnTo>
                    <a:pt x="138" y="67"/>
                  </a:lnTo>
                  <a:lnTo>
                    <a:pt x="129" y="54"/>
                  </a:lnTo>
                  <a:lnTo>
                    <a:pt x="118" y="46"/>
                  </a:lnTo>
                  <a:lnTo>
                    <a:pt x="98" y="39"/>
                  </a:lnTo>
                  <a:lnTo>
                    <a:pt x="77" y="32"/>
                  </a:lnTo>
                  <a:lnTo>
                    <a:pt x="55" y="15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8" name="Freeform 76"/>
            <p:cNvSpPr>
              <a:spLocks/>
            </p:cNvSpPr>
            <p:nvPr/>
          </p:nvSpPr>
          <p:spPr bwMode="auto">
            <a:xfrm>
              <a:off x="3729912" y="2254349"/>
              <a:ext cx="123143" cy="115521"/>
            </a:xfrm>
            <a:custGeom>
              <a:avLst/>
              <a:gdLst>
                <a:gd name="T0" fmla="*/ 0 w 236"/>
                <a:gd name="T1" fmla="*/ 155 h 227"/>
                <a:gd name="T2" fmla="*/ 5 w 236"/>
                <a:gd name="T3" fmla="*/ 161 h 227"/>
                <a:gd name="T4" fmla="*/ 7 w 236"/>
                <a:gd name="T5" fmla="*/ 172 h 227"/>
                <a:gd name="T6" fmla="*/ 5 w 236"/>
                <a:gd name="T7" fmla="*/ 189 h 227"/>
                <a:gd name="T8" fmla="*/ 3 w 236"/>
                <a:gd name="T9" fmla="*/ 202 h 227"/>
                <a:gd name="T10" fmla="*/ 3 w 236"/>
                <a:gd name="T11" fmla="*/ 202 h 227"/>
                <a:gd name="T12" fmla="*/ 14 w 236"/>
                <a:gd name="T13" fmla="*/ 209 h 227"/>
                <a:gd name="T14" fmla="*/ 38 w 236"/>
                <a:gd name="T15" fmla="*/ 222 h 227"/>
                <a:gd name="T16" fmla="*/ 64 w 236"/>
                <a:gd name="T17" fmla="*/ 227 h 227"/>
                <a:gd name="T18" fmla="*/ 86 w 236"/>
                <a:gd name="T19" fmla="*/ 220 h 227"/>
                <a:gd name="T20" fmla="*/ 97 w 236"/>
                <a:gd name="T21" fmla="*/ 216 h 227"/>
                <a:gd name="T22" fmla="*/ 97 w 236"/>
                <a:gd name="T23" fmla="*/ 216 h 227"/>
                <a:gd name="T24" fmla="*/ 97 w 236"/>
                <a:gd name="T25" fmla="*/ 216 h 227"/>
                <a:gd name="T26" fmla="*/ 114 w 236"/>
                <a:gd name="T27" fmla="*/ 215 h 227"/>
                <a:gd name="T28" fmla="*/ 134 w 236"/>
                <a:gd name="T29" fmla="*/ 194 h 227"/>
                <a:gd name="T30" fmla="*/ 149 w 236"/>
                <a:gd name="T31" fmla="*/ 181 h 227"/>
                <a:gd name="T32" fmla="*/ 157 w 236"/>
                <a:gd name="T33" fmla="*/ 185 h 227"/>
                <a:gd name="T34" fmla="*/ 170 w 236"/>
                <a:gd name="T35" fmla="*/ 194 h 227"/>
                <a:gd name="T36" fmla="*/ 184 w 236"/>
                <a:gd name="T37" fmla="*/ 211 h 227"/>
                <a:gd name="T38" fmla="*/ 205 w 236"/>
                <a:gd name="T39" fmla="*/ 220 h 227"/>
                <a:gd name="T40" fmla="*/ 221 w 236"/>
                <a:gd name="T41" fmla="*/ 222 h 227"/>
                <a:gd name="T42" fmla="*/ 230 w 236"/>
                <a:gd name="T43" fmla="*/ 216 h 227"/>
                <a:gd name="T44" fmla="*/ 236 w 236"/>
                <a:gd name="T45" fmla="*/ 200 h 227"/>
                <a:gd name="T46" fmla="*/ 234 w 236"/>
                <a:gd name="T47" fmla="*/ 179 h 227"/>
                <a:gd name="T48" fmla="*/ 205 w 236"/>
                <a:gd name="T49" fmla="*/ 142 h 227"/>
                <a:gd name="T50" fmla="*/ 190 w 236"/>
                <a:gd name="T51" fmla="*/ 115 h 227"/>
                <a:gd name="T52" fmla="*/ 195 w 236"/>
                <a:gd name="T53" fmla="*/ 107 h 227"/>
                <a:gd name="T54" fmla="*/ 197 w 236"/>
                <a:gd name="T55" fmla="*/ 102 h 227"/>
                <a:gd name="T56" fmla="*/ 192 w 236"/>
                <a:gd name="T57" fmla="*/ 89 h 227"/>
                <a:gd name="T58" fmla="*/ 184 w 236"/>
                <a:gd name="T59" fmla="*/ 80 h 227"/>
                <a:gd name="T60" fmla="*/ 171 w 236"/>
                <a:gd name="T61" fmla="*/ 74 h 227"/>
                <a:gd name="T62" fmla="*/ 162 w 236"/>
                <a:gd name="T63" fmla="*/ 50 h 227"/>
                <a:gd name="T64" fmla="*/ 153 w 236"/>
                <a:gd name="T65" fmla="*/ 26 h 227"/>
                <a:gd name="T66" fmla="*/ 140 w 236"/>
                <a:gd name="T67" fmla="*/ 8 h 227"/>
                <a:gd name="T68" fmla="*/ 134 w 236"/>
                <a:gd name="T69" fmla="*/ 2 h 227"/>
                <a:gd name="T70" fmla="*/ 127 w 236"/>
                <a:gd name="T71" fmla="*/ 4 h 227"/>
                <a:gd name="T72" fmla="*/ 116 w 236"/>
                <a:gd name="T73" fmla="*/ 13 h 227"/>
                <a:gd name="T74" fmla="*/ 110 w 236"/>
                <a:gd name="T75" fmla="*/ 11 h 227"/>
                <a:gd name="T76" fmla="*/ 96 w 236"/>
                <a:gd name="T77" fmla="*/ 21 h 227"/>
                <a:gd name="T78" fmla="*/ 85 w 236"/>
                <a:gd name="T79" fmla="*/ 43 h 227"/>
                <a:gd name="T80" fmla="*/ 75 w 236"/>
                <a:gd name="T81" fmla="*/ 48 h 227"/>
                <a:gd name="T82" fmla="*/ 70 w 236"/>
                <a:gd name="T83" fmla="*/ 61 h 227"/>
                <a:gd name="T84" fmla="*/ 62 w 236"/>
                <a:gd name="T85" fmla="*/ 80 h 227"/>
                <a:gd name="T86" fmla="*/ 51 w 236"/>
                <a:gd name="T87" fmla="*/ 93 h 227"/>
                <a:gd name="T88" fmla="*/ 42 w 236"/>
                <a:gd name="T89" fmla="*/ 109 h 227"/>
                <a:gd name="T90" fmla="*/ 25 w 236"/>
                <a:gd name="T91" fmla="*/ 135 h 227"/>
                <a:gd name="T92" fmla="*/ 9 w 236"/>
                <a:gd name="T93" fmla="*/ 150 h 2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6"/>
                <a:gd name="T142" fmla="*/ 0 h 227"/>
                <a:gd name="T143" fmla="*/ 236 w 236"/>
                <a:gd name="T144" fmla="*/ 227 h 2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6" h="227">
                  <a:moveTo>
                    <a:pt x="0" y="152"/>
                  </a:moveTo>
                  <a:lnTo>
                    <a:pt x="0" y="155"/>
                  </a:lnTo>
                  <a:lnTo>
                    <a:pt x="1" y="157"/>
                  </a:lnTo>
                  <a:lnTo>
                    <a:pt x="5" y="161"/>
                  </a:lnTo>
                  <a:lnTo>
                    <a:pt x="5" y="167"/>
                  </a:lnTo>
                  <a:lnTo>
                    <a:pt x="7" y="172"/>
                  </a:lnTo>
                  <a:lnTo>
                    <a:pt x="7" y="178"/>
                  </a:lnTo>
                  <a:lnTo>
                    <a:pt x="5" y="189"/>
                  </a:lnTo>
                  <a:lnTo>
                    <a:pt x="3" y="202"/>
                  </a:lnTo>
                  <a:lnTo>
                    <a:pt x="14" y="209"/>
                  </a:lnTo>
                  <a:lnTo>
                    <a:pt x="27" y="216"/>
                  </a:lnTo>
                  <a:lnTo>
                    <a:pt x="38" y="222"/>
                  </a:lnTo>
                  <a:lnTo>
                    <a:pt x="51" y="227"/>
                  </a:lnTo>
                  <a:lnTo>
                    <a:pt x="64" y="227"/>
                  </a:lnTo>
                  <a:lnTo>
                    <a:pt x="75" y="224"/>
                  </a:lnTo>
                  <a:lnTo>
                    <a:pt x="86" y="220"/>
                  </a:lnTo>
                  <a:lnTo>
                    <a:pt x="97" y="216"/>
                  </a:lnTo>
                  <a:lnTo>
                    <a:pt x="114" y="215"/>
                  </a:lnTo>
                  <a:lnTo>
                    <a:pt x="127" y="209"/>
                  </a:lnTo>
                  <a:lnTo>
                    <a:pt x="134" y="194"/>
                  </a:lnTo>
                  <a:lnTo>
                    <a:pt x="144" y="181"/>
                  </a:lnTo>
                  <a:lnTo>
                    <a:pt x="149" y="181"/>
                  </a:lnTo>
                  <a:lnTo>
                    <a:pt x="153" y="183"/>
                  </a:lnTo>
                  <a:lnTo>
                    <a:pt x="157" y="185"/>
                  </a:lnTo>
                  <a:lnTo>
                    <a:pt x="162" y="187"/>
                  </a:lnTo>
                  <a:lnTo>
                    <a:pt x="170" y="194"/>
                  </a:lnTo>
                  <a:lnTo>
                    <a:pt x="177" y="203"/>
                  </a:lnTo>
                  <a:lnTo>
                    <a:pt x="184" y="211"/>
                  </a:lnTo>
                  <a:lnTo>
                    <a:pt x="195" y="216"/>
                  </a:lnTo>
                  <a:lnTo>
                    <a:pt x="205" y="220"/>
                  </a:lnTo>
                  <a:lnTo>
                    <a:pt x="216" y="224"/>
                  </a:lnTo>
                  <a:lnTo>
                    <a:pt x="221" y="222"/>
                  </a:lnTo>
                  <a:lnTo>
                    <a:pt x="225" y="220"/>
                  </a:lnTo>
                  <a:lnTo>
                    <a:pt x="230" y="216"/>
                  </a:lnTo>
                  <a:lnTo>
                    <a:pt x="234" y="213"/>
                  </a:lnTo>
                  <a:lnTo>
                    <a:pt x="236" y="200"/>
                  </a:lnTo>
                  <a:lnTo>
                    <a:pt x="236" y="189"/>
                  </a:lnTo>
                  <a:lnTo>
                    <a:pt x="234" y="179"/>
                  </a:lnTo>
                  <a:lnTo>
                    <a:pt x="230" y="170"/>
                  </a:lnTo>
                  <a:lnTo>
                    <a:pt x="205" y="142"/>
                  </a:lnTo>
                  <a:lnTo>
                    <a:pt x="188" y="120"/>
                  </a:lnTo>
                  <a:lnTo>
                    <a:pt x="190" y="115"/>
                  </a:lnTo>
                  <a:lnTo>
                    <a:pt x="194" y="111"/>
                  </a:lnTo>
                  <a:lnTo>
                    <a:pt x="195" y="107"/>
                  </a:lnTo>
                  <a:lnTo>
                    <a:pt x="197" y="106"/>
                  </a:lnTo>
                  <a:lnTo>
                    <a:pt x="197" y="102"/>
                  </a:lnTo>
                  <a:lnTo>
                    <a:pt x="195" y="98"/>
                  </a:lnTo>
                  <a:lnTo>
                    <a:pt x="192" y="89"/>
                  </a:lnTo>
                  <a:lnTo>
                    <a:pt x="188" y="83"/>
                  </a:lnTo>
                  <a:lnTo>
                    <a:pt x="184" y="80"/>
                  </a:lnTo>
                  <a:lnTo>
                    <a:pt x="181" y="78"/>
                  </a:lnTo>
                  <a:lnTo>
                    <a:pt x="171" y="74"/>
                  </a:lnTo>
                  <a:lnTo>
                    <a:pt x="164" y="69"/>
                  </a:lnTo>
                  <a:lnTo>
                    <a:pt x="162" y="50"/>
                  </a:lnTo>
                  <a:lnTo>
                    <a:pt x="160" y="33"/>
                  </a:lnTo>
                  <a:lnTo>
                    <a:pt x="153" y="26"/>
                  </a:lnTo>
                  <a:lnTo>
                    <a:pt x="147" y="21"/>
                  </a:lnTo>
                  <a:lnTo>
                    <a:pt x="140" y="8"/>
                  </a:lnTo>
                  <a:lnTo>
                    <a:pt x="134" y="2"/>
                  </a:lnTo>
                  <a:lnTo>
                    <a:pt x="133" y="0"/>
                  </a:lnTo>
                  <a:lnTo>
                    <a:pt x="127" y="4"/>
                  </a:lnTo>
                  <a:lnTo>
                    <a:pt x="118" y="6"/>
                  </a:lnTo>
                  <a:lnTo>
                    <a:pt x="116" y="13"/>
                  </a:lnTo>
                  <a:lnTo>
                    <a:pt x="114" y="19"/>
                  </a:lnTo>
                  <a:lnTo>
                    <a:pt x="110" y="11"/>
                  </a:lnTo>
                  <a:lnTo>
                    <a:pt x="105" y="8"/>
                  </a:lnTo>
                  <a:lnTo>
                    <a:pt x="96" y="21"/>
                  </a:lnTo>
                  <a:lnTo>
                    <a:pt x="83" y="35"/>
                  </a:lnTo>
                  <a:lnTo>
                    <a:pt x="85" y="43"/>
                  </a:lnTo>
                  <a:lnTo>
                    <a:pt x="85" y="48"/>
                  </a:lnTo>
                  <a:lnTo>
                    <a:pt x="75" y="48"/>
                  </a:lnTo>
                  <a:lnTo>
                    <a:pt x="68" y="50"/>
                  </a:lnTo>
                  <a:lnTo>
                    <a:pt x="70" y="61"/>
                  </a:lnTo>
                  <a:lnTo>
                    <a:pt x="73" y="74"/>
                  </a:lnTo>
                  <a:lnTo>
                    <a:pt x="62" y="80"/>
                  </a:lnTo>
                  <a:lnTo>
                    <a:pt x="51" y="83"/>
                  </a:lnTo>
                  <a:lnTo>
                    <a:pt x="51" y="93"/>
                  </a:lnTo>
                  <a:lnTo>
                    <a:pt x="49" y="102"/>
                  </a:lnTo>
                  <a:lnTo>
                    <a:pt x="42" y="109"/>
                  </a:lnTo>
                  <a:lnTo>
                    <a:pt x="33" y="120"/>
                  </a:lnTo>
                  <a:lnTo>
                    <a:pt x="25" y="135"/>
                  </a:lnTo>
                  <a:lnTo>
                    <a:pt x="18" y="144"/>
                  </a:lnTo>
                  <a:lnTo>
                    <a:pt x="9" y="150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49" name="Freeform 77"/>
            <p:cNvSpPr>
              <a:spLocks/>
            </p:cNvSpPr>
            <p:nvPr/>
          </p:nvSpPr>
          <p:spPr bwMode="auto">
            <a:xfrm>
              <a:off x="3700691" y="2173434"/>
              <a:ext cx="98619" cy="98727"/>
            </a:xfrm>
            <a:custGeom>
              <a:avLst/>
              <a:gdLst>
                <a:gd name="T0" fmla="*/ 44 w 189"/>
                <a:gd name="T1" fmla="*/ 6 h 194"/>
                <a:gd name="T2" fmla="*/ 20 w 189"/>
                <a:gd name="T3" fmla="*/ 19 h 194"/>
                <a:gd name="T4" fmla="*/ 0 w 189"/>
                <a:gd name="T5" fmla="*/ 28 h 194"/>
                <a:gd name="T6" fmla="*/ 8 w 189"/>
                <a:gd name="T7" fmla="*/ 41 h 194"/>
                <a:gd name="T8" fmla="*/ 19 w 189"/>
                <a:gd name="T9" fmla="*/ 61 h 194"/>
                <a:gd name="T10" fmla="*/ 20 w 189"/>
                <a:gd name="T11" fmla="*/ 74 h 194"/>
                <a:gd name="T12" fmla="*/ 20 w 189"/>
                <a:gd name="T13" fmla="*/ 85 h 194"/>
                <a:gd name="T14" fmla="*/ 19 w 189"/>
                <a:gd name="T15" fmla="*/ 93 h 194"/>
                <a:gd name="T16" fmla="*/ 15 w 189"/>
                <a:gd name="T17" fmla="*/ 98 h 194"/>
                <a:gd name="T18" fmla="*/ 37 w 189"/>
                <a:gd name="T19" fmla="*/ 113 h 194"/>
                <a:gd name="T20" fmla="*/ 59 w 189"/>
                <a:gd name="T21" fmla="*/ 130 h 194"/>
                <a:gd name="T22" fmla="*/ 80 w 189"/>
                <a:gd name="T23" fmla="*/ 137 h 194"/>
                <a:gd name="T24" fmla="*/ 100 w 189"/>
                <a:gd name="T25" fmla="*/ 144 h 194"/>
                <a:gd name="T26" fmla="*/ 111 w 189"/>
                <a:gd name="T27" fmla="*/ 152 h 194"/>
                <a:gd name="T28" fmla="*/ 120 w 189"/>
                <a:gd name="T29" fmla="*/ 165 h 194"/>
                <a:gd name="T30" fmla="*/ 129 w 189"/>
                <a:gd name="T31" fmla="*/ 178 h 194"/>
                <a:gd name="T32" fmla="*/ 137 w 189"/>
                <a:gd name="T33" fmla="*/ 191 h 194"/>
                <a:gd name="T34" fmla="*/ 139 w 189"/>
                <a:gd name="T35" fmla="*/ 192 h 194"/>
                <a:gd name="T36" fmla="*/ 139 w 189"/>
                <a:gd name="T37" fmla="*/ 194 h 194"/>
                <a:gd name="T38" fmla="*/ 152 w 189"/>
                <a:gd name="T39" fmla="*/ 180 h 194"/>
                <a:gd name="T40" fmla="*/ 161 w 189"/>
                <a:gd name="T41" fmla="*/ 167 h 194"/>
                <a:gd name="T42" fmla="*/ 166 w 189"/>
                <a:gd name="T43" fmla="*/ 170 h 194"/>
                <a:gd name="T44" fmla="*/ 170 w 189"/>
                <a:gd name="T45" fmla="*/ 178 h 194"/>
                <a:gd name="T46" fmla="*/ 172 w 189"/>
                <a:gd name="T47" fmla="*/ 172 h 194"/>
                <a:gd name="T48" fmla="*/ 174 w 189"/>
                <a:gd name="T49" fmla="*/ 165 h 194"/>
                <a:gd name="T50" fmla="*/ 183 w 189"/>
                <a:gd name="T51" fmla="*/ 163 h 194"/>
                <a:gd name="T52" fmla="*/ 189 w 189"/>
                <a:gd name="T53" fmla="*/ 159 h 194"/>
                <a:gd name="T54" fmla="*/ 177 w 189"/>
                <a:gd name="T55" fmla="*/ 156 h 194"/>
                <a:gd name="T56" fmla="*/ 170 w 189"/>
                <a:gd name="T57" fmla="*/ 150 h 194"/>
                <a:gd name="T58" fmla="*/ 165 w 189"/>
                <a:gd name="T59" fmla="*/ 144 h 194"/>
                <a:gd name="T60" fmla="*/ 159 w 189"/>
                <a:gd name="T61" fmla="*/ 137 h 194"/>
                <a:gd name="T62" fmla="*/ 153 w 189"/>
                <a:gd name="T63" fmla="*/ 135 h 194"/>
                <a:gd name="T64" fmla="*/ 148 w 189"/>
                <a:gd name="T65" fmla="*/ 133 h 194"/>
                <a:gd name="T66" fmla="*/ 142 w 189"/>
                <a:gd name="T67" fmla="*/ 128 h 194"/>
                <a:gd name="T68" fmla="*/ 139 w 189"/>
                <a:gd name="T69" fmla="*/ 122 h 194"/>
                <a:gd name="T70" fmla="*/ 137 w 189"/>
                <a:gd name="T71" fmla="*/ 109 h 194"/>
                <a:gd name="T72" fmla="*/ 137 w 189"/>
                <a:gd name="T73" fmla="*/ 95 h 194"/>
                <a:gd name="T74" fmla="*/ 139 w 189"/>
                <a:gd name="T75" fmla="*/ 80 h 194"/>
                <a:gd name="T76" fmla="*/ 142 w 189"/>
                <a:gd name="T77" fmla="*/ 65 h 194"/>
                <a:gd name="T78" fmla="*/ 141 w 189"/>
                <a:gd name="T79" fmla="*/ 59 h 194"/>
                <a:gd name="T80" fmla="*/ 139 w 189"/>
                <a:gd name="T81" fmla="*/ 54 h 194"/>
                <a:gd name="T82" fmla="*/ 133 w 189"/>
                <a:gd name="T83" fmla="*/ 48 h 194"/>
                <a:gd name="T84" fmla="*/ 128 w 189"/>
                <a:gd name="T85" fmla="*/ 46 h 194"/>
                <a:gd name="T86" fmla="*/ 118 w 189"/>
                <a:gd name="T87" fmla="*/ 41 h 194"/>
                <a:gd name="T88" fmla="*/ 115 w 189"/>
                <a:gd name="T89" fmla="*/ 35 h 194"/>
                <a:gd name="T90" fmla="*/ 115 w 189"/>
                <a:gd name="T91" fmla="*/ 32 h 194"/>
                <a:gd name="T92" fmla="*/ 115 w 189"/>
                <a:gd name="T93" fmla="*/ 28 h 194"/>
                <a:gd name="T94" fmla="*/ 115 w 189"/>
                <a:gd name="T95" fmla="*/ 24 h 194"/>
                <a:gd name="T96" fmla="*/ 113 w 189"/>
                <a:gd name="T97" fmla="*/ 22 h 194"/>
                <a:gd name="T98" fmla="*/ 111 w 189"/>
                <a:gd name="T99" fmla="*/ 19 h 194"/>
                <a:gd name="T100" fmla="*/ 107 w 189"/>
                <a:gd name="T101" fmla="*/ 15 h 194"/>
                <a:gd name="T102" fmla="*/ 100 w 189"/>
                <a:gd name="T103" fmla="*/ 10 h 194"/>
                <a:gd name="T104" fmla="*/ 91 w 189"/>
                <a:gd name="T105" fmla="*/ 2 h 194"/>
                <a:gd name="T106" fmla="*/ 85 w 189"/>
                <a:gd name="T107" fmla="*/ 6 h 194"/>
                <a:gd name="T108" fmla="*/ 78 w 189"/>
                <a:gd name="T109" fmla="*/ 11 h 194"/>
                <a:gd name="T110" fmla="*/ 72 w 189"/>
                <a:gd name="T111" fmla="*/ 11 h 194"/>
                <a:gd name="T112" fmla="*/ 68 w 189"/>
                <a:gd name="T113" fmla="*/ 8 h 194"/>
                <a:gd name="T114" fmla="*/ 63 w 189"/>
                <a:gd name="T115" fmla="*/ 4 h 194"/>
                <a:gd name="T116" fmla="*/ 59 w 189"/>
                <a:gd name="T117" fmla="*/ 0 h 194"/>
                <a:gd name="T118" fmla="*/ 54 w 189"/>
                <a:gd name="T119" fmla="*/ 2 h 194"/>
                <a:gd name="T120" fmla="*/ 44 w 189"/>
                <a:gd name="T121" fmla="*/ 6 h 19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9"/>
                <a:gd name="T184" fmla="*/ 0 h 194"/>
                <a:gd name="T185" fmla="*/ 189 w 189"/>
                <a:gd name="T186" fmla="*/ 194 h 19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9" h="194">
                  <a:moveTo>
                    <a:pt x="44" y="6"/>
                  </a:moveTo>
                  <a:lnTo>
                    <a:pt x="20" y="19"/>
                  </a:lnTo>
                  <a:lnTo>
                    <a:pt x="0" y="28"/>
                  </a:lnTo>
                  <a:lnTo>
                    <a:pt x="8" y="41"/>
                  </a:lnTo>
                  <a:lnTo>
                    <a:pt x="19" y="61"/>
                  </a:lnTo>
                  <a:lnTo>
                    <a:pt x="20" y="74"/>
                  </a:lnTo>
                  <a:lnTo>
                    <a:pt x="20" y="85"/>
                  </a:lnTo>
                  <a:lnTo>
                    <a:pt x="19" y="93"/>
                  </a:lnTo>
                  <a:lnTo>
                    <a:pt x="15" y="98"/>
                  </a:lnTo>
                  <a:lnTo>
                    <a:pt x="37" y="113"/>
                  </a:lnTo>
                  <a:lnTo>
                    <a:pt x="59" y="130"/>
                  </a:lnTo>
                  <a:lnTo>
                    <a:pt x="80" y="137"/>
                  </a:lnTo>
                  <a:lnTo>
                    <a:pt x="100" y="144"/>
                  </a:lnTo>
                  <a:lnTo>
                    <a:pt x="111" y="152"/>
                  </a:lnTo>
                  <a:lnTo>
                    <a:pt x="120" y="165"/>
                  </a:lnTo>
                  <a:lnTo>
                    <a:pt x="129" y="178"/>
                  </a:lnTo>
                  <a:lnTo>
                    <a:pt x="137" y="191"/>
                  </a:lnTo>
                  <a:lnTo>
                    <a:pt x="139" y="192"/>
                  </a:lnTo>
                  <a:lnTo>
                    <a:pt x="139" y="194"/>
                  </a:lnTo>
                  <a:lnTo>
                    <a:pt x="152" y="180"/>
                  </a:lnTo>
                  <a:lnTo>
                    <a:pt x="161" y="167"/>
                  </a:lnTo>
                  <a:lnTo>
                    <a:pt x="166" y="170"/>
                  </a:lnTo>
                  <a:lnTo>
                    <a:pt x="170" y="178"/>
                  </a:lnTo>
                  <a:lnTo>
                    <a:pt x="172" y="172"/>
                  </a:lnTo>
                  <a:lnTo>
                    <a:pt x="174" y="165"/>
                  </a:lnTo>
                  <a:lnTo>
                    <a:pt x="183" y="163"/>
                  </a:lnTo>
                  <a:lnTo>
                    <a:pt x="189" y="159"/>
                  </a:lnTo>
                  <a:lnTo>
                    <a:pt x="177" y="156"/>
                  </a:lnTo>
                  <a:lnTo>
                    <a:pt x="170" y="150"/>
                  </a:lnTo>
                  <a:lnTo>
                    <a:pt x="165" y="144"/>
                  </a:lnTo>
                  <a:lnTo>
                    <a:pt x="159" y="137"/>
                  </a:lnTo>
                  <a:lnTo>
                    <a:pt x="153" y="135"/>
                  </a:lnTo>
                  <a:lnTo>
                    <a:pt x="148" y="133"/>
                  </a:lnTo>
                  <a:lnTo>
                    <a:pt x="142" y="128"/>
                  </a:lnTo>
                  <a:lnTo>
                    <a:pt x="139" y="122"/>
                  </a:lnTo>
                  <a:lnTo>
                    <a:pt x="137" y="109"/>
                  </a:lnTo>
                  <a:lnTo>
                    <a:pt x="137" y="95"/>
                  </a:lnTo>
                  <a:lnTo>
                    <a:pt x="139" y="80"/>
                  </a:lnTo>
                  <a:lnTo>
                    <a:pt x="142" y="65"/>
                  </a:lnTo>
                  <a:lnTo>
                    <a:pt x="141" y="59"/>
                  </a:lnTo>
                  <a:lnTo>
                    <a:pt x="139" y="54"/>
                  </a:lnTo>
                  <a:lnTo>
                    <a:pt x="133" y="48"/>
                  </a:lnTo>
                  <a:lnTo>
                    <a:pt x="128" y="46"/>
                  </a:lnTo>
                  <a:lnTo>
                    <a:pt x="118" y="41"/>
                  </a:lnTo>
                  <a:lnTo>
                    <a:pt x="115" y="35"/>
                  </a:lnTo>
                  <a:lnTo>
                    <a:pt x="115" y="32"/>
                  </a:lnTo>
                  <a:lnTo>
                    <a:pt x="115" y="28"/>
                  </a:lnTo>
                  <a:lnTo>
                    <a:pt x="115" y="24"/>
                  </a:lnTo>
                  <a:lnTo>
                    <a:pt x="113" y="22"/>
                  </a:lnTo>
                  <a:lnTo>
                    <a:pt x="111" y="19"/>
                  </a:lnTo>
                  <a:lnTo>
                    <a:pt x="107" y="15"/>
                  </a:lnTo>
                  <a:lnTo>
                    <a:pt x="100" y="10"/>
                  </a:lnTo>
                  <a:lnTo>
                    <a:pt x="91" y="2"/>
                  </a:lnTo>
                  <a:lnTo>
                    <a:pt x="85" y="6"/>
                  </a:lnTo>
                  <a:lnTo>
                    <a:pt x="78" y="11"/>
                  </a:lnTo>
                  <a:lnTo>
                    <a:pt x="72" y="11"/>
                  </a:lnTo>
                  <a:lnTo>
                    <a:pt x="68" y="8"/>
                  </a:lnTo>
                  <a:lnTo>
                    <a:pt x="63" y="4"/>
                  </a:lnTo>
                  <a:lnTo>
                    <a:pt x="59" y="0"/>
                  </a:lnTo>
                  <a:lnTo>
                    <a:pt x="54" y="2"/>
                  </a:lnTo>
                  <a:lnTo>
                    <a:pt x="44" y="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0" name="Freeform 78"/>
            <p:cNvSpPr>
              <a:spLocks/>
            </p:cNvSpPr>
            <p:nvPr/>
          </p:nvSpPr>
          <p:spPr bwMode="auto">
            <a:xfrm>
              <a:off x="3762263" y="2018218"/>
              <a:ext cx="118969" cy="98218"/>
            </a:xfrm>
            <a:custGeom>
              <a:avLst/>
              <a:gdLst>
                <a:gd name="T0" fmla="*/ 95 w 228"/>
                <a:gd name="T1" fmla="*/ 6 h 193"/>
                <a:gd name="T2" fmla="*/ 83 w 228"/>
                <a:gd name="T3" fmla="*/ 11 h 193"/>
                <a:gd name="T4" fmla="*/ 72 w 228"/>
                <a:gd name="T5" fmla="*/ 19 h 193"/>
                <a:gd name="T6" fmla="*/ 61 w 228"/>
                <a:gd name="T7" fmla="*/ 26 h 193"/>
                <a:gd name="T8" fmla="*/ 48 w 228"/>
                <a:gd name="T9" fmla="*/ 34 h 193"/>
                <a:gd name="T10" fmla="*/ 39 w 228"/>
                <a:gd name="T11" fmla="*/ 45 h 193"/>
                <a:gd name="T12" fmla="*/ 19 w 228"/>
                <a:gd name="T13" fmla="*/ 67 h 193"/>
                <a:gd name="T14" fmla="*/ 17 w 228"/>
                <a:gd name="T15" fmla="*/ 82 h 193"/>
                <a:gd name="T16" fmla="*/ 10 w 228"/>
                <a:gd name="T17" fmla="*/ 115 h 193"/>
                <a:gd name="T18" fmla="*/ 4 w 228"/>
                <a:gd name="T19" fmla="*/ 139 h 193"/>
                <a:gd name="T20" fmla="*/ 4 w 228"/>
                <a:gd name="T21" fmla="*/ 154 h 193"/>
                <a:gd name="T22" fmla="*/ 15 w 228"/>
                <a:gd name="T23" fmla="*/ 169 h 193"/>
                <a:gd name="T24" fmla="*/ 45 w 228"/>
                <a:gd name="T25" fmla="*/ 178 h 193"/>
                <a:gd name="T26" fmla="*/ 76 w 228"/>
                <a:gd name="T27" fmla="*/ 167 h 193"/>
                <a:gd name="T28" fmla="*/ 98 w 228"/>
                <a:gd name="T29" fmla="*/ 167 h 193"/>
                <a:gd name="T30" fmla="*/ 108 w 228"/>
                <a:gd name="T31" fmla="*/ 183 h 193"/>
                <a:gd name="T32" fmla="*/ 119 w 228"/>
                <a:gd name="T33" fmla="*/ 191 h 193"/>
                <a:gd name="T34" fmla="*/ 135 w 228"/>
                <a:gd name="T35" fmla="*/ 193 h 193"/>
                <a:gd name="T36" fmla="*/ 152 w 228"/>
                <a:gd name="T37" fmla="*/ 191 h 193"/>
                <a:gd name="T38" fmla="*/ 178 w 228"/>
                <a:gd name="T39" fmla="*/ 183 h 193"/>
                <a:gd name="T40" fmla="*/ 191 w 228"/>
                <a:gd name="T41" fmla="*/ 174 h 193"/>
                <a:gd name="T42" fmla="*/ 202 w 228"/>
                <a:gd name="T43" fmla="*/ 163 h 193"/>
                <a:gd name="T44" fmla="*/ 216 w 228"/>
                <a:gd name="T45" fmla="*/ 159 h 193"/>
                <a:gd name="T46" fmla="*/ 224 w 228"/>
                <a:gd name="T47" fmla="*/ 156 h 193"/>
                <a:gd name="T48" fmla="*/ 228 w 228"/>
                <a:gd name="T49" fmla="*/ 145 h 193"/>
                <a:gd name="T50" fmla="*/ 222 w 228"/>
                <a:gd name="T51" fmla="*/ 128 h 193"/>
                <a:gd name="T52" fmla="*/ 211 w 228"/>
                <a:gd name="T53" fmla="*/ 115 h 193"/>
                <a:gd name="T54" fmla="*/ 202 w 228"/>
                <a:gd name="T55" fmla="*/ 96 h 193"/>
                <a:gd name="T56" fmla="*/ 183 w 228"/>
                <a:gd name="T57" fmla="*/ 89 h 193"/>
                <a:gd name="T58" fmla="*/ 144 w 228"/>
                <a:gd name="T59" fmla="*/ 67 h 193"/>
                <a:gd name="T60" fmla="*/ 130 w 228"/>
                <a:gd name="T61" fmla="*/ 36 h 193"/>
                <a:gd name="T62" fmla="*/ 119 w 228"/>
                <a:gd name="T63" fmla="*/ 15 h 193"/>
                <a:gd name="T64" fmla="*/ 108 w 228"/>
                <a:gd name="T65" fmla="*/ 6 h 19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8"/>
                <a:gd name="T100" fmla="*/ 0 h 193"/>
                <a:gd name="T101" fmla="*/ 228 w 228"/>
                <a:gd name="T102" fmla="*/ 193 h 19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8" h="193">
                  <a:moveTo>
                    <a:pt x="100" y="0"/>
                  </a:moveTo>
                  <a:lnTo>
                    <a:pt x="95" y="6"/>
                  </a:lnTo>
                  <a:lnTo>
                    <a:pt x="89" y="8"/>
                  </a:lnTo>
                  <a:lnTo>
                    <a:pt x="83" y="11"/>
                  </a:lnTo>
                  <a:lnTo>
                    <a:pt x="76" y="13"/>
                  </a:lnTo>
                  <a:lnTo>
                    <a:pt x="72" y="19"/>
                  </a:lnTo>
                  <a:lnTo>
                    <a:pt x="67" y="24"/>
                  </a:lnTo>
                  <a:lnTo>
                    <a:pt x="61" y="26"/>
                  </a:lnTo>
                  <a:lnTo>
                    <a:pt x="54" y="30"/>
                  </a:lnTo>
                  <a:lnTo>
                    <a:pt x="48" y="34"/>
                  </a:lnTo>
                  <a:lnTo>
                    <a:pt x="43" y="37"/>
                  </a:lnTo>
                  <a:lnTo>
                    <a:pt x="39" y="45"/>
                  </a:lnTo>
                  <a:lnTo>
                    <a:pt x="35" y="54"/>
                  </a:lnTo>
                  <a:lnTo>
                    <a:pt x="19" y="67"/>
                  </a:lnTo>
                  <a:lnTo>
                    <a:pt x="15" y="74"/>
                  </a:lnTo>
                  <a:lnTo>
                    <a:pt x="17" y="82"/>
                  </a:lnTo>
                  <a:lnTo>
                    <a:pt x="19" y="100"/>
                  </a:lnTo>
                  <a:lnTo>
                    <a:pt x="10" y="115"/>
                  </a:lnTo>
                  <a:lnTo>
                    <a:pt x="2" y="130"/>
                  </a:lnTo>
                  <a:lnTo>
                    <a:pt x="4" y="139"/>
                  </a:lnTo>
                  <a:lnTo>
                    <a:pt x="6" y="150"/>
                  </a:lnTo>
                  <a:lnTo>
                    <a:pt x="4" y="154"/>
                  </a:lnTo>
                  <a:lnTo>
                    <a:pt x="0" y="161"/>
                  </a:lnTo>
                  <a:lnTo>
                    <a:pt x="15" y="169"/>
                  </a:lnTo>
                  <a:lnTo>
                    <a:pt x="30" y="174"/>
                  </a:lnTo>
                  <a:lnTo>
                    <a:pt x="45" y="178"/>
                  </a:lnTo>
                  <a:lnTo>
                    <a:pt x="59" y="180"/>
                  </a:lnTo>
                  <a:lnTo>
                    <a:pt x="76" y="167"/>
                  </a:lnTo>
                  <a:lnTo>
                    <a:pt x="89" y="159"/>
                  </a:lnTo>
                  <a:lnTo>
                    <a:pt x="98" y="167"/>
                  </a:lnTo>
                  <a:lnTo>
                    <a:pt x="104" y="178"/>
                  </a:lnTo>
                  <a:lnTo>
                    <a:pt x="108" y="183"/>
                  </a:lnTo>
                  <a:lnTo>
                    <a:pt x="113" y="187"/>
                  </a:lnTo>
                  <a:lnTo>
                    <a:pt x="119" y="191"/>
                  </a:lnTo>
                  <a:lnTo>
                    <a:pt x="124" y="193"/>
                  </a:lnTo>
                  <a:lnTo>
                    <a:pt x="135" y="193"/>
                  </a:lnTo>
                  <a:lnTo>
                    <a:pt x="144" y="193"/>
                  </a:lnTo>
                  <a:lnTo>
                    <a:pt x="152" y="191"/>
                  </a:lnTo>
                  <a:lnTo>
                    <a:pt x="161" y="189"/>
                  </a:lnTo>
                  <a:lnTo>
                    <a:pt x="178" y="183"/>
                  </a:lnTo>
                  <a:lnTo>
                    <a:pt x="191" y="181"/>
                  </a:lnTo>
                  <a:lnTo>
                    <a:pt x="191" y="174"/>
                  </a:lnTo>
                  <a:lnTo>
                    <a:pt x="194" y="167"/>
                  </a:lnTo>
                  <a:lnTo>
                    <a:pt x="202" y="163"/>
                  </a:lnTo>
                  <a:lnTo>
                    <a:pt x="211" y="161"/>
                  </a:lnTo>
                  <a:lnTo>
                    <a:pt x="216" y="159"/>
                  </a:lnTo>
                  <a:lnTo>
                    <a:pt x="220" y="157"/>
                  </a:lnTo>
                  <a:lnTo>
                    <a:pt x="224" y="156"/>
                  </a:lnTo>
                  <a:lnTo>
                    <a:pt x="226" y="152"/>
                  </a:lnTo>
                  <a:lnTo>
                    <a:pt x="228" y="145"/>
                  </a:lnTo>
                  <a:lnTo>
                    <a:pt x="228" y="133"/>
                  </a:lnTo>
                  <a:lnTo>
                    <a:pt x="222" y="128"/>
                  </a:lnTo>
                  <a:lnTo>
                    <a:pt x="216" y="122"/>
                  </a:lnTo>
                  <a:lnTo>
                    <a:pt x="211" y="115"/>
                  </a:lnTo>
                  <a:lnTo>
                    <a:pt x="207" y="109"/>
                  </a:lnTo>
                  <a:lnTo>
                    <a:pt x="202" y="96"/>
                  </a:lnTo>
                  <a:lnTo>
                    <a:pt x="196" y="89"/>
                  </a:lnTo>
                  <a:lnTo>
                    <a:pt x="183" y="89"/>
                  </a:lnTo>
                  <a:lnTo>
                    <a:pt x="154" y="82"/>
                  </a:lnTo>
                  <a:lnTo>
                    <a:pt x="144" y="67"/>
                  </a:lnTo>
                  <a:lnTo>
                    <a:pt x="137" y="52"/>
                  </a:lnTo>
                  <a:lnTo>
                    <a:pt x="130" y="36"/>
                  </a:lnTo>
                  <a:lnTo>
                    <a:pt x="124" y="21"/>
                  </a:lnTo>
                  <a:lnTo>
                    <a:pt x="119" y="15"/>
                  </a:lnTo>
                  <a:lnTo>
                    <a:pt x="113" y="10"/>
                  </a:lnTo>
                  <a:lnTo>
                    <a:pt x="108" y="6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1" name="Freeform 79"/>
            <p:cNvSpPr>
              <a:spLocks/>
            </p:cNvSpPr>
            <p:nvPr/>
          </p:nvSpPr>
          <p:spPr bwMode="auto">
            <a:xfrm>
              <a:off x="3695995" y="2082340"/>
              <a:ext cx="98097" cy="96691"/>
            </a:xfrm>
            <a:custGeom>
              <a:avLst/>
              <a:gdLst>
                <a:gd name="T0" fmla="*/ 126 w 188"/>
                <a:gd name="T1" fmla="*/ 39 h 190"/>
                <a:gd name="T2" fmla="*/ 118 w 188"/>
                <a:gd name="T3" fmla="*/ 44 h 190"/>
                <a:gd name="T4" fmla="*/ 96 w 188"/>
                <a:gd name="T5" fmla="*/ 46 h 190"/>
                <a:gd name="T6" fmla="*/ 81 w 188"/>
                <a:gd name="T7" fmla="*/ 31 h 190"/>
                <a:gd name="T8" fmla="*/ 74 w 188"/>
                <a:gd name="T9" fmla="*/ 11 h 190"/>
                <a:gd name="T10" fmla="*/ 65 w 188"/>
                <a:gd name="T11" fmla="*/ 2 h 190"/>
                <a:gd name="T12" fmla="*/ 52 w 188"/>
                <a:gd name="T13" fmla="*/ 7 h 190"/>
                <a:gd name="T14" fmla="*/ 26 w 188"/>
                <a:gd name="T15" fmla="*/ 31 h 190"/>
                <a:gd name="T16" fmla="*/ 2 w 188"/>
                <a:gd name="T17" fmla="*/ 59 h 190"/>
                <a:gd name="T18" fmla="*/ 4 w 188"/>
                <a:gd name="T19" fmla="*/ 76 h 190"/>
                <a:gd name="T20" fmla="*/ 22 w 188"/>
                <a:gd name="T21" fmla="*/ 87 h 190"/>
                <a:gd name="T22" fmla="*/ 44 w 188"/>
                <a:gd name="T23" fmla="*/ 105 h 190"/>
                <a:gd name="T24" fmla="*/ 66 w 188"/>
                <a:gd name="T25" fmla="*/ 133 h 190"/>
                <a:gd name="T26" fmla="*/ 74 w 188"/>
                <a:gd name="T27" fmla="*/ 155 h 190"/>
                <a:gd name="T28" fmla="*/ 66 w 188"/>
                <a:gd name="T29" fmla="*/ 163 h 190"/>
                <a:gd name="T30" fmla="*/ 55 w 188"/>
                <a:gd name="T31" fmla="*/ 170 h 190"/>
                <a:gd name="T32" fmla="*/ 52 w 188"/>
                <a:gd name="T33" fmla="*/ 179 h 190"/>
                <a:gd name="T34" fmla="*/ 53 w 188"/>
                <a:gd name="T35" fmla="*/ 185 h 190"/>
                <a:gd name="T36" fmla="*/ 63 w 188"/>
                <a:gd name="T37" fmla="*/ 181 h 190"/>
                <a:gd name="T38" fmla="*/ 72 w 188"/>
                <a:gd name="T39" fmla="*/ 183 h 190"/>
                <a:gd name="T40" fmla="*/ 81 w 188"/>
                <a:gd name="T41" fmla="*/ 190 h 190"/>
                <a:gd name="T42" fmla="*/ 92 w 188"/>
                <a:gd name="T43" fmla="*/ 187 h 190"/>
                <a:gd name="T44" fmla="*/ 98 w 188"/>
                <a:gd name="T45" fmla="*/ 183 h 190"/>
                <a:gd name="T46" fmla="*/ 100 w 188"/>
                <a:gd name="T47" fmla="*/ 174 h 190"/>
                <a:gd name="T48" fmla="*/ 111 w 188"/>
                <a:gd name="T49" fmla="*/ 168 h 190"/>
                <a:gd name="T50" fmla="*/ 126 w 188"/>
                <a:gd name="T51" fmla="*/ 157 h 190"/>
                <a:gd name="T52" fmla="*/ 131 w 188"/>
                <a:gd name="T53" fmla="*/ 150 h 190"/>
                <a:gd name="T54" fmla="*/ 142 w 188"/>
                <a:gd name="T55" fmla="*/ 157 h 190"/>
                <a:gd name="T56" fmla="*/ 151 w 188"/>
                <a:gd name="T57" fmla="*/ 159 h 190"/>
                <a:gd name="T58" fmla="*/ 166 w 188"/>
                <a:gd name="T59" fmla="*/ 146 h 190"/>
                <a:gd name="T60" fmla="*/ 179 w 188"/>
                <a:gd name="T61" fmla="*/ 131 h 190"/>
                <a:gd name="T62" fmla="*/ 179 w 188"/>
                <a:gd name="T63" fmla="*/ 124 h 190"/>
                <a:gd name="T64" fmla="*/ 175 w 188"/>
                <a:gd name="T65" fmla="*/ 113 h 190"/>
                <a:gd name="T66" fmla="*/ 181 w 188"/>
                <a:gd name="T67" fmla="*/ 94 h 190"/>
                <a:gd name="T68" fmla="*/ 188 w 188"/>
                <a:gd name="T69" fmla="*/ 68 h 190"/>
                <a:gd name="T70" fmla="*/ 185 w 188"/>
                <a:gd name="T71" fmla="*/ 55 h 190"/>
                <a:gd name="T72" fmla="*/ 172 w 188"/>
                <a:gd name="T73" fmla="*/ 52 h 190"/>
                <a:gd name="T74" fmla="*/ 142 w 188"/>
                <a:gd name="T75" fmla="*/ 43 h 19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88"/>
                <a:gd name="T115" fmla="*/ 0 h 190"/>
                <a:gd name="T116" fmla="*/ 188 w 188"/>
                <a:gd name="T117" fmla="*/ 190 h 19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88" h="190">
                  <a:moveTo>
                    <a:pt x="127" y="35"/>
                  </a:moveTo>
                  <a:lnTo>
                    <a:pt x="126" y="39"/>
                  </a:lnTo>
                  <a:lnTo>
                    <a:pt x="126" y="41"/>
                  </a:lnTo>
                  <a:lnTo>
                    <a:pt x="118" y="44"/>
                  </a:lnTo>
                  <a:lnTo>
                    <a:pt x="107" y="46"/>
                  </a:lnTo>
                  <a:lnTo>
                    <a:pt x="96" y="46"/>
                  </a:lnTo>
                  <a:lnTo>
                    <a:pt x="87" y="43"/>
                  </a:lnTo>
                  <a:lnTo>
                    <a:pt x="81" y="31"/>
                  </a:lnTo>
                  <a:lnTo>
                    <a:pt x="76" y="17"/>
                  </a:lnTo>
                  <a:lnTo>
                    <a:pt x="74" y="11"/>
                  </a:lnTo>
                  <a:lnTo>
                    <a:pt x="70" y="6"/>
                  </a:lnTo>
                  <a:lnTo>
                    <a:pt x="65" y="2"/>
                  </a:lnTo>
                  <a:lnTo>
                    <a:pt x="59" y="0"/>
                  </a:lnTo>
                  <a:lnTo>
                    <a:pt x="52" y="7"/>
                  </a:lnTo>
                  <a:lnTo>
                    <a:pt x="42" y="19"/>
                  </a:lnTo>
                  <a:lnTo>
                    <a:pt x="26" y="31"/>
                  </a:lnTo>
                  <a:lnTo>
                    <a:pt x="7" y="46"/>
                  </a:lnTo>
                  <a:lnTo>
                    <a:pt x="2" y="59"/>
                  </a:lnTo>
                  <a:lnTo>
                    <a:pt x="0" y="70"/>
                  </a:lnTo>
                  <a:lnTo>
                    <a:pt x="4" y="76"/>
                  </a:lnTo>
                  <a:lnTo>
                    <a:pt x="7" y="81"/>
                  </a:lnTo>
                  <a:lnTo>
                    <a:pt x="22" y="87"/>
                  </a:lnTo>
                  <a:lnTo>
                    <a:pt x="31" y="92"/>
                  </a:lnTo>
                  <a:lnTo>
                    <a:pt x="44" y="105"/>
                  </a:lnTo>
                  <a:lnTo>
                    <a:pt x="55" y="118"/>
                  </a:lnTo>
                  <a:lnTo>
                    <a:pt x="66" y="133"/>
                  </a:lnTo>
                  <a:lnTo>
                    <a:pt x="74" y="150"/>
                  </a:lnTo>
                  <a:lnTo>
                    <a:pt x="74" y="155"/>
                  </a:lnTo>
                  <a:lnTo>
                    <a:pt x="72" y="159"/>
                  </a:lnTo>
                  <a:lnTo>
                    <a:pt x="66" y="163"/>
                  </a:lnTo>
                  <a:lnTo>
                    <a:pt x="61" y="166"/>
                  </a:lnTo>
                  <a:lnTo>
                    <a:pt x="55" y="170"/>
                  </a:lnTo>
                  <a:lnTo>
                    <a:pt x="52" y="174"/>
                  </a:lnTo>
                  <a:lnTo>
                    <a:pt x="52" y="179"/>
                  </a:lnTo>
                  <a:lnTo>
                    <a:pt x="53" y="185"/>
                  </a:lnTo>
                  <a:lnTo>
                    <a:pt x="63" y="181"/>
                  </a:lnTo>
                  <a:lnTo>
                    <a:pt x="68" y="179"/>
                  </a:lnTo>
                  <a:lnTo>
                    <a:pt x="72" y="183"/>
                  </a:lnTo>
                  <a:lnTo>
                    <a:pt x="77" y="187"/>
                  </a:lnTo>
                  <a:lnTo>
                    <a:pt x="81" y="190"/>
                  </a:lnTo>
                  <a:lnTo>
                    <a:pt x="87" y="190"/>
                  </a:lnTo>
                  <a:lnTo>
                    <a:pt x="92" y="187"/>
                  </a:lnTo>
                  <a:lnTo>
                    <a:pt x="96" y="185"/>
                  </a:lnTo>
                  <a:lnTo>
                    <a:pt x="98" y="183"/>
                  </a:lnTo>
                  <a:lnTo>
                    <a:pt x="100" y="179"/>
                  </a:lnTo>
                  <a:lnTo>
                    <a:pt x="100" y="174"/>
                  </a:lnTo>
                  <a:lnTo>
                    <a:pt x="102" y="170"/>
                  </a:lnTo>
                  <a:lnTo>
                    <a:pt x="111" y="168"/>
                  </a:lnTo>
                  <a:lnTo>
                    <a:pt x="122" y="166"/>
                  </a:lnTo>
                  <a:lnTo>
                    <a:pt x="126" y="157"/>
                  </a:lnTo>
                  <a:lnTo>
                    <a:pt x="127" y="150"/>
                  </a:lnTo>
                  <a:lnTo>
                    <a:pt x="131" y="150"/>
                  </a:lnTo>
                  <a:lnTo>
                    <a:pt x="138" y="155"/>
                  </a:lnTo>
                  <a:lnTo>
                    <a:pt x="142" y="157"/>
                  </a:lnTo>
                  <a:lnTo>
                    <a:pt x="148" y="159"/>
                  </a:lnTo>
                  <a:lnTo>
                    <a:pt x="151" y="159"/>
                  </a:lnTo>
                  <a:lnTo>
                    <a:pt x="157" y="159"/>
                  </a:lnTo>
                  <a:lnTo>
                    <a:pt x="166" y="146"/>
                  </a:lnTo>
                  <a:lnTo>
                    <a:pt x="175" y="137"/>
                  </a:lnTo>
                  <a:lnTo>
                    <a:pt x="179" y="131"/>
                  </a:lnTo>
                  <a:lnTo>
                    <a:pt x="179" y="128"/>
                  </a:lnTo>
                  <a:lnTo>
                    <a:pt x="179" y="124"/>
                  </a:lnTo>
                  <a:lnTo>
                    <a:pt x="179" y="120"/>
                  </a:lnTo>
                  <a:lnTo>
                    <a:pt x="175" y="113"/>
                  </a:lnTo>
                  <a:lnTo>
                    <a:pt x="174" y="105"/>
                  </a:lnTo>
                  <a:lnTo>
                    <a:pt x="181" y="94"/>
                  </a:lnTo>
                  <a:lnTo>
                    <a:pt x="188" y="81"/>
                  </a:lnTo>
                  <a:lnTo>
                    <a:pt x="188" y="68"/>
                  </a:lnTo>
                  <a:lnTo>
                    <a:pt x="186" y="57"/>
                  </a:lnTo>
                  <a:lnTo>
                    <a:pt x="185" y="55"/>
                  </a:lnTo>
                  <a:lnTo>
                    <a:pt x="185" y="54"/>
                  </a:lnTo>
                  <a:lnTo>
                    <a:pt x="172" y="52"/>
                  </a:lnTo>
                  <a:lnTo>
                    <a:pt x="157" y="48"/>
                  </a:lnTo>
                  <a:lnTo>
                    <a:pt x="142" y="43"/>
                  </a:lnTo>
                  <a:lnTo>
                    <a:pt x="127" y="35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2" name="Freeform 80"/>
            <p:cNvSpPr>
              <a:spLocks/>
            </p:cNvSpPr>
            <p:nvPr/>
          </p:nvSpPr>
          <p:spPr bwMode="auto">
            <a:xfrm>
              <a:off x="3800875" y="1889466"/>
              <a:ext cx="110098" cy="140457"/>
            </a:xfrm>
            <a:custGeom>
              <a:avLst/>
              <a:gdLst>
                <a:gd name="T0" fmla="*/ 191 w 211"/>
                <a:gd name="T1" fmla="*/ 6 h 276"/>
                <a:gd name="T2" fmla="*/ 176 w 211"/>
                <a:gd name="T3" fmla="*/ 15 h 276"/>
                <a:gd name="T4" fmla="*/ 157 w 211"/>
                <a:gd name="T5" fmla="*/ 22 h 276"/>
                <a:gd name="T6" fmla="*/ 146 w 211"/>
                <a:gd name="T7" fmla="*/ 32 h 276"/>
                <a:gd name="T8" fmla="*/ 135 w 211"/>
                <a:gd name="T9" fmla="*/ 56 h 276"/>
                <a:gd name="T10" fmla="*/ 120 w 211"/>
                <a:gd name="T11" fmla="*/ 65 h 276"/>
                <a:gd name="T12" fmla="*/ 122 w 211"/>
                <a:gd name="T13" fmla="*/ 52 h 276"/>
                <a:gd name="T14" fmla="*/ 130 w 211"/>
                <a:gd name="T15" fmla="*/ 35 h 276"/>
                <a:gd name="T16" fmla="*/ 107 w 211"/>
                <a:gd name="T17" fmla="*/ 35 h 276"/>
                <a:gd name="T18" fmla="*/ 89 w 211"/>
                <a:gd name="T19" fmla="*/ 43 h 276"/>
                <a:gd name="T20" fmla="*/ 85 w 211"/>
                <a:gd name="T21" fmla="*/ 48 h 276"/>
                <a:gd name="T22" fmla="*/ 80 w 211"/>
                <a:gd name="T23" fmla="*/ 59 h 276"/>
                <a:gd name="T24" fmla="*/ 70 w 211"/>
                <a:gd name="T25" fmla="*/ 69 h 276"/>
                <a:gd name="T26" fmla="*/ 58 w 211"/>
                <a:gd name="T27" fmla="*/ 70 h 276"/>
                <a:gd name="T28" fmla="*/ 48 w 211"/>
                <a:gd name="T29" fmla="*/ 72 h 276"/>
                <a:gd name="T30" fmla="*/ 43 w 211"/>
                <a:gd name="T31" fmla="*/ 82 h 276"/>
                <a:gd name="T32" fmla="*/ 30 w 211"/>
                <a:gd name="T33" fmla="*/ 109 h 276"/>
                <a:gd name="T34" fmla="*/ 13 w 211"/>
                <a:gd name="T35" fmla="*/ 120 h 276"/>
                <a:gd name="T36" fmla="*/ 0 w 211"/>
                <a:gd name="T37" fmla="*/ 128 h 276"/>
                <a:gd name="T38" fmla="*/ 0 w 211"/>
                <a:gd name="T39" fmla="*/ 143 h 276"/>
                <a:gd name="T40" fmla="*/ 8 w 211"/>
                <a:gd name="T41" fmla="*/ 165 h 276"/>
                <a:gd name="T42" fmla="*/ 17 w 211"/>
                <a:gd name="T43" fmla="*/ 181 h 276"/>
                <a:gd name="T44" fmla="*/ 13 w 211"/>
                <a:gd name="T45" fmla="*/ 189 h 276"/>
                <a:gd name="T46" fmla="*/ 9 w 211"/>
                <a:gd name="T47" fmla="*/ 192 h 276"/>
                <a:gd name="T48" fmla="*/ 8 w 211"/>
                <a:gd name="T49" fmla="*/ 200 h 276"/>
                <a:gd name="T50" fmla="*/ 13 w 211"/>
                <a:gd name="T51" fmla="*/ 209 h 276"/>
                <a:gd name="T52" fmla="*/ 22 w 211"/>
                <a:gd name="T53" fmla="*/ 218 h 276"/>
                <a:gd name="T54" fmla="*/ 28 w 211"/>
                <a:gd name="T55" fmla="*/ 235 h 276"/>
                <a:gd name="T56" fmla="*/ 28 w 211"/>
                <a:gd name="T57" fmla="*/ 250 h 276"/>
                <a:gd name="T58" fmla="*/ 34 w 211"/>
                <a:gd name="T59" fmla="*/ 259 h 276"/>
                <a:gd name="T60" fmla="*/ 45 w 211"/>
                <a:gd name="T61" fmla="*/ 268 h 276"/>
                <a:gd name="T62" fmla="*/ 50 w 211"/>
                <a:gd name="T63" fmla="*/ 276 h 276"/>
                <a:gd name="T64" fmla="*/ 59 w 211"/>
                <a:gd name="T65" fmla="*/ 272 h 276"/>
                <a:gd name="T66" fmla="*/ 76 w 211"/>
                <a:gd name="T67" fmla="*/ 264 h 276"/>
                <a:gd name="T68" fmla="*/ 85 w 211"/>
                <a:gd name="T69" fmla="*/ 253 h 276"/>
                <a:gd name="T70" fmla="*/ 89 w 211"/>
                <a:gd name="T71" fmla="*/ 244 h 276"/>
                <a:gd name="T72" fmla="*/ 87 w 211"/>
                <a:gd name="T73" fmla="*/ 233 h 276"/>
                <a:gd name="T74" fmla="*/ 85 w 211"/>
                <a:gd name="T75" fmla="*/ 220 h 276"/>
                <a:gd name="T76" fmla="*/ 96 w 211"/>
                <a:gd name="T77" fmla="*/ 207 h 276"/>
                <a:gd name="T78" fmla="*/ 109 w 211"/>
                <a:gd name="T79" fmla="*/ 194 h 276"/>
                <a:gd name="T80" fmla="*/ 115 w 211"/>
                <a:gd name="T81" fmla="*/ 185 h 276"/>
                <a:gd name="T82" fmla="*/ 124 w 211"/>
                <a:gd name="T83" fmla="*/ 176 h 276"/>
                <a:gd name="T84" fmla="*/ 126 w 211"/>
                <a:gd name="T85" fmla="*/ 165 h 276"/>
                <a:gd name="T86" fmla="*/ 137 w 211"/>
                <a:gd name="T87" fmla="*/ 159 h 276"/>
                <a:gd name="T88" fmla="*/ 152 w 211"/>
                <a:gd name="T89" fmla="*/ 150 h 276"/>
                <a:gd name="T90" fmla="*/ 167 w 211"/>
                <a:gd name="T91" fmla="*/ 107 h 276"/>
                <a:gd name="T92" fmla="*/ 172 w 211"/>
                <a:gd name="T93" fmla="*/ 82 h 276"/>
                <a:gd name="T94" fmla="*/ 179 w 211"/>
                <a:gd name="T95" fmla="*/ 80 h 276"/>
                <a:gd name="T96" fmla="*/ 192 w 211"/>
                <a:gd name="T97" fmla="*/ 82 h 276"/>
                <a:gd name="T98" fmla="*/ 202 w 211"/>
                <a:gd name="T99" fmla="*/ 69 h 276"/>
                <a:gd name="T100" fmla="*/ 207 w 211"/>
                <a:gd name="T101" fmla="*/ 50 h 276"/>
                <a:gd name="T102" fmla="*/ 209 w 211"/>
                <a:gd name="T103" fmla="*/ 26 h 276"/>
                <a:gd name="T104" fmla="*/ 200 w 211"/>
                <a:gd name="T105" fmla="*/ 2 h 27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11"/>
                <a:gd name="T160" fmla="*/ 0 h 276"/>
                <a:gd name="T161" fmla="*/ 211 w 211"/>
                <a:gd name="T162" fmla="*/ 276 h 27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11" h="276">
                  <a:moveTo>
                    <a:pt x="198" y="0"/>
                  </a:moveTo>
                  <a:lnTo>
                    <a:pt x="191" y="6"/>
                  </a:lnTo>
                  <a:lnTo>
                    <a:pt x="183" y="9"/>
                  </a:lnTo>
                  <a:lnTo>
                    <a:pt x="176" y="15"/>
                  </a:lnTo>
                  <a:lnTo>
                    <a:pt x="168" y="22"/>
                  </a:lnTo>
                  <a:lnTo>
                    <a:pt x="157" y="22"/>
                  </a:lnTo>
                  <a:lnTo>
                    <a:pt x="150" y="26"/>
                  </a:lnTo>
                  <a:lnTo>
                    <a:pt x="146" y="32"/>
                  </a:lnTo>
                  <a:lnTo>
                    <a:pt x="144" y="43"/>
                  </a:lnTo>
                  <a:lnTo>
                    <a:pt x="135" y="56"/>
                  </a:lnTo>
                  <a:lnTo>
                    <a:pt x="126" y="65"/>
                  </a:lnTo>
                  <a:lnTo>
                    <a:pt x="120" y="65"/>
                  </a:lnTo>
                  <a:lnTo>
                    <a:pt x="115" y="65"/>
                  </a:lnTo>
                  <a:lnTo>
                    <a:pt x="122" y="52"/>
                  </a:lnTo>
                  <a:lnTo>
                    <a:pt x="128" y="43"/>
                  </a:lnTo>
                  <a:lnTo>
                    <a:pt x="130" y="35"/>
                  </a:lnTo>
                  <a:lnTo>
                    <a:pt x="128" y="30"/>
                  </a:lnTo>
                  <a:lnTo>
                    <a:pt x="107" y="35"/>
                  </a:lnTo>
                  <a:lnTo>
                    <a:pt x="94" y="41"/>
                  </a:lnTo>
                  <a:lnTo>
                    <a:pt x="89" y="43"/>
                  </a:lnTo>
                  <a:lnTo>
                    <a:pt x="87" y="45"/>
                  </a:lnTo>
                  <a:lnTo>
                    <a:pt x="85" y="48"/>
                  </a:lnTo>
                  <a:lnTo>
                    <a:pt x="83" y="52"/>
                  </a:lnTo>
                  <a:lnTo>
                    <a:pt x="80" y="59"/>
                  </a:lnTo>
                  <a:lnTo>
                    <a:pt x="76" y="63"/>
                  </a:lnTo>
                  <a:lnTo>
                    <a:pt x="70" y="69"/>
                  </a:lnTo>
                  <a:lnTo>
                    <a:pt x="65" y="70"/>
                  </a:lnTo>
                  <a:lnTo>
                    <a:pt x="58" y="70"/>
                  </a:lnTo>
                  <a:lnTo>
                    <a:pt x="52" y="70"/>
                  </a:lnTo>
                  <a:lnTo>
                    <a:pt x="48" y="72"/>
                  </a:lnTo>
                  <a:lnTo>
                    <a:pt x="45" y="74"/>
                  </a:lnTo>
                  <a:lnTo>
                    <a:pt x="43" y="82"/>
                  </a:lnTo>
                  <a:lnTo>
                    <a:pt x="37" y="96"/>
                  </a:lnTo>
                  <a:lnTo>
                    <a:pt x="30" y="109"/>
                  </a:lnTo>
                  <a:lnTo>
                    <a:pt x="22" y="117"/>
                  </a:lnTo>
                  <a:lnTo>
                    <a:pt x="13" y="120"/>
                  </a:lnTo>
                  <a:lnTo>
                    <a:pt x="4" y="122"/>
                  </a:lnTo>
                  <a:lnTo>
                    <a:pt x="0" y="128"/>
                  </a:lnTo>
                  <a:lnTo>
                    <a:pt x="0" y="135"/>
                  </a:lnTo>
                  <a:lnTo>
                    <a:pt x="0" y="143"/>
                  </a:lnTo>
                  <a:lnTo>
                    <a:pt x="2" y="150"/>
                  </a:lnTo>
                  <a:lnTo>
                    <a:pt x="8" y="165"/>
                  </a:lnTo>
                  <a:lnTo>
                    <a:pt x="17" y="178"/>
                  </a:lnTo>
                  <a:lnTo>
                    <a:pt x="17" y="181"/>
                  </a:lnTo>
                  <a:lnTo>
                    <a:pt x="15" y="185"/>
                  </a:lnTo>
                  <a:lnTo>
                    <a:pt x="13" y="189"/>
                  </a:lnTo>
                  <a:lnTo>
                    <a:pt x="11" y="191"/>
                  </a:lnTo>
                  <a:lnTo>
                    <a:pt x="9" y="192"/>
                  </a:lnTo>
                  <a:lnTo>
                    <a:pt x="8" y="196"/>
                  </a:lnTo>
                  <a:lnTo>
                    <a:pt x="8" y="200"/>
                  </a:lnTo>
                  <a:lnTo>
                    <a:pt x="9" y="205"/>
                  </a:lnTo>
                  <a:lnTo>
                    <a:pt x="13" y="209"/>
                  </a:lnTo>
                  <a:lnTo>
                    <a:pt x="19" y="213"/>
                  </a:lnTo>
                  <a:lnTo>
                    <a:pt x="22" y="218"/>
                  </a:lnTo>
                  <a:lnTo>
                    <a:pt x="26" y="228"/>
                  </a:lnTo>
                  <a:lnTo>
                    <a:pt x="28" y="235"/>
                  </a:lnTo>
                  <a:lnTo>
                    <a:pt x="30" y="242"/>
                  </a:lnTo>
                  <a:lnTo>
                    <a:pt x="28" y="250"/>
                  </a:lnTo>
                  <a:lnTo>
                    <a:pt x="26" y="253"/>
                  </a:lnTo>
                  <a:lnTo>
                    <a:pt x="34" y="259"/>
                  </a:lnTo>
                  <a:lnTo>
                    <a:pt x="39" y="263"/>
                  </a:lnTo>
                  <a:lnTo>
                    <a:pt x="45" y="268"/>
                  </a:lnTo>
                  <a:lnTo>
                    <a:pt x="50" y="274"/>
                  </a:lnTo>
                  <a:lnTo>
                    <a:pt x="50" y="276"/>
                  </a:lnTo>
                  <a:lnTo>
                    <a:pt x="59" y="272"/>
                  </a:lnTo>
                  <a:lnTo>
                    <a:pt x="69" y="268"/>
                  </a:lnTo>
                  <a:lnTo>
                    <a:pt x="76" y="264"/>
                  </a:lnTo>
                  <a:lnTo>
                    <a:pt x="82" y="259"/>
                  </a:lnTo>
                  <a:lnTo>
                    <a:pt x="85" y="253"/>
                  </a:lnTo>
                  <a:lnTo>
                    <a:pt x="89" y="248"/>
                  </a:lnTo>
                  <a:lnTo>
                    <a:pt x="89" y="244"/>
                  </a:lnTo>
                  <a:lnTo>
                    <a:pt x="89" y="240"/>
                  </a:lnTo>
                  <a:lnTo>
                    <a:pt x="87" y="233"/>
                  </a:lnTo>
                  <a:lnTo>
                    <a:pt x="85" y="226"/>
                  </a:lnTo>
                  <a:lnTo>
                    <a:pt x="85" y="220"/>
                  </a:lnTo>
                  <a:lnTo>
                    <a:pt x="89" y="213"/>
                  </a:lnTo>
                  <a:lnTo>
                    <a:pt x="96" y="207"/>
                  </a:lnTo>
                  <a:lnTo>
                    <a:pt x="107" y="200"/>
                  </a:lnTo>
                  <a:lnTo>
                    <a:pt x="109" y="194"/>
                  </a:lnTo>
                  <a:lnTo>
                    <a:pt x="111" y="189"/>
                  </a:lnTo>
                  <a:lnTo>
                    <a:pt x="115" y="185"/>
                  </a:lnTo>
                  <a:lnTo>
                    <a:pt x="120" y="179"/>
                  </a:lnTo>
                  <a:lnTo>
                    <a:pt x="124" y="176"/>
                  </a:lnTo>
                  <a:lnTo>
                    <a:pt x="126" y="170"/>
                  </a:lnTo>
                  <a:lnTo>
                    <a:pt x="126" y="165"/>
                  </a:lnTo>
                  <a:lnTo>
                    <a:pt x="128" y="161"/>
                  </a:lnTo>
                  <a:lnTo>
                    <a:pt x="137" y="159"/>
                  </a:lnTo>
                  <a:lnTo>
                    <a:pt x="144" y="159"/>
                  </a:lnTo>
                  <a:lnTo>
                    <a:pt x="152" y="150"/>
                  </a:lnTo>
                  <a:lnTo>
                    <a:pt x="165" y="137"/>
                  </a:lnTo>
                  <a:lnTo>
                    <a:pt x="167" y="107"/>
                  </a:lnTo>
                  <a:lnTo>
                    <a:pt x="170" y="83"/>
                  </a:lnTo>
                  <a:lnTo>
                    <a:pt x="172" y="82"/>
                  </a:lnTo>
                  <a:lnTo>
                    <a:pt x="176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92" y="82"/>
                  </a:lnTo>
                  <a:lnTo>
                    <a:pt x="200" y="82"/>
                  </a:lnTo>
                  <a:lnTo>
                    <a:pt x="202" y="69"/>
                  </a:lnTo>
                  <a:lnTo>
                    <a:pt x="202" y="58"/>
                  </a:lnTo>
                  <a:lnTo>
                    <a:pt x="207" y="50"/>
                  </a:lnTo>
                  <a:lnTo>
                    <a:pt x="211" y="39"/>
                  </a:lnTo>
                  <a:lnTo>
                    <a:pt x="209" y="26"/>
                  </a:lnTo>
                  <a:lnTo>
                    <a:pt x="200" y="4"/>
                  </a:lnTo>
                  <a:lnTo>
                    <a:pt x="200" y="2"/>
                  </a:lnTo>
                  <a:lnTo>
                    <a:pt x="198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3" name="Freeform 81"/>
            <p:cNvSpPr>
              <a:spLocks/>
            </p:cNvSpPr>
            <p:nvPr/>
          </p:nvSpPr>
          <p:spPr bwMode="auto">
            <a:xfrm>
              <a:off x="3904190" y="1858423"/>
              <a:ext cx="175322" cy="159795"/>
            </a:xfrm>
            <a:custGeom>
              <a:avLst/>
              <a:gdLst>
                <a:gd name="T0" fmla="*/ 155 w 336"/>
                <a:gd name="T1" fmla="*/ 6 h 314"/>
                <a:gd name="T2" fmla="*/ 120 w 336"/>
                <a:gd name="T3" fmla="*/ 8 h 314"/>
                <a:gd name="T4" fmla="*/ 140 w 336"/>
                <a:gd name="T5" fmla="*/ 17 h 314"/>
                <a:gd name="T6" fmla="*/ 129 w 336"/>
                <a:gd name="T7" fmla="*/ 24 h 314"/>
                <a:gd name="T8" fmla="*/ 118 w 336"/>
                <a:gd name="T9" fmla="*/ 34 h 314"/>
                <a:gd name="T10" fmla="*/ 118 w 336"/>
                <a:gd name="T11" fmla="*/ 48 h 314"/>
                <a:gd name="T12" fmla="*/ 122 w 336"/>
                <a:gd name="T13" fmla="*/ 61 h 314"/>
                <a:gd name="T14" fmla="*/ 129 w 336"/>
                <a:gd name="T15" fmla="*/ 70 h 314"/>
                <a:gd name="T16" fmla="*/ 131 w 336"/>
                <a:gd name="T17" fmla="*/ 93 h 314"/>
                <a:gd name="T18" fmla="*/ 116 w 336"/>
                <a:gd name="T19" fmla="*/ 104 h 314"/>
                <a:gd name="T20" fmla="*/ 109 w 336"/>
                <a:gd name="T21" fmla="*/ 93 h 314"/>
                <a:gd name="T22" fmla="*/ 105 w 336"/>
                <a:gd name="T23" fmla="*/ 70 h 314"/>
                <a:gd name="T24" fmla="*/ 85 w 336"/>
                <a:gd name="T25" fmla="*/ 65 h 314"/>
                <a:gd name="T26" fmla="*/ 76 w 336"/>
                <a:gd name="T27" fmla="*/ 50 h 314"/>
                <a:gd name="T28" fmla="*/ 66 w 336"/>
                <a:gd name="T29" fmla="*/ 43 h 314"/>
                <a:gd name="T30" fmla="*/ 52 w 336"/>
                <a:gd name="T31" fmla="*/ 39 h 314"/>
                <a:gd name="T32" fmla="*/ 24 w 336"/>
                <a:gd name="T33" fmla="*/ 56 h 314"/>
                <a:gd name="T34" fmla="*/ 2 w 336"/>
                <a:gd name="T35" fmla="*/ 61 h 314"/>
                <a:gd name="T36" fmla="*/ 2 w 336"/>
                <a:gd name="T37" fmla="*/ 65 h 314"/>
                <a:gd name="T38" fmla="*/ 9 w 336"/>
                <a:gd name="T39" fmla="*/ 111 h 314"/>
                <a:gd name="T40" fmla="*/ 2 w 336"/>
                <a:gd name="T41" fmla="*/ 143 h 314"/>
                <a:gd name="T42" fmla="*/ 5 w 336"/>
                <a:gd name="T43" fmla="*/ 148 h 314"/>
                <a:gd name="T44" fmla="*/ 18 w 336"/>
                <a:gd name="T45" fmla="*/ 152 h 314"/>
                <a:gd name="T46" fmla="*/ 41 w 336"/>
                <a:gd name="T47" fmla="*/ 157 h 314"/>
                <a:gd name="T48" fmla="*/ 61 w 336"/>
                <a:gd name="T49" fmla="*/ 165 h 314"/>
                <a:gd name="T50" fmla="*/ 85 w 336"/>
                <a:gd name="T51" fmla="*/ 170 h 314"/>
                <a:gd name="T52" fmla="*/ 118 w 336"/>
                <a:gd name="T53" fmla="*/ 172 h 314"/>
                <a:gd name="T54" fmla="*/ 120 w 336"/>
                <a:gd name="T55" fmla="*/ 207 h 314"/>
                <a:gd name="T56" fmla="*/ 138 w 336"/>
                <a:gd name="T57" fmla="*/ 220 h 314"/>
                <a:gd name="T58" fmla="*/ 151 w 336"/>
                <a:gd name="T59" fmla="*/ 252 h 314"/>
                <a:gd name="T60" fmla="*/ 155 w 336"/>
                <a:gd name="T61" fmla="*/ 283 h 314"/>
                <a:gd name="T62" fmla="*/ 159 w 336"/>
                <a:gd name="T63" fmla="*/ 296 h 314"/>
                <a:gd name="T64" fmla="*/ 183 w 336"/>
                <a:gd name="T65" fmla="*/ 298 h 314"/>
                <a:gd name="T66" fmla="*/ 190 w 336"/>
                <a:gd name="T67" fmla="*/ 311 h 314"/>
                <a:gd name="T68" fmla="*/ 199 w 336"/>
                <a:gd name="T69" fmla="*/ 314 h 314"/>
                <a:gd name="T70" fmla="*/ 216 w 336"/>
                <a:gd name="T71" fmla="*/ 301 h 314"/>
                <a:gd name="T72" fmla="*/ 223 w 336"/>
                <a:gd name="T73" fmla="*/ 281 h 314"/>
                <a:gd name="T74" fmla="*/ 242 w 336"/>
                <a:gd name="T75" fmla="*/ 253 h 314"/>
                <a:gd name="T76" fmla="*/ 273 w 336"/>
                <a:gd name="T77" fmla="*/ 244 h 314"/>
                <a:gd name="T78" fmla="*/ 284 w 336"/>
                <a:gd name="T79" fmla="*/ 242 h 314"/>
                <a:gd name="T80" fmla="*/ 290 w 336"/>
                <a:gd name="T81" fmla="*/ 231 h 314"/>
                <a:gd name="T82" fmla="*/ 314 w 336"/>
                <a:gd name="T83" fmla="*/ 239 h 314"/>
                <a:gd name="T84" fmla="*/ 334 w 336"/>
                <a:gd name="T85" fmla="*/ 237 h 314"/>
                <a:gd name="T86" fmla="*/ 332 w 336"/>
                <a:gd name="T87" fmla="*/ 233 h 314"/>
                <a:gd name="T88" fmla="*/ 327 w 336"/>
                <a:gd name="T89" fmla="*/ 209 h 314"/>
                <a:gd name="T90" fmla="*/ 312 w 336"/>
                <a:gd name="T91" fmla="*/ 194 h 314"/>
                <a:gd name="T92" fmla="*/ 297 w 336"/>
                <a:gd name="T93" fmla="*/ 181 h 314"/>
                <a:gd name="T94" fmla="*/ 290 w 336"/>
                <a:gd name="T95" fmla="*/ 155 h 314"/>
                <a:gd name="T96" fmla="*/ 281 w 336"/>
                <a:gd name="T97" fmla="*/ 152 h 314"/>
                <a:gd name="T98" fmla="*/ 284 w 336"/>
                <a:gd name="T99" fmla="*/ 167 h 314"/>
                <a:gd name="T100" fmla="*/ 279 w 336"/>
                <a:gd name="T101" fmla="*/ 174 h 314"/>
                <a:gd name="T102" fmla="*/ 249 w 336"/>
                <a:gd name="T103" fmla="*/ 157 h 314"/>
                <a:gd name="T104" fmla="*/ 244 w 336"/>
                <a:gd name="T105" fmla="*/ 165 h 314"/>
                <a:gd name="T106" fmla="*/ 236 w 336"/>
                <a:gd name="T107" fmla="*/ 167 h 314"/>
                <a:gd name="T108" fmla="*/ 218 w 336"/>
                <a:gd name="T109" fmla="*/ 165 h 314"/>
                <a:gd name="T110" fmla="*/ 196 w 336"/>
                <a:gd name="T111" fmla="*/ 172 h 314"/>
                <a:gd name="T112" fmla="*/ 179 w 336"/>
                <a:gd name="T113" fmla="*/ 148 h 314"/>
                <a:gd name="T114" fmla="*/ 153 w 336"/>
                <a:gd name="T115" fmla="*/ 133 h 314"/>
                <a:gd name="T116" fmla="*/ 161 w 336"/>
                <a:gd name="T117" fmla="*/ 120 h 314"/>
                <a:gd name="T118" fmla="*/ 177 w 336"/>
                <a:gd name="T119" fmla="*/ 100 h 314"/>
                <a:gd name="T120" fmla="*/ 198 w 336"/>
                <a:gd name="T121" fmla="*/ 80 h 314"/>
                <a:gd name="T122" fmla="*/ 205 w 336"/>
                <a:gd name="T123" fmla="*/ 34 h 31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6"/>
                <a:gd name="T187" fmla="*/ 0 h 314"/>
                <a:gd name="T188" fmla="*/ 336 w 336"/>
                <a:gd name="T189" fmla="*/ 314 h 31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6" h="314">
                  <a:moveTo>
                    <a:pt x="194" y="13"/>
                  </a:moveTo>
                  <a:lnTo>
                    <a:pt x="174" y="10"/>
                  </a:lnTo>
                  <a:lnTo>
                    <a:pt x="155" y="6"/>
                  </a:lnTo>
                  <a:lnTo>
                    <a:pt x="135" y="2"/>
                  </a:lnTo>
                  <a:lnTo>
                    <a:pt x="116" y="0"/>
                  </a:lnTo>
                  <a:lnTo>
                    <a:pt x="120" y="8"/>
                  </a:lnTo>
                  <a:lnTo>
                    <a:pt x="126" y="11"/>
                  </a:lnTo>
                  <a:lnTo>
                    <a:pt x="131" y="15"/>
                  </a:lnTo>
                  <a:lnTo>
                    <a:pt x="140" y="17"/>
                  </a:lnTo>
                  <a:lnTo>
                    <a:pt x="140" y="21"/>
                  </a:lnTo>
                  <a:lnTo>
                    <a:pt x="137" y="22"/>
                  </a:lnTo>
                  <a:lnTo>
                    <a:pt x="129" y="24"/>
                  </a:lnTo>
                  <a:lnTo>
                    <a:pt x="122" y="26"/>
                  </a:lnTo>
                  <a:lnTo>
                    <a:pt x="118" y="30"/>
                  </a:lnTo>
                  <a:lnTo>
                    <a:pt x="118" y="34"/>
                  </a:lnTo>
                  <a:lnTo>
                    <a:pt x="118" y="37"/>
                  </a:lnTo>
                  <a:lnTo>
                    <a:pt x="120" y="43"/>
                  </a:lnTo>
                  <a:lnTo>
                    <a:pt x="118" y="48"/>
                  </a:lnTo>
                  <a:lnTo>
                    <a:pt x="118" y="54"/>
                  </a:lnTo>
                  <a:lnTo>
                    <a:pt x="118" y="58"/>
                  </a:lnTo>
                  <a:lnTo>
                    <a:pt x="122" y="61"/>
                  </a:lnTo>
                  <a:lnTo>
                    <a:pt x="126" y="63"/>
                  </a:lnTo>
                  <a:lnTo>
                    <a:pt x="127" y="67"/>
                  </a:lnTo>
                  <a:lnTo>
                    <a:pt x="129" y="70"/>
                  </a:lnTo>
                  <a:lnTo>
                    <a:pt x="129" y="76"/>
                  </a:lnTo>
                  <a:lnTo>
                    <a:pt x="131" y="85"/>
                  </a:lnTo>
                  <a:lnTo>
                    <a:pt x="131" y="93"/>
                  </a:lnTo>
                  <a:lnTo>
                    <a:pt x="129" y="100"/>
                  </a:lnTo>
                  <a:lnTo>
                    <a:pt x="126" y="104"/>
                  </a:lnTo>
                  <a:lnTo>
                    <a:pt x="116" y="104"/>
                  </a:lnTo>
                  <a:lnTo>
                    <a:pt x="113" y="100"/>
                  </a:lnTo>
                  <a:lnTo>
                    <a:pt x="109" y="98"/>
                  </a:lnTo>
                  <a:lnTo>
                    <a:pt x="109" y="93"/>
                  </a:lnTo>
                  <a:lnTo>
                    <a:pt x="109" y="83"/>
                  </a:lnTo>
                  <a:lnTo>
                    <a:pt x="109" y="76"/>
                  </a:lnTo>
                  <a:lnTo>
                    <a:pt x="105" y="70"/>
                  </a:lnTo>
                  <a:lnTo>
                    <a:pt x="100" y="67"/>
                  </a:lnTo>
                  <a:lnTo>
                    <a:pt x="94" y="65"/>
                  </a:lnTo>
                  <a:lnTo>
                    <a:pt x="85" y="65"/>
                  </a:lnTo>
                  <a:lnTo>
                    <a:pt x="83" y="58"/>
                  </a:lnTo>
                  <a:lnTo>
                    <a:pt x="83" y="50"/>
                  </a:lnTo>
                  <a:lnTo>
                    <a:pt x="76" y="50"/>
                  </a:lnTo>
                  <a:lnTo>
                    <a:pt x="65" y="50"/>
                  </a:lnTo>
                  <a:lnTo>
                    <a:pt x="66" y="46"/>
                  </a:lnTo>
                  <a:lnTo>
                    <a:pt x="66" y="43"/>
                  </a:lnTo>
                  <a:lnTo>
                    <a:pt x="65" y="41"/>
                  </a:lnTo>
                  <a:lnTo>
                    <a:pt x="63" y="39"/>
                  </a:lnTo>
                  <a:lnTo>
                    <a:pt x="52" y="39"/>
                  </a:lnTo>
                  <a:lnTo>
                    <a:pt x="39" y="45"/>
                  </a:lnTo>
                  <a:lnTo>
                    <a:pt x="31" y="52"/>
                  </a:lnTo>
                  <a:lnTo>
                    <a:pt x="24" y="56"/>
                  </a:lnTo>
                  <a:lnTo>
                    <a:pt x="15" y="58"/>
                  </a:lnTo>
                  <a:lnTo>
                    <a:pt x="4" y="59"/>
                  </a:lnTo>
                  <a:lnTo>
                    <a:pt x="2" y="61"/>
                  </a:lnTo>
                  <a:lnTo>
                    <a:pt x="0" y="61"/>
                  </a:lnTo>
                  <a:lnTo>
                    <a:pt x="2" y="63"/>
                  </a:lnTo>
                  <a:lnTo>
                    <a:pt x="2" y="65"/>
                  </a:lnTo>
                  <a:lnTo>
                    <a:pt x="11" y="87"/>
                  </a:lnTo>
                  <a:lnTo>
                    <a:pt x="13" y="100"/>
                  </a:lnTo>
                  <a:lnTo>
                    <a:pt x="9" y="111"/>
                  </a:lnTo>
                  <a:lnTo>
                    <a:pt x="4" y="119"/>
                  </a:lnTo>
                  <a:lnTo>
                    <a:pt x="4" y="130"/>
                  </a:lnTo>
                  <a:lnTo>
                    <a:pt x="2" y="143"/>
                  </a:lnTo>
                  <a:lnTo>
                    <a:pt x="0" y="143"/>
                  </a:lnTo>
                  <a:lnTo>
                    <a:pt x="5" y="148"/>
                  </a:lnTo>
                  <a:lnTo>
                    <a:pt x="9" y="152"/>
                  </a:lnTo>
                  <a:lnTo>
                    <a:pt x="15" y="154"/>
                  </a:lnTo>
                  <a:lnTo>
                    <a:pt x="18" y="152"/>
                  </a:lnTo>
                  <a:lnTo>
                    <a:pt x="26" y="152"/>
                  </a:lnTo>
                  <a:lnTo>
                    <a:pt x="33" y="152"/>
                  </a:lnTo>
                  <a:lnTo>
                    <a:pt x="41" y="157"/>
                  </a:lnTo>
                  <a:lnTo>
                    <a:pt x="48" y="161"/>
                  </a:lnTo>
                  <a:lnTo>
                    <a:pt x="53" y="165"/>
                  </a:lnTo>
                  <a:lnTo>
                    <a:pt x="61" y="165"/>
                  </a:lnTo>
                  <a:lnTo>
                    <a:pt x="72" y="163"/>
                  </a:lnTo>
                  <a:lnTo>
                    <a:pt x="83" y="159"/>
                  </a:lnTo>
                  <a:lnTo>
                    <a:pt x="85" y="170"/>
                  </a:lnTo>
                  <a:lnTo>
                    <a:pt x="85" y="178"/>
                  </a:lnTo>
                  <a:lnTo>
                    <a:pt x="98" y="176"/>
                  </a:lnTo>
                  <a:lnTo>
                    <a:pt x="118" y="172"/>
                  </a:lnTo>
                  <a:lnTo>
                    <a:pt x="122" y="189"/>
                  </a:lnTo>
                  <a:lnTo>
                    <a:pt x="122" y="200"/>
                  </a:lnTo>
                  <a:lnTo>
                    <a:pt x="120" y="207"/>
                  </a:lnTo>
                  <a:lnTo>
                    <a:pt x="120" y="216"/>
                  </a:lnTo>
                  <a:lnTo>
                    <a:pt x="127" y="220"/>
                  </a:lnTo>
                  <a:lnTo>
                    <a:pt x="138" y="220"/>
                  </a:lnTo>
                  <a:lnTo>
                    <a:pt x="140" y="231"/>
                  </a:lnTo>
                  <a:lnTo>
                    <a:pt x="142" y="242"/>
                  </a:lnTo>
                  <a:lnTo>
                    <a:pt x="151" y="252"/>
                  </a:lnTo>
                  <a:lnTo>
                    <a:pt x="157" y="263"/>
                  </a:lnTo>
                  <a:lnTo>
                    <a:pt x="155" y="272"/>
                  </a:lnTo>
                  <a:lnTo>
                    <a:pt x="155" y="283"/>
                  </a:lnTo>
                  <a:lnTo>
                    <a:pt x="155" y="287"/>
                  </a:lnTo>
                  <a:lnTo>
                    <a:pt x="157" y="292"/>
                  </a:lnTo>
                  <a:lnTo>
                    <a:pt x="159" y="296"/>
                  </a:lnTo>
                  <a:lnTo>
                    <a:pt x="162" y="301"/>
                  </a:lnTo>
                  <a:lnTo>
                    <a:pt x="172" y="298"/>
                  </a:lnTo>
                  <a:lnTo>
                    <a:pt x="183" y="298"/>
                  </a:lnTo>
                  <a:lnTo>
                    <a:pt x="186" y="301"/>
                  </a:lnTo>
                  <a:lnTo>
                    <a:pt x="188" y="307"/>
                  </a:lnTo>
                  <a:lnTo>
                    <a:pt x="190" y="311"/>
                  </a:lnTo>
                  <a:lnTo>
                    <a:pt x="194" y="313"/>
                  </a:lnTo>
                  <a:lnTo>
                    <a:pt x="196" y="314"/>
                  </a:lnTo>
                  <a:lnTo>
                    <a:pt x="199" y="314"/>
                  </a:lnTo>
                  <a:lnTo>
                    <a:pt x="203" y="307"/>
                  </a:lnTo>
                  <a:lnTo>
                    <a:pt x="207" y="298"/>
                  </a:lnTo>
                  <a:lnTo>
                    <a:pt x="216" y="301"/>
                  </a:lnTo>
                  <a:lnTo>
                    <a:pt x="225" y="305"/>
                  </a:lnTo>
                  <a:lnTo>
                    <a:pt x="225" y="292"/>
                  </a:lnTo>
                  <a:lnTo>
                    <a:pt x="223" y="281"/>
                  </a:lnTo>
                  <a:lnTo>
                    <a:pt x="229" y="272"/>
                  </a:lnTo>
                  <a:lnTo>
                    <a:pt x="236" y="263"/>
                  </a:lnTo>
                  <a:lnTo>
                    <a:pt x="242" y="253"/>
                  </a:lnTo>
                  <a:lnTo>
                    <a:pt x="251" y="248"/>
                  </a:lnTo>
                  <a:lnTo>
                    <a:pt x="260" y="246"/>
                  </a:lnTo>
                  <a:lnTo>
                    <a:pt x="273" y="244"/>
                  </a:lnTo>
                  <a:lnTo>
                    <a:pt x="279" y="244"/>
                  </a:lnTo>
                  <a:lnTo>
                    <a:pt x="281" y="244"/>
                  </a:lnTo>
                  <a:lnTo>
                    <a:pt x="284" y="242"/>
                  </a:lnTo>
                  <a:lnTo>
                    <a:pt x="284" y="239"/>
                  </a:lnTo>
                  <a:lnTo>
                    <a:pt x="286" y="235"/>
                  </a:lnTo>
                  <a:lnTo>
                    <a:pt x="290" y="231"/>
                  </a:lnTo>
                  <a:lnTo>
                    <a:pt x="299" y="235"/>
                  </a:lnTo>
                  <a:lnTo>
                    <a:pt x="307" y="237"/>
                  </a:lnTo>
                  <a:lnTo>
                    <a:pt x="314" y="239"/>
                  </a:lnTo>
                  <a:lnTo>
                    <a:pt x="321" y="239"/>
                  </a:lnTo>
                  <a:lnTo>
                    <a:pt x="329" y="239"/>
                  </a:lnTo>
                  <a:lnTo>
                    <a:pt x="334" y="237"/>
                  </a:lnTo>
                  <a:lnTo>
                    <a:pt x="334" y="235"/>
                  </a:lnTo>
                  <a:lnTo>
                    <a:pt x="336" y="231"/>
                  </a:lnTo>
                  <a:lnTo>
                    <a:pt x="332" y="233"/>
                  </a:lnTo>
                  <a:lnTo>
                    <a:pt x="329" y="235"/>
                  </a:lnTo>
                  <a:lnTo>
                    <a:pt x="329" y="220"/>
                  </a:lnTo>
                  <a:lnTo>
                    <a:pt x="327" y="209"/>
                  </a:lnTo>
                  <a:lnTo>
                    <a:pt x="325" y="202"/>
                  </a:lnTo>
                  <a:lnTo>
                    <a:pt x="321" y="196"/>
                  </a:lnTo>
                  <a:lnTo>
                    <a:pt x="312" y="194"/>
                  </a:lnTo>
                  <a:lnTo>
                    <a:pt x="305" y="192"/>
                  </a:lnTo>
                  <a:lnTo>
                    <a:pt x="299" y="189"/>
                  </a:lnTo>
                  <a:lnTo>
                    <a:pt x="297" y="181"/>
                  </a:lnTo>
                  <a:lnTo>
                    <a:pt x="295" y="170"/>
                  </a:lnTo>
                  <a:lnTo>
                    <a:pt x="294" y="161"/>
                  </a:lnTo>
                  <a:lnTo>
                    <a:pt x="290" y="155"/>
                  </a:lnTo>
                  <a:lnTo>
                    <a:pt x="288" y="154"/>
                  </a:lnTo>
                  <a:lnTo>
                    <a:pt x="284" y="152"/>
                  </a:lnTo>
                  <a:lnTo>
                    <a:pt x="281" y="152"/>
                  </a:lnTo>
                  <a:lnTo>
                    <a:pt x="281" y="157"/>
                  </a:lnTo>
                  <a:lnTo>
                    <a:pt x="283" y="163"/>
                  </a:lnTo>
                  <a:lnTo>
                    <a:pt x="284" y="167"/>
                  </a:lnTo>
                  <a:lnTo>
                    <a:pt x="284" y="170"/>
                  </a:lnTo>
                  <a:lnTo>
                    <a:pt x="283" y="172"/>
                  </a:lnTo>
                  <a:lnTo>
                    <a:pt x="279" y="174"/>
                  </a:lnTo>
                  <a:lnTo>
                    <a:pt x="268" y="168"/>
                  </a:lnTo>
                  <a:lnTo>
                    <a:pt x="255" y="155"/>
                  </a:lnTo>
                  <a:lnTo>
                    <a:pt x="249" y="157"/>
                  </a:lnTo>
                  <a:lnTo>
                    <a:pt x="247" y="159"/>
                  </a:lnTo>
                  <a:lnTo>
                    <a:pt x="246" y="163"/>
                  </a:lnTo>
                  <a:lnTo>
                    <a:pt x="244" y="165"/>
                  </a:lnTo>
                  <a:lnTo>
                    <a:pt x="240" y="165"/>
                  </a:lnTo>
                  <a:lnTo>
                    <a:pt x="236" y="165"/>
                  </a:lnTo>
                  <a:lnTo>
                    <a:pt x="236" y="167"/>
                  </a:lnTo>
                  <a:lnTo>
                    <a:pt x="235" y="167"/>
                  </a:lnTo>
                  <a:lnTo>
                    <a:pt x="225" y="167"/>
                  </a:lnTo>
                  <a:lnTo>
                    <a:pt x="218" y="165"/>
                  </a:lnTo>
                  <a:lnTo>
                    <a:pt x="211" y="167"/>
                  </a:lnTo>
                  <a:lnTo>
                    <a:pt x="203" y="170"/>
                  </a:lnTo>
                  <a:lnTo>
                    <a:pt x="196" y="172"/>
                  </a:lnTo>
                  <a:lnTo>
                    <a:pt x="188" y="172"/>
                  </a:lnTo>
                  <a:lnTo>
                    <a:pt x="185" y="161"/>
                  </a:lnTo>
                  <a:lnTo>
                    <a:pt x="179" y="148"/>
                  </a:lnTo>
                  <a:lnTo>
                    <a:pt x="164" y="144"/>
                  </a:lnTo>
                  <a:lnTo>
                    <a:pt x="153" y="139"/>
                  </a:lnTo>
                  <a:lnTo>
                    <a:pt x="153" y="133"/>
                  </a:lnTo>
                  <a:lnTo>
                    <a:pt x="153" y="128"/>
                  </a:lnTo>
                  <a:lnTo>
                    <a:pt x="157" y="124"/>
                  </a:lnTo>
                  <a:lnTo>
                    <a:pt x="161" y="120"/>
                  </a:lnTo>
                  <a:lnTo>
                    <a:pt x="168" y="115"/>
                  </a:lnTo>
                  <a:lnTo>
                    <a:pt x="175" y="111"/>
                  </a:lnTo>
                  <a:lnTo>
                    <a:pt x="177" y="100"/>
                  </a:lnTo>
                  <a:lnTo>
                    <a:pt x="181" y="91"/>
                  </a:lnTo>
                  <a:lnTo>
                    <a:pt x="190" y="85"/>
                  </a:lnTo>
                  <a:lnTo>
                    <a:pt x="198" y="80"/>
                  </a:lnTo>
                  <a:lnTo>
                    <a:pt x="201" y="67"/>
                  </a:lnTo>
                  <a:lnTo>
                    <a:pt x="205" y="54"/>
                  </a:lnTo>
                  <a:lnTo>
                    <a:pt x="205" y="34"/>
                  </a:lnTo>
                  <a:lnTo>
                    <a:pt x="205" y="15"/>
                  </a:lnTo>
                  <a:lnTo>
                    <a:pt x="194" y="1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4" name="Freeform 82"/>
            <p:cNvSpPr>
              <a:spLocks/>
            </p:cNvSpPr>
            <p:nvPr/>
          </p:nvSpPr>
          <p:spPr bwMode="auto">
            <a:xfrm>
              <a:off x="3982981" y="1975980"/>
              <a:ext cx="238459" cy="223917"/>
            </a:xfrm>
            <a:custGeom>
              <a:avLst/>
              <a:gdLst>
                <a:gd name="T0" fmla="*/ 0 w 457"/>
                <a:gd name="T1" fmla="*/ 89 h 440"/>
                <a:gd name="T2" fmla="*/ 8 w 457"/>
                <a:gd name="T3" fmla="*/ 104 h 440"/>
                <a:gd name="T4" fmla="*/ 17 w 457"/>
                <a:gd name="T5" fmla="*/ 152 h 440"/>
                <a:gd name="T6" fmla="*/ 43 w 457"/>
                <a:gd name="T7" fmla="*/ 157 h 440"/>
                <a:gd name="T8" fmla="*/ 50 w 457"/>
                <a:gd name="T9" fmla="*/ 194 h 440"/>
                <a:gd name="T10" fmla="*/ 87 w 457"/>
                <a:gd name="T11" fmla="*/ 213 h 440"/>
                <a:gd name="T12" fmla="*/ 122 w 457"/>
                <a:gd name="T13" fmla="*/ 220 h 440"/>
                <a:gd name="T14" fmla="*/ 128 w 457"/>
                <a:gd name="T15" fmla="*/ 248 h 440"/>
                <a:gd name="T16" fmla="*/ 128 w 457"/>
                <a:gd name="T17" fmla="*/ 281 h 440"/>
                <a:gd name="T18" fmla="*/ 137 w 457"/>
                <a:gd name="T19" fmla="*/ 296 h 440"/>
                <a:gd name="T20" fmla="*/ 170 w 457"/>
                <a:gd name="T21" fmla="*/ 281 h 440"/>
                <a:gd name="T22" fmla="*/ 187 w 457"/>
                <a:gd name="T23" fmla="*/ 289 h 440"/>
                <a:gd name="T24" fmla="*/ 204 w 457"/>
                <a:gd name="T25" fmla="*/ 298 h 440"/>
                <a:gd name="T26" fmla="*/ 220 w 457"/>
                <a:gd name="T27" fmla="*/ 296 h 440"/>
                <a:gd name="T28" fmla="*/ 226 w 457"/>
                <a:gd name="T29" fmla="*/ 301 h 440"/>
                <a:gd name="T30" fmla="*/ 244 w 457"/>
                <a:gd name="T31" fmla="*/ 324 h 440"/>
                <a:gd name="T32" fmla="*/ 270 w 457"/>
                <a:gd name="T33" fmla="*/ 377 h 440"/>
                <a:gd name="T34" fmla="*/ 290 w 457"/>
                <a:gd name="T35" fmla="*/ 396 h 440"/>
                <a:gd name="T36" fmla="*/ 314 w 457"/>
                <a:gd name="T37" fmla="*/ 420 h 440"/>
                <a:gd name="T38" fmla="*/ 331 w 457"/>
                <a:gd name="T39" fmla="*/ 429 h 440"/>
                <a:gd name="T40" fmla="*/ 353 w 457"/>
                <a:gd name="T41" fmla="*/ 422 h 440"/>
                <a:gd name="T42" fmla="*/ 364 w 457"/>
                <a:gd name="T43" fmla="*/ 410 h 440"/>
                <a:gd name="T44" fmla="*/ 374 w 457"/>
                <a:gd name="T45" fmla="*/ 429 h 440"/>
                <a:gd name="T46" fmla="*/ 385 w 457"/>
                <a:gd name="T47" fmla="*/ 438 h 440"/>
                <a:gd name="T48" fmla="*/ 390 w 457"/>
                <a:gd name="T49" fmla="*/ 425 h 440"/>
                <a:gd name="T50" fmla="*/ 390 w 457"/>
                <a:gd name="T51" fmla="*/ 414 h 440"/>
                <a:gd name="T52" fmla="*/ 386 w 457"/>
                <a:gd name="T53" fmla="*/ 399 h 440"/>
                <a:gd name="T54" fmla="*/ 381 w 457"/>
                <a:gd name="T55" fmla="*/ 388 h 440"/>
                <a:gd name="T56" fmla="*/ 388 w 457"/>
                <a:gd name="T57" fmla="*/ 379 h 440"/>
                <a:gd name="T58" fmla="*/ 405 w 457"/>
                <a:gd name="T59" fmla="*/ 383 h 440"/>
                <a:gd name="T60" fmla="*/ 440 w 457"/>
                <a:gd name="T61" fmla="*/ 374 h 440"/>
                <a:gd name="T62" fmla="*/ 455 w 457"/>
                <a:gd name="T63" fmla="*/ 362 h 440"/>
                <a:gd name="T64" fmla="*/ 433 w 457"/>
                <a:gd name="T65" fmla="*/ 338 h 440"/>
                <a:gd name="T66" fmla="*/ 425 w 457"/>
                <a:gd name="T67" fmla="*/ 325 h 440"/>
                <a:gd name="T68" fmla="*/ 436 w 457"/>
                <a:gd name="T69" fmla="*/ 313 h 440"/>
                <a:gd name="T70" fmla="*/ 416 w 457"/>
                <a:gd name="T71" fmla="*/ 301 h 440"/>
                <a:gd name="T72" fmla="*/ 381 w 457"/>
                <a:gd name="T73" fmla="*/ 290 h 440"/>
                <a:gd name="T74" fmla="*/ 362 w 457"/>
                <a:gd name="T75" fmla="*/ 261 h 440"/>
                <a:gd name="T76" fmla="*/ 331 w 457"/>
                <a:gd name="T77" fmla="*/ 233 h 440"/>
                <a:gd name="T78" fmla="*/ 313 w 457"/>
                <a:gd name="T79" fmla="*/ 215 h 440"/>
                <a:gd name="T80" fmla="*/ 279 w 457"/>
                <a:gd name="T81" fmla="*/ 198 h 440"/>
                <a:gd name="T82" fmla="*/ 259 w 457"/>
                <a:gd name="T83" fmla="*/ 172 h 440"/>
                <a:gd name="T84" fmla="*/ 244 w 457"/>
                <a:gd name="T85" fmla="*/ 148 h 440"/>
                <a:gd name="T86" fmla="*/ 224 w 457"/>
                <a:gd name="T87" fmla="*/ 126 h 440"/>
                <a:gd name="T88" fmla="*/ 220 w 457"/>
                <a:gd name="T89" fmla="*/ 104 h 440"/>
                <a:gd name="T90" fmla="*/ 233 w 457"/>
                <a:gd name="T91" fmla="*/ 80 h 440"/>
                <a:gd name="T92" fmla="*/ 242 w 457"/>
                <a:gd name="T93" fmla="*/ 50 h 440"/>
                <a:gd name="T94" fmla="*/ 242 w 457"/>
                <a:gd name="T95" fmla="*/ 45 h 440"/>
                <a:gd name="T96" fmla="*/ 235 w 457"/>
                <a:gd name="T97" fmla="*/ 26 h 440"/>
                <a:gd name="T98" fmla="*/ 220 w 457"/>
                <a:gd name="T99" fmla="*/ 13 h 440"/>
                <a:gd name="T100" fmla="*/ 200 w 457"/>
                <a:gd name="T101" fmla="*/ 24 h 440"/>
                <a:gd name="T102" fmla="*/ 176 w 457"/>
                <a:gd name="T103" fmla="*/ 24 h 440"/>
                <a:gd name="T104" fmla="*/ 167 w 457"/>
                <a:gd name="T105" fmla="*/ 8 h 440"/>
                <a:gd name="T106" fmla="*/ 135 w 457"/>
                <a:gd name="T107" fmla="*/ 4 h 440"/>
                <a:gd name="T108" fmla="*/ 130 w 457"/>
                <a:gd name="T109" fmla="*/ 13 h 440"/>
                <a:gd name="T110" fmla="*/ 109 w 457"/>
                <a:gd name="T111" fmla="*/ 15 h 440"/>
                <a:gd name="T112" fmla="*/ 85 w 457"/>
                <a:gd name="T113" fmla="*/ 32 h 440"/>
                <a:gd name="T114" fmla="*/ 74 w 457"/>
                <a:gd name="T115" fmla="*/ 61 h 440"/>
                <a:gd name="T116" fmla="*/ 56 w 457"/>
                <a:gd name="T117" fmla="*/ 67 h 440"/>
                <a:gd name="T118" fmla="*/ 45 w 457"/>
                <a:gd name="T119" fmla="*/ 83 h 440"/>
                <a:gd name="T120" fmla="*/ 37 w 457"/>
                <a:gd name="T121" fmla="*/ 76 h 440"/>
                <a:gd name="T122" fmla="*/ 21 w 457"/>
                <a:gd name="T123" fmla="*/ 67 h 440"/>
                <a:gd name="T124" fmla="*/ 10 w 457"/>
                <a:gd name="T125" fmla="*/ 69 h 44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7"/>
                <a:gd name="T190" fmla="*/ 0 h 440"/>
                <a:gd name="T191" fmla="*/ 457 w 457"/>
                <a:gd name="T192" fmla="*/ 440 h 44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7" h="440">
                  <a:moveTo>
                    <a:pt x="10" y="69"/>
                  </a:moveTo>
                  <a:lnTo>
                    <a:pt x="4" y="80"/>
                  </a:lnTo>
                  <a:lnTo>
                    <a:pt x="0" y="89"/>
                  </a:lnTo>
                  <a:lnTo>
                    <a:pt x="2" y="94"/>
                  </a:lnTo>
                  <a:lnTo>
                    <a:pt x="4" y="100"/>
                  </a:lnTo>
                  <a:lnTo>
                    <a:pt x="8" y="104"/>
                  </a:lnTo>
                  <a:lnTo>
                    <a:pt x="15" y="111"/>
                  </a:lnTo>
                  <a:lnTo>
                    <a:pt x="17" y="130"/>
                  </a:lnTo>
                  <a:lnTo>
                    <a:pt x="17" y="152"/>
                  </a:lnTo>
                  <a:lnTo>
                    <a:pt x="28" y="152"/>
                  </a:lnTo>
                  <a:lnTo>
                    <a:pt x="37" y="154"/>
                  </a:lnTo>
                  <a:lnTo>
                    <a:pt x="43" y="157"/>
                  </a:lnTo>
                  <a:lnTo>
                    <a:pt x="48" y="165"/>
                  </a:lnTo>
                  <a:lnTo>
                    <a:pt x="50" y="179"/>
                  </a:lnTo>
                  <a:lnTo>
                    <a:pt x="50" y="194"/>
                  </a:lnTo>
                  <a:lnTo>
                    <a:pt x="65" y="198"/>
                  </a:lnTo>
                  <a:lnTo>
                    <a:pt x="78" y="200"/>
                  </a:lnTo>
                  <a:lnTo>
                    <a:pt x="87" y="213"/>
                  </a:lnTo>
                  <a:lnTo>
                    <a:pt x="100" y="224"/>
                  </a:lnTo>
                  <a:lnTo>
                    <a:pt x="113" y="222"/>
                  </a:lnTo>
                  <a:lnTo>
                    <a:pt x="122" y="220"/>
                  </a:lnTo>
                  <a:lnTo>
                    <a:pt x="128" y="228"/>
                  </a:lnTo>
                  <a:lnTo>
                    <a:pt x="128" y="237"/>
                  </a:lnTo>
                  <a:lnTo>
                    <a:pt x="128" y="248"/>
                  </a:lnTo>
                  <a:lnTo>
                    <a:pt x="126" y="259"/>
                  </a:lnTo>
                  <a:lnTo>
                    <a:pt x="126" y="270"/>
                  </a:lnTo>
                  <a:lnTo>
                    <a:pt x="128" y="281"/>
                  </a:lnTo>
                  <a:lnTo>
                    <a:pt x="130" y="287"/>
                  </a:lnTo>
                  <a:lnTo>
                    <a:pt x="133" y="292"/>
                  </a:lnTo>
                  <a:lnTo>
                    <a:pt x="137" y="296"/>
                  </a:lnTo>
                  <a:lnTo>
                    <a:pt x="143" y="301"/>
                  </a:lnTo>
                  <a:lnTo>
                    <a:pt x="156" y="292"/>
                  </a:lnTo>
                  <a:lnTo>
                    <a:pt x="170" y="281"/>
                  </a:lnTo>
                  <a:lnTo>
                    <a:pt x="176" y="283"/>
                  </a:lnTo>
                  <a:lnTo>
                    <a:pt x="181" y="285"/>
                  </a:lnTo>
                  <a:lnTo>
                    <a:pt x="187" y="289"/>
                  </a:lnTo>
                  <a:lnTo>
                    <a:pt x="193" y="292"/>
                  </a:lnTo>
                  <a:lnTo>
                    <a:pt x="198" y="296"/>
                  </a:lnTo>
                  <a:lnTo>
                    <a:pt x="204" y="298"/>
                  </a:lnTo>
                  <a:lnTo>
                    <a:pt x="209" y="298"/>
                  </a:lnTo>
                  <a:lnTo>
                    <a:pt x="218" y="296"/>
                  </a:lnTo>
                  <a:lnTo>
                    <a:pt x="220" y="296"/>
                  </a:lnTo>
                  <a:lnTo>
                    <a:pt x="222" y="296"/>
                  </a:lnTo>
                  <a:lnTo>
                    <a:pt x="224" y="298"/>
                  </a:lnTo>
                  <a:lnTo>
                    <a:pt x="226" y="301"/>
                  </a:lnTo>
                  <a:lnTo>
                    <a:pt x="229" y="309"/>
                  </a:lnTo>
                  <a:lnTo>
                    <a:pt x="235" y="314"/>
                  </a:lnTo>
                  <a:lnTo>
                    <a:pt x="244" y="324"/>
                  </a:lnTo>
                  <a:lnTo>
                    <a:pt x="253" y="335"/>
                  </a:lnTo>
                  <a:lnTo>
                    <a:pt x="261" y="351"/>
                  </a:lnTo>
                  <a:lnTo>
                    <a:pt x="270" y="377"/>
                  </a:lnTo>
                  <a:lnTo>
                    <a:pt x="274" y="383"/>
                  </a:lnTo>
                  <a:lnTo>
                    <a:pt x="281" y="390"/>
                  </a:lnTo>
                  <a:lnTo>
                    <a:pt x="290" y="396"/>
                  </a:lnTo>
                  <a:lnTo>
                    <a:pt x="300" y="401"/>
                  </a:lnTo>
                  <a:lnTo>
                    <a:pt x="307" y="410"/>
                  </a:lnTo>
                  <a:lnTo>
                    <a:pt x="314" y="420"/>
                  </a:lnTo>
                  <a:lnTo>
                    <a:pt x="320" y="423"/>
                  </a:lnTo>
                  <a:lnTo>
                    <a:pt x="326" y="427"/>
                  </a:lnTo>
                  <a:lnTo>
                    <a:pt x="331" y="429"/>
                  </a:lnTo>
                  <a:lnTo>
                    <a:pt x="340" y="429"/>
                  </a:lnTo>
                  <a:lnTo>
                    <a:pt x="348" y="427"/>
                  </a:lnTo>
                  <a:lnTo>
                    <a:pt x="353" y="422"/>
                  </a:lnTo>
                  <a:lnTo>
                    <a:pt x="357" y="416"/>
                  </a:lnTo>
                  <a:lnTo>
                    <a:pt x="361" y="409"/>
                  </a:lnTo>
                  <a:lnTo>
                    <a:pt x="364" y="410"/>
                  </a:lnTo>
                  <a:lnTo>
                    <a:pt x="368" y="414"/>
                  </a:lnTo>
                  <a:lnTo>
                    <a:pt x="372" y="422"/>
                  </a:lnTo>
                  <a:lnTo>
                    <a:pt x="374" y="429"/>
                  </a:lnTo>
                  <a:lnTo>
                    <a:pt x="377" y="434"/>
                  </a:lnTo>
                  <a:lnTo>
                    <a:pt x="383" y="440"/>
                  </a:lnTo>
                  <a:lnTo>
                    <a:pt x="385" y="438"/>
                  </a:lnTo>
                  <a:lnTo>
                    <a:pt x="388" y="436"/>
                  </a:lnTo>
                  <a:lnTo>
                    <a:pt x="390" y="431"/>
                  </a:lnTo>
                  <a:lnTo>
                    <a:pt x="390" y="425"/>
                  </a:lnTo>
                  <a:lnTo>
                    <a:pt x="388" y="422"/>
                  </a:lnTo>
                  <a:lnTo>
                    <a:pt x="386" y="418"/>
                  </a:lnTo>
                  <a:lnTo>
                    <a:pt x="390" y="414"/>
                  </a:lnTo>
                  <a:lnTo>
                    <a:pt x="394" y="410"/>
                  </a:lnTo>
                  <a:lnTo>
                    <a:pt x="390" y="405"/>
                  </a:lnTo>
                  <a:lnTo>
                    <a:pt x="386" y="399"/>
                  </a:lnTo>
                  <a:lnTo>
                    <a:pt x="385" y="398"/>
                  </a:lnTo>
                  <a:lnTo>
                    <a:pt x="383" y="394"/>
                  </a:lnTo>
                  <a:lnTo>
                    <a:pt x="381" y="388"/>
                  </a:lnTo>
                  <a:lnTo>
                    <a:pt x="383" y="383"/>
                  </a:lnTo>
                  <a:lnTo>
                    <a:pt x="386" y="379"/>
                  </a:lnTo>
                  <a:lnTo>
                    <a:pt x="388" y="379"/>
                  </a:lnTo>
                  <a:lnTo>
                    <a:pt x="394" y="381"/>
                  </a:lnTo>
                  <a:lnTo>
                    <a:pt x="399" y="381"/>
                  </a:lnTo>
                  <a:lnTo>
                    <a:pt x="405" y="383"/>
                  </a:lnTo>
                  <a:lnTo>
                    <a:pt x="414" y="381"/>
                  </a:lnTo>
                  <a:lnTo>
                    <a:pt x="425" y="379"/>
                  </a:lnTo>
                  <a:lnTo>
                    <a:pt x="440" y="374"/>
                  </a:lnTo>
                  <a:lnTo>
                    <a:pt x="446" y="370"/>
                  </a:lnTo>
                  <a:lnTo>
                    <a:pt x="451" y="366"/>
                  </a:lnTo>
                  <a:lnTo>
                    <a:pt x="455" y="362"/>
                  </a:lnTo>
                  <a:lnTo>
                    <a:pt x="457" y="357"/>
                  </a:lnTo>
                  <a:lnTo>
                    <a:pt x="444" y="348"/>
                  </a:lnTo>
                  <a:lnTo>
                    <a:pt x="433" y="338"/>
                  </a:lnTo>
                  <a:lnTo>
                    <a:pt x="427" y="333"/>
                  </a:lnTo>
                  <a:lnTo>
                    <a:pt x="425" y="329"/>
                  </a:lnTo>
                  <a:lnTo>
                    <a:pt x="425" y="325"/>
                  </a:lnTo>
                  <a:lnTo>
                    <a:pt x="427" y="322"/>
                  </a:lnTo>
                  <a:lnTo>
                    <a:pt x="433" y="318"/>
                  </a:lnTo>
                  <a:lnTo>
                    <a:pt x="436" y="313"/>
                  </a:lnTo>
                  <a:lnTo>
                    <a:pt x="433" y="305"/>
                  </a:lnTo>
                  <a:lnTo>
                    <a:pt x="427" y="301"/>
                  </a:lnTo>
                  <a:lnTo>
                    <a:pt x="416" y="301"/>
                  </a:lnTo>
                  <a:lnTo>
                    <a:pt x="405" y="305"/>
                  </a:lnTo>
                  <a:lnTo>
                    <a:pt x="392" y="298"/>
                  </a:lnTo>
                  <a:lnTo>
                    <a:pt x="381" y="290"/>
                  </a:lnTo>
                  <a:lnTo>
                    <a:pt x="377" y="276"/>
                  </a:lnTo>
                  <a:lnTo>
                    <a:pt x="375" y="264"/>
                  </a:lnTo>
                  <a:lnTo>
                    <a:pt x="362" y="261"/>
                  </a:lnTo>
                  <a:lnTo>
                    <a:pt x="344" y="255"/>
                  </a:lnTo>
                  <a:lnTo>
                    <a:pt x="335" y="242"/>
                  </a:lnTo>
                  <a:lnTo>
                    <a:pt x="331" y="233"/>
                  </a:lnTo>
                  <a:lnTo>
                    <a:pt x="324" y="229"/>
                  </a:lnTo>
                  <a:lnTo>
                    <a:pt x="316" y="228"/>
                  </a:lnTo>
                  <a:lnTo>
                    <a:pt x="313" y="215"/>
                  </a:lnTo>
                  <a:lnTo>
                    <a:pt x="309" y="202"/>
                  </a:lnTo>
                  <a:lnTo>
                    <a:pt x="294" y="198"/>
                  </a:lnTo>
                  <a:lnTo>
                    <a:pt x="279" y="198"/>
                  </a:lnTo>
                  <a:lnTo>
                    <a:pt x="274" y="189"/>
                  </a:lnTo>
                  <a:lnTo>
                    <a:pt x="268" y="179"/>
                  </a:lnTo>
                  <a:lnTo>
                    <a:pt x="259" y="172"/>
                  </a:lnTo>
                  <a:lnTo>
                    <a:pt x="252" y="167"/>
                  </a:lnTo>
                  <a:lnTo>
                    <a:pt x="248" y="155"/>
                  </a:lnTo>
                  <a:lnTo>
                    <a:pt x="244" y="148"/>
                  </a:lnTo>
                  <a:lnTo>
                    <a:pt x="237" y="135"/>
                  </a:lnTo>
                  <a:lnTo>
                    <a:pt x="228" y="130"/>
                  </a:lnTo>
                  <a:lnTo>
                    <a:pt x="224" y="126"/>
                  </a:lnTo>
                  <a:lnTo>
                    <a:pt x="222" y="120"/>
                  </a:lnTo>
                  <a:lnTo>
                    <a:pt x="220" y="113"/>
                  </a:lnTo>
                  <a:lnTo>
                    <a:pt x="220" y="104"/>
                  </a:lnTo>
                  <a:lnTo>
                    <a:pt x="224" y="94"/>
                  </a:lnTo>
                  <a:lnTo>
                    <a:pt x="229" y="85"/>
                  </a:lnTo>
                  <a:lnTo>
                    <a:pt x="233" y="80"/>
                  </a:lnTo>
                  <a:lnTo>
                    <a:pt x="237" y="72"/>
                  </a:lnTo>
                  <a:lnTo>
                    <a:pt x="241" y="61"/>
                  </a:lnTo>
                  <a:lnTo>
                    <a:pt x="242" y="50"/>
                  </a:lnTo>
                  <a:lnTo>
                    <a:pt x="242" y="45"/>
                  </a:lnTo>
                  <a:lnTo>
                    <a:pt x="241" y="39"/>
                  </a:lnTo>
                  <a:lnTo>
                    <a:pt x="239" y="34"/>
                  </a:lnTo>
                  <a:lnTo>
                    <a:pt x="235" y="26"/>
                  </a:lnTo>
                  <a:lnTo>
                    <a:pt x="231" y="21"/>
                  </a:lnTo>
                  <a:lnTo>
                    <a:pt x="226" y="17"/>
                  </a:lnTo>
                  <a:lnTo>
                    <a:pt x="220" y="13"/>
                  </a:lnTo>
                  <a:lnTo>
                    <a:pt x="217" y="13"/>
                  </a:lnTo>
                  <a:lnTo>
                    <a:pt x="207" y="21"/>
                  </a:lnTo>
                  <a:lnTo>
                    <a:pt x="200" y="24"/>
                  </a:lnTo>
                  <a:lnTo>
                    <a:pt x="191" y="26"/>
                  </a:lnTo>
                  <a:lnTo>
                    <a:pt x="183" y="26"/>
                  </a:lnTo>
                  <a:lnTo>
                    <a:pt x="176" y="24"/>
                  </a:lnTo>
                  <a:lnTo>
                    <a:pt x="170" y="21"/>
                  </a:lnTo>
                  <a:lnTo>
                    <a:pt x="167" y="15"/>
                  </a:lnTo>
                  <a:lnTo>
                    <a:pt x="167" y="8"/>
                  </a:lnTo>
                  <a:lnTo>
                    <a:pt x="154" y="6"/>
                  </a:lnTo>
                  <a:lnTo>
                    <a:pt x="139" y="0"/>
                  </a:lnTo>
                  <a:lnTo>
                    <a:pt x="135" y="4"/>
                  </a:lnTo>
                  <a:lnTo>
                    <a:pt x="133" y="8"/>
                  </a:lnTo>
                  <a:lnTo>
                    <a:pt x="133" y="11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22" y="13"/>
                  </a:lnTo>
                  <a:lnTo>
                    <a:pt x="109" y="15"/>
                  </a:lnTo>
                  <a:lnTo>
                    <a:pt x="100" y="17"/>
                  </a:lnTo>
                  <a:lnTo>
                    <a:pt x="91" y="22"/>
                  </a:lnTo>
                  <a:lnTo>
                    <a:pt x="85" y="32"/>
                  </a:lnTo>
                  <a:lnTo>
                    <a:pt x="78" y="41"/>
                  </a:lnTo>
                  <a:lnTo>
                    <a:pt x="72" y="50"/>
                  </a:lnTo>
                  <a:lnTo>
                    <a:pt x="74" y="61"/>
                  </a:lnTo>
                  <a:lnTo>
                    <a:pt x="74" y="74"/>
                  </a:lnTo>
                  <a:lnTo>
                    <a:pt x="65" y="70"/>
                  </a:lnTo>
                  <a:lnTo>
                    <a:pt x="56" y="67"/>
                  </a:lnTo>
                  <a:lnTo>
                    <a:pt x="52" y="76"/>
                  </a:lnTo>
                  <a:lnTo>
                    <a:pt x="48" y="83"/>
                  </a:lnTo>
                  <a:lnTo>
                    <a:pt x="45" y="83"/>
                  </a:lnTo>
                  <a:lnTo>
                    <a:pt x="43" y="82"/>
                  </a:lnTo>
                  <a:lnTo>
                    <a:pt x="39" y="80"/>
                  </a:lnTo>
                  <a:lnTo>
                    <a:pt x="37" y="76"/>
                  </a:lnTo>
                  <a:lnTo>
                    <a:pt x="35" y="70"/>
                  </a:lnTo>
                  <a:lnTo>
                    <a:pt x="32" y="67"/>
                  </a:lnTo>
                  <a:lnTo>
                    <a:pt x="21" y="67"/>
                  </a:lnTo>
                  <a:lnTo>
                    <a:pt x="11" y="70"/>
                  </a:lnTo>
                  <a:lnTo>
                    <a:pt x="10" y="6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5" name="Freeform 83"/>
            <p:cNvSpPr>
              <a:spLocks/>
            </p:cNvSpPr>
            <p:nvPr/>
          </p:nvSpPr>
          <p:spPr bwMode="auto">
            <a:xfrm>
              <a:off x="3854098" y="1930178"/>
              <a:ext cx="137753" cy="124172"/>
            </a:xfrm>
            <a:custGeom>
              <a:avLst/>
              <a:gdLst>
                <a:gd name="T0" fmla="*/ 5 w 264"/>
                <a:gd name="T1" fmla="*/ 124 h 244"/>
                <a:gd name="T2" fmla="*/ 18 w 264"/>
                <a:gd name="T3" fmla="*/ 131 h 244"/>
                <a:gd name="T4" fmla="*/ 37 w 264"/>
                <a:gd name="T5" fmla="*/ 144 h 244"/>
                <a:gd name="T6" fmla="*/ 63 w 264"/>
                <a:gd name="T7" fmla="*/ 153 h 244"/>
                <a:gd name="T8" fmla="*/ 90 w 264"/>
                <a:gd name="T9" fmla="*/ 159 h 244"/>
                <a:gd name="T10" fmla="*/ 114 w 264"/>
                <a:gd name="T11" fmla="*/ 168 h 244"/>
                <a:gd name="T12" fmla="*/ 133 w 264"/>
                <a:gd name="T13" fmla="*/ 175 h 244"/>
                <a:gd name="T14" fmla="*/ 146 w 264"/>
                <a:gd name="T15" fmla="*/ 172 h 244"/>
                <a:gd name="T16" fmla="*/ 153 w 264"/>
                <a:gd name="T17" fmla="*/ 166 h 244"/>
                <a:gd name="T18" fmla="*/ 155 w 264"/>
                <a:gd name="T19" fmla="*/ 160 h 244"/>
                <a:gd name="T20" fmla="*/ 153 w 264"/>
                <a:gd name="T21" fmla="*/ 151 h 244"/>
                <a:gd name="T22" fmla="*/ 166 w 264"/>
                <a:gd name="T23" fmla="*/ 155 h 244"/>
                <a:gd name="T24" fmla="*/ 185 w 264"/>
                <a:gd name="T25" fmla="*/ 168 h 244"/>
                <a:gd name="T26" fmla="*/ 190 w 264"/>
                <a:gd name="T27" fmla="*/ 177 h 244"/>
                <a:gd name="T28" fmla="*/ 188 w 264"/>
                <a:gd name="T29" fmla="*/ 194 h 244"/>
                <a:gd name="T30" fmla="*/ 196 w 264"/>
                <a:gd name="T31" fmla="*/ 203 h 244"/>
                <a:gd name="T32" fmla="*/ 207 w 264"/>
                <a:gd name="T33" fmla="*/ 207 h 244"/>
                <a:gd name="T34" fmla="*/ 223 w 264"/>
                <a:gd name="T35" fmla="*/ 210 h 244"/>
                <a:gd name="T36" fmla="*/ 246 w 264"/>
                <a:gd name="T37" fmla="*/ 227 h 244"/>
                <a:gd name="T38" fmla="*/ 258 w 264"/>
                <a:gd name="T39" fmla="*/ 244 h 244"/>
                <a:gd name="T40" fmla="*/ 264 w 264"/>
                <a:gd name="T41" fmla="*/ 220 h 244"/>
                <a:gd name="T42" fmla="*/ 255 w 264"/>
                <a:gd name="T43" fmla="*/ 194 h 244"/>
                <a:gd name="T44" fmla="*/ 249 w 264"/>
                <a:gd name="T45" fmla="*/ 184 h 244"/>
                <a:gd name="T46" fmla="*/ 251 w 264"/>
                <a:gd name="T47" fmla="*/ 170 h 244"/>
                <a:gd name="T48" fmla="*/ 251 w 264"/>
                <a:gd name="T49" fmla="*/ 149 h 244"/>
                <a:gd name="T50" fmla="*/ 251 w 264"/>
                <a:gd name="T51" fmla="*/ 131 h 244"/>
                <a:gd name="T52" fmla="*/ 247 w 264"/>
                <a:gd name="T53" fmla="*/ 111 h 244"/>
                <a:gd name="T54" fmla="*/ 236 w 264"/>
                <a:gd name="T55" fmla="*/ 90 h 244"/>
                <a:gd name="T56" fmla="*/ 223 w 264"/>
                <a:gd name="T57" fmla="*/ 79 h 244"/>
                <a:gd name="T58" fmla="*/ 216 w 264"/>
                <a:gd name="T59" fmla="*/ 66 h 244"/>
                <a:gd name="T60" fmla="*/ 218 w 264"/>
                <a:gd name="T61" fmla="*/ 48 h 244"/>
                <a:gd name="T62" fmla="*/ 194 w 264"/>
                <a:gd name="T63" fmla="*/ 35 h 244"/>
                <a:gd name="T64" fmla="*/ 181 w 264"/>
                <a:gd name="T65" fmla="*/ 29 h 244"/>
                <a:gd name="T66" fmla="*/ 168 w 264"/>
                <a:gd name="T67" fmla="*/ 22 h 244"/>
                <a:gd name="T68" fmla="*/ 149 w 264"/>
                <a:gd name="T69" fmla="*/ 24 h 244"/>
                <a:gd name="T70" fmla="*/ 137 w 264"/>
                <a:gd name="T71" fmla="*/ 16 h 244"/>
                <a:gd name="T72" fmla="*/ 122 w 264"/>
                <a:gd name="T73" fmla="*/ 11 h 244"/>
                <a:gd name="T74" fmla="*/ 111 w 264"/>
                <a:gd name="T75" fmla="*/ 13 h 244"/>
                <a:gd name="T76" fmla="*/ 101 w 264"/>
                <a:gd name="T77" fmla="*/ 7 h 244"/>
                <a:gd name="T78" fmla="*/ 89 w 264"/>
                <a:gd name="T79" fmla="*/ 2 h 244"/>
                <a:gd name="T80" fmla="*/ 77 w 264"/>
                <a:gd name="T81" fmla="*/ 0 h 244"/>
                <a:gd name="T82" fmla="*/ 70 w 264"/>
                <a:gd name="T83" fmla="*/ 2 h 244"/>
                <a:gd name="T84" fmla="*/ 65 w 264"/>
                <a:gd name="T85" fmla="*/ 27 h 244"/>
                <a:gd name="T86" fmla="*/ 50 w 264"/>
                <a:gd name="T87" fmla="*/ 70 h 244"/>
                <a:gd name="T88" fmla="*/ 35 w 264"/>
                <a:gd name="T89" fmla="*/ 79 h 244"/>
                <a:gd name="T90" fmla="*/ 24 w 264"/>
                <a:gd name="T91" fmla="*/ 85 h 244"/>
                <a:gd name="T92" fmla="*/ 22 w 264"/>
                <a:gd name="T93" fmla="*/ 96 h 244"/>
                <a:gd name="T94" fmla="*/ 13 w 264"/>
                <a:gd name="T95" fmla="*/ 105 h 244"/>
                <a:gd name="T96" fmla="*/ 7 w 264"/>
                <a:gd name="T97" fmla="*/ 114 h 244"/>
                <a:gd name="T98" fmla="*/ 4 w 264"/>
                <a:gd name="T99" fmla="*/ 122 h 24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64"/>
                <a:gd name="T151" fmla="*/ 0 h 244"/>
                <a:gd name="T152" fmla="*/ 264 w 264"/>
                <a:gd name="T153" fmla="*/ 244 h 24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64" h="244">
                  <a:moveTo>
                    <a:pt x="0" y="124"/>
                  </a:moveTo>
                  <a:lnTo>
                    <a:pt x="5" y="124"/>
                  </a:lnTo>
                  <a:lnTo>
                    <a:pt x="11" y="125"/>
                  </a:lnTo>
                  <a:lnTo>
                    <a:pt x="18" y="131"/>
                  </a:lnTo>
                  <a:lnTo>
                    <a:pt x="26" y="138"/>
                  </a:lnTo>
                  <a:lnTo>
                    <a:pt x="37" y="144"/>
                  </a:lnTo>
                  <a:lnTo>
                    <a:pt x="50" y="144"/>
                  </a:lnTo>
                  <a:lnTo>
                    <a:pt x="63" y="153"/>
                  </a:lnTo>
                  <a:lnTo>
                    <a:pt x="76" y="160"/>
                  </a:lnTo>
                  <a:lnTo>
                    <a:pt x="90" y="159"/>
                  </a:lnTo>
                  <a:lnTo>
                    <a:pt x="103" y="159"/>
                  </a:lnTo>
                  <a:lnTo>
                    <a:pt x="114" y="168"/>
                  </a:lnTo>
                  <a:lnTo>
                    <a:pt x="125" y="175"/>
                  </a:lnTo>
                  <a:lnTo>
                    <a:pt x="133" y="175"/>
                  </a:lnTo>
                  <a:lnTo>
                    <a:pt x="140" y="173"/>
                  </a:lnTo>
                  <a:lnTo>
                    <a:pt x="146" y="172"/>
                  </a:lnTo>
                  <a:lnTo>
                    <a:pt x="149" y="168"/>
                  </a:lnTo>
                  <a:lnTo>
                    <a:pt x="153" y="166"/>
                  </a:lnTo>
                  <a:lnTo>
                    <a:pt x="155" y="162"/>
                  </a:lnTo>
                  <a:lnTo>
                    <a:pt x="155" y="160"/>
                  </a:lnTo>
                  <a:lnTo>
                    <a:pt x="155" y="157"/>
                  </a:lnTo>
                  <a:lnTo>
                    <a:pt x="153" y="151"/>
                  </a:lnTo>
                  <a:lnTo>
                    <a:pt x="155" y="148"/>
                  </a:lnTo>
                  <a:lnTo>
                    <a:pt x="166" y="155"/>
                  </a:lnTo>
                  <a:lnTo>
                    <a:pt x="179" y="168"/>
                  </a:lnTo>
                  <a:lnTo>
                    <a:pt x="185" y="168"/>
                  </a:lnTo>
                  <a:lnTo>
                    <a:pt x="192" y="170"/>
                  </a:lnTo>
                  <a:lnTo>
                    <a:pt x="190" y="177"/>
                  </a:lnTo>
                  <a:lnTo>
                    <a:pt x="188" y="186"/>
                  </a:lnTo>
                  <a:lnTo>
                    <a:pt x="188" y="194"/>
                  </a:lnTo>
                  <a:lnTo>
                    <a:pt x="190" y="203"/>
                  </a:lnTo>
                  <a:lnTo>
                    <a:pt x="196" y="203"/>
                  </a:lnTo>
                  <a:lnTo>
                    <a:pt x="203" y="203"/>
                  </a:lnTo>
                  <a:lnTo>
                    <a:pt x="207" y="207"/>
                  </a:lnTo>
                  <a:lnTo>
                    <a:pt x="216" y="212"/>
                  </a:lnTo>
                  <a:lnTo>
                    <a:pt x="223" y="210"/>
                  </a:lnTo>
                  <a:lnTo>
                    <a:pt x="236" y="214"/>
                  </a:lnTo>
                  <a:lnTo>
                    <a:pt x="246" y="227"/>
                  </a:lnTo>
                  <a:lnTo>
                    <a:pt x="253" y="242"/>
                  </a:lnTo>
                  <a:lnTo>
                    <a:pt x="258" y="244"/>
                  </a:lnTo>
                  <a:lnTo>
                    <a:pt x="264" y="242"/>
                  </a:lnTo>
                  <a:lnTo>
                    <a:pt x="264" y="220"/>
                  </a:lnTo>
                  <a:lnTo>
                    <a:pt x="262" y="201"/>
                  </a:lnTo>
                  <a:lnTo>
                    <a:pt x="255" y="194"/>
                  </a:lnTo>
                  <a:lnTo>
                    <a:pt x="251" y="190"/>
                  </a:lnTo>
                  <a:lnTo>
                    <a:pt x="249" y="184"/>
                  </a:lnTo>
                  <a:lnTo>
                    <a:pt x="247" y="179"/>
                  </a:lnTo>
                  <a:lnTo>
                    <a:pt x="251" y="170"/>
                  </a:lnTo>
                  <a:lnTo>
                    <a:pt x="257" y="159"/>
                  </a:lnTo>
                  <a:lnTo>
                    <a:pt x="251" y="149"/>
                  </a:lnTo>
                  <a:lnTo>
                    <a:pt x="251" y="140"/>
                  </a:lnTo>
                  <a:lnTo>
                    <a:pt x="251" y="131"/>
                  </a:lnTo>
                  <a:lnTo>
                    <a:pt x="253" y="122"/>
                  </a:lnTo>
                  <a:lnTo>
                    <a:pt x="247" y="111"/>
                  </a:lnTo>
                  <a:lnTo>
                    <a:pt x="238" y="101"/>
                  </a:lnTo>
                  <a:lnTo>
                    <a:pt x="236" y="90"/>
                  </a:lnTo>
                  <a:lnTo>
                    <a:pt x="234" y="79"/>
                  </a:lnTo>
                  <a:lnTo>
                    <a:pt x="223" y="79"/>
                  </a:lnTo>
                  <a:lnTo>
                    <a:pt x="216" y="75"/>
                  </a:lnTo>
                  <a:lnTo>
                    <a:pt x="216" y="66"/>
                  </a:lnTo>
                  <a:lnTo>
                    <a:pt x="218" y="59"/>
                  </a:lnTo>
                  <a:lnTo>
                    <a:pt x="218" y="48"/>
                  </a:lnTo>
                  <a:lnTo>
                    <a:pt x="214" y="31"/>
                  </a:lnTo>
                  <a:lnTo>
                    <a:pt x="194" y="35"/>
                  </a:lnTo>
                  <a:lnTo>
                    <a:pt x="181" y="37"/>
                  </a:lnTo>
                  <a:lnTo>
                    <a:pt x="181" y="29"/>
                  </a:lnTo>
                  <a:lnTo>
                    <a:pt x="179" y="18"/>
                  </a:lnTo>
                  <a:lnTo>
                    <a:pt x="168" y="22"/>
                  </a:lnTo>
                  <a:lnTo>
                    <a:pt x="157" y="24"/>
                  </a:lnTo>
                  <a:lnTo>
                    <a:pt x="149" y="24"/>
                  </a:lnTo>
                  <a:lnTo>
                    <a:pt x="144" y="20"/>
                  </a:lnTo>
                  <a:lnTo>
                    <a:pt x="137" y="16"/>
                  </a:lnTo>
                  <a:lnTo>
                    <a:pt x="129" y="11"/>
                  </a:lnTo>
                  <a:lnTo>
                    <a:pt x="122" y="11"/>
                  </a:lnTo>
                  <a:lnTo>
                    <a:pt x="114" y="11"/>
                  </a:lnTo>
                  <a:lnTo>
                    <a:pt x="111" y="13"/>
                  </a:lnTo>
                  <a:lnTo>
                    <a:pt x="105" y="11"/>
                  </a:lnTo>
                  <a:lnTo>
                    <a:pt x="101" y="7"/>
                  </a:lnTo>
                  <a:lnTo>
                    <a:pt x="96" y="2"/>
                  </a:lnTo>
                  <a:lnTo>
                    <a:pt x="89" y="2"/>
                  </a:lnTo>
                  <a:lnTo>
                    <a:pt x="81" y="0"/>
                  </a:lnTo>
                  <a:lnTo>
                    <a:pt x="77" y="0"/>
                  </a:lnTo>
                  <a:lnTo>
                    <a:pt x="74" y="0"/>
                  </a:lnTo>
                  <a:lnTo>
                    <a:pt x="70" y="2"/>
                  </a:lnTo>
                  <a:lnTo>
                    <a:pt x="68" y="3"/>
                  </a:lnTo>
                  <a:lnTo>
                    <a:pt x="65" y="27"/>
                  </a:lnTo>
                  <a:lnTo>
                    <a:pt x="63" y="57"/>
                  </a:lnTo>
                  <a:lnTo>
                    <a:pt x="50" y="70"/>
                  </a:lnTo>
                  <a:lnTo>
                    <a:pt x="42" y="79"/>
                  </a:lnTo>
                  <a:lnTo>
                    <a:pt x="35" y="79"/>
                  </a:lnTo>
                  <a:lnTo>
                    <a:pt x="26" y="81"/>
                  </a:lnTo>
                  <a:lnTo>
                    <a:pt x="24" y="85"/>
                  </a:lnTo>
                  <a:lnTo>
                    <a:pt x="24" y="90"/>
                  </a:lnTo>
                  <a:lnTo>
                    <a:pt x="22" y="96"/>
                  </a:lnTo>
                  <a:lnTo>
                    <a:pt x="18" y="99"/>
                  </a:lnTo>
                  <a:lnTo>
                    <a:pt x="13" y="105"/>
                  </a:lnTo>
                  <a:lnTo>
                    <a:pt x="9" y="109"/>
                  </a:lnTo>
                  <a:lnTo>
                    <a:pt x="7" y="114"/>
                  </a:lnTo>
                  <a:lnTo>
                    <a:pt x="5" y="120"/>
                  </a:lnTo>
                  <a:lnTo>
                    <a:pt x="4" y="122"/>
                  </a:lnTo>
                  <a:lnTo>
                    <a:pt x="0" y="12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6" name="Freeform 84"/>
            <p:cNvSpPr>
              <a:spLocks/>
            </p:cNvSpPr>
            <p:nvPr/>
          </p:nvSpPr>
          <p:spPr bwMode="auto">
            <a:xfrm>
              <a:off x="3828009" y="2247734"/>
              <a:ext cx="85574" cy="102798"/>
            </a:xfrm>
            <a:custGeom>
              <a:avLst/>
              <a:gdLst>
                <a:gd name="T0" fmla="*/ 113 w 164"/>
                <a:gd name="T1" fmla="*/ 174 h 202"/>
                <a:gd name="T2" fmla="*/ 137 w 164"/>
                <a:gd name="T3" fmla="*/ 167 h 202"/>
                <a:gd name="T4" fmla="*/ 137 w 164"/>
                <a:gd name="T5" fmla="*/ 148 h 202"/>
                <a:gd name="T6" fmla="*/ 139 w 164"/>
                <a:gd name="T7" fmla="*/ 130 h 202"/>
                <a:gd name="T8" fmla="*/ 142 w 164"/>
                <a:gd name="T9" fmla="*/ 122 h 202"/>
                <a:gd name="T10" fmla="*/ 150 w 164"/>
                <a:gd name="T11" fmla="*/ 120 h 202"/>
                <a:gd name="T12" fmla="*/ 153 w 164"/>
                <a:gd name="T13" fmla="*/ 102 h 202"/>
                <a:gd name="T14" fmla="*/ 151 w 164"/>
                <a:gd name="T15" fmla="*/ 80 h 202"/>
                <a:gd name="T16" fmla="*/ 157 w 164"/>
                <a:gd name="T17" fmla="*/ 70 h 202"/>
                <a:gd name="T18" fmla="*/ 157 w 164"/>
                <a:gd name="T19" fmla="*/ 54 h 202"/>
                <a:gd name="T20" fmla="*/ 144 w 164"/>
                <a:gd name="T21" fmla="*/ 43 h 202"/>
                <a:gd name="T22" fmla="*/ 133 w 164"/>
                <a:gd name="T23" fmla="*/ 45 h 202"/>
                <a:gd name="T24" fmla="*/ 124 w 164"/>
                <a:gd name="T25" fmla="*/ 50 h 202"/>
                <a:gd name="T26" fmla="*/ 116 w 164"/>
                <a:gd name="T27" fmla="*/ 34 h 202"/>
                <a:gd name="T28" fmla="*/ 111 w 164"/>
                <a:gd name="T29" fmla="*/ 19 h 202"/>
                <a:gd name="T30" fmla="*/ 102 w 164"/>
                <a:gd name="T31" fmla="*/ 19 h 202"/>
                <a:gd name="T32" fmla="*/ 90 w 164"/>
                <a:gd name="T33" fmla="*/ 19 h 202"/>
                <a:gd name="T34" fmla="*/ 85 w 164"/>
                <a:gd name="T35" fmla="*/ 11 h 202"/>
                <a:gd name="T36" fmla="*/ 79 w 164"/>
                <a:gd name="T37" fmla="*/ 2 h 202"/>
                <a:gd name="T38" fmla="*/ 74 w 164"/>
                <a:gd name="T39" fmla="*/ 10 h 202"/>
                <a:gd name="T40" fmla="*/ 74 w 164"/>
                <a:gd name="T41" fmla="*/ 22 h 202"/>
                <a:gd name="T42" fmla="*/ 48 w 164"/>
                <a:gd name="T43" fmla="*/ 39 h 202"/>
                <a:gd name="T44" fmla="*/ 24 w 164"/>
                <a:gd name="T45" fmla="*/ 70 h 202"/>
                <a:gd name="T46" fmla="*/ 17 w 164"/>
                <a:gd name="T47" fmla="*/ 102 h 202"/>
                <a:gd name="T48" fmla="*/ 7 w 164"/>
                <a:gd name="T49" fmla="*/ 109 h 202"/>
                <a:gd name="T50" fmla="*/ 9 w 164"/>
                <a:gd name="T51" fmla="*/ 115 h 202"/>
                <a:gd name="T52" fmla="*/ 7 w 164"/>
                <a:gd name="T53" fmla="*/ 120 h 202"/>
                <a:gd name="T54" fmla="*/ 2 w 164"/>
                <a:gd name="T55" fmla="*/ 128 h 202"/>
                <a:gd name="T56" fmla="*/ 17 w 164"/>
                <a:gd name="T57" fmla="*/ 155 h 202"/>
                <a:gd name="T58" fmla="*/ 46 w 164"/>
                <a:gd name="T59" fmla="*/ 192 h 202"/>
                <a:gd name="T60" fmla="*/ 48 w 164"/>
                <a:gd name="T61" fmla="*/ 202 h 202"/>
                <a:gd name="T62" fmla="*/ 48 w 164"/>
                <a:gd name="T63" fmla="*/ 202 h 202"/>
                <a:gd name="T64" fmla="*/ 87 w 164"/>
                <a:gd name="T65" fmla="*/ 185 h 202"/>
                <a:gd name="T66" fmla="*/ 98 w 164"/>
                <a:gd name="T67" fmla="*/ 176 h 2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4"/>
                <a:gd name="T103" fmla="*/ 0 h 202"/>
                <a:gd name="T104" fmla="*/ 164 w 164"/>
                <a:gd name="T105" fmla="*/ 202 h 2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4" h="202">
                  <a:moveTo>
                    <a:pt x="98" y="176"/>
                  </a:moveTo>
                  <a:lnTo>
                    <a:pt x="113" y="174"/>
                  </a:lnTo>
                  <a:lnTo>
                    <a:pt x="131" y="172"/>
                  </a:lnTo>
                  <a:lnTo>
                    <a:pt x="137" y="167"/>
                  </a:lnTo>
                  <a:lnTo>
                    <a:pt x="139" y="157"/>
                  </a:lnTo>
                  <a:lnTo>
                    <a:pt x="137" y="148"/>
                  </a:lnTo>
                  <a:lnTo>
                    <a:pt x="137" y="139"/>
                  </a:lnTo>
                  <a:lnTo>
                    <a:pt x="139" y="130"/>
                  </a:lnTo>
                  <a:lnTo>
                    <a:pt x="140" y="126"/>
                  </a:lnTo>
                  <a:lnTo>
                    <a:pt x="142" y="122"/>
                  </a:lnTo>
                  <a:lnTo>
                    <a:pt x="144" y="120"/>
                  </a:lnTo>
                  <a:lnTo>
                    <a:pt x="150" y="120"/>
                  </a:lnTo>
                  <a:lnTo>
                    <a:pt x="153" y="117"/>
                  </a:lnTo>
                  <a:lnTo>
                    <a:pt x="153" y="102"/>
                  </a:lnTo>
                  <a:lnTo>
                    <a:pt x="151" y="87"/>
                  </a:lnTo>
                  <a:lnTo>
                    <a:pt x="151" y="80"/>
                  </a:lnTo>
                  <a:lnTo>
                    <a:pt x="153" y="74"/>
                  </a:lnTo>
                  <a:lnTo>
                    <a:pt x="157" y="70"/>
                  </a:lnTo>
                  <a:lnTo>
                    <a:pt x="164" y="69"/>
                  </a:lnTo>
                  <a:lnTo>
                    <a:pt x="157" y="54"/>
                  </a:lnTo>
                  <a:lnTo>
                    <a:pt x="151" y="45"/>
                  </a:lnTo>
                  <a:lnTo>
                    <a:pt x="144" y="43"/>
                  </a:lnTo>
                  <a:lnTo>
                    <a:pt x="139" y="43"/>
                  </a:lnTo>
                  <a:lnTo>
                    <a:pt x="133" y="45"/>
                  </a:lnTo>
                  <a:lnTo>
                    <a:pt x="127" y="48"/>
                  </a:lnTo>
                  <a:lnTo>
                    <a:pt x="124" y="50"/>
                  </a:lnTo>
                  <a:lnTo>
                    <a:pt x="118" y="48"/>
                  </a:lnTo>
                  <a:lnTo>
                    <a:pt x="116" y="34"/>
                  </a:lnTo>
                  <a:lnTo>
                    <a:pt x="115" y="21"/>
                  </a:lnTo>
                  <a:lnTo>
                    <a:pt x="111" y="19"/>
                  </a:lnTo>
                  <a:lnTo>
                    <a:pt x="107" y="19"/>
                  </a:lnTo>
                  <a:lnTo>
                    <a:pt x="102" y="19"/>
                  </a:lnTo>
                  <a:lnTo>
                    <a:pt x="96" y="21"/>
                  </a:lnTo>
                  <a:lnTo>
                    <a:pt x="90" y="19"/>
                  </a:lnTo>
                  <a:lnTo>
                    <a:pt x="87" y="17"/>
                  </a:lnTo>
                  <a:lnTo>
                    <a:pt x="85" y="11"/>
                  </a:lnTo>
                  <a:lnTo>
                    <a:pt x="85" y="0"/>
                  </a:lnTo>
                  <a:lnTo>
                    <a:pt x="79" y="2"/>
                  </a:lnTo>
                  <a:lnTo>
                    <a:pt x="76" y="6"/>
                  </a:lnTo>
                  <a:lnTo>
                    <a:pt x="74" y="10"/>
                  </a:lnTo>
                  <a:lnTo>
                    <a:pt x="72" y="13"/>
                  </a:lnTo>
                  <a:lnTo>
                    <a:pt x="74" y="22"/>
                  </a:lnTo>
                  <a:lnTo>
                    <a:pt x="72" y="28"/>
                  </a:lnTo>
                  <a:lnTo>
                    <a:pt x="48" y="39"/>
                  </a:lnTo>
                  <a:lnTo>
                    <a:pt x="26" y="50"/>
                  </a:lnTo>
                  <a:lnTo>
                    <a:pt x="24" y="70"/>
                  </a:lnTo>
                  <a:lnTo>
                    <a:pt x="24" y="95"/>
                  </a:lnTo>
                  <a:lnTo>
                    <a:pt x="17" y="102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11"/>
                  </a:lnTo>
                  <a:lnTo>
                    <a:pt x="9" y="115"/>
                  </a:lnTo>
                  <a:lnTo>
                    <a:pt x="9" y="119"/>
                  </a:lnTo>
                  <a:lnTo>
                    <a:pt x="7" y="120"/>
                  </a:lnTo>
                  <a:lnTo>
                    <a:pt x="6" y="124"/>
                  </a:lnTo>
                  <a:lnTo>
                    <a:pt x="2" y="128"/>
                  </a:lnTo>
                  <a:lnTo>
                    <a:pt x="0" y="133"/>
                  </a:lnTo>
                  <a:lnTo>
                    <a:pt x="17" y="155"/>
                  </a:lnTo>
                  <a:lnTo>
                    <a:pt x="42" y="183"/>
                  </a:lnTo>
                  <a:lnTo>
                    <a:pt x="46" y="192"/>
                  </a:lnTo>
                  <a:lnTo>
                    <a:pt x="48" y="202"/>
                  </a:lnTo>
                  <a:lnTo>
                    <a:pt x="68" y="194"/>
                  </a:lnTo>
                  <a:lnTo>
                    <a:pt x="87" y="185"/>
                  </a:lnTo>
                  <a:lnTo>
                    <a:pt x="92" y="180"/>
                  </a:lnTo>
                  <a:lnTo>
                    <a:pt x="98" y="176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7" name="Freeform 85"/>
            <p:cNvSpPr>
              <a:spLocks/>
            </p:cNvSpPr>
            <p:nvPr/>
          </p:nvSpPr>
          <p:spPr bwMode="auto">
            <a:xfrm>
              <a:off x="3783656" y="2217708"/>
              <a:ext cx="88705" cy="84478"/>
            </a:xfrm>
            <a:custGeom>
              <a:avLst/>
              <a:gdLst>
                <a:gd name="T0" fmla="*/ 170 w 170"/>
                <a:gd name="T1" fmla="*/ 59 h 166"/>
                <a:gd name="T2" fmla="*/ 170 w 170"/>
                <a:gd name="T3" fmla="*/ 54 h 166"/>
                <a:gd name="T4" fmla="*/ 168 w 170"/>
                <a:gd name="T5" fmla="*/ 50 h 166"/>
                <a:gd name="T6" fmla="*/ 157 w 170"/>
                <a:gd name="T7" fmla="*/ 44 h 166"/>
                <a:gd name="T8" fmla="*/ 146 w 170"/>
                <a:gd name="T9" fmla="*/ 43 h 166"/>
                <a:gd name="T10" fmla="*/ 148 w 170"/>
                <a:gd name="T11" fmla="*/ 32 h 166"/>
                <a:gd name="T12" fmla="*/ 148 w 170"/>
                <a:gd name="T13" fmla="*/ 11 h 166"/>
                <a:gd name="T14" fmla="*/ 118 w 170"/>
                <a:gd name="T15" fmla="*/ 22 h 166"/>
                <a:gd name="T16" fmla="*/ 103 w 170"/>
                <a:gd name="T17" fmla="*/ 32 h 166"/>
                <a:gd name="T18" fmla="*/ 100 w 170"/>
                <a:gd name="T19" fmla="*/ 30 h 166"/>
                <a:gd name="T20" fmla="*/ 94 w 170"/>
                <a:gd name="T21" fmla="*/ 26 h 166"/>
                <a:gd name="T22" fmla="*/ 91 w 170"/>
                <a:gd name="T23" fmla="*/ 22 h 166"/>
                <a:gd name="T24" fmla="*/ 85 w 170"/>
                <a:gd name="T25" fmla="*/ 17 h 166"/>
                <a:gd name="T26" fmla="*/ 79 w 170"/>
                <a:gd name="T27" fmla="*/ 8 h 166"/>
                <a:gd name="T28" fmla="*/ 76 w 170"/>
                <a:gd name="T29" fmla="*/ 0 h 166"/>
                <a:gd name="T30" fmla="*/ 59 w 170"/>
                <a:gd name="T31" fmla="*/ 8 h 166"/>
                <a:gd name="T32" fmla="*/ 37 w 170"/>
                <a:gd name="T33" fmla="*/ 17 h 166"/>
                <a:gd name="T34" fmla="*/ 35 w 170"/>
                <a:gd name="T35" fmla="*/ 26 h 166"/>
                <a:gd name="T36" fmla="*/ 28 w 170"/>
                <a:gd name="T37" fmla="*/ 35 h 166"/>
                <a:gd name="T38" fmla="*/ 24 w 170"/>
                <a:gd name="T39" fmla="*/ 39 h 166"/>
                <a:gd name="T40" fmla="*/ 17 w 170"/>
                <a:gd name="T41" fmla="*/ 44 h 166"/>
                <a:gd name="T42" fmla="*/ 9 w 170"/>
                <a:gd name="T43" fmla="*/ 48 h 166"/>
                <a:gd name="T44" fmla="*/ 0 w 170"/>
                <a:gd name="T45" fmla="*/ 50 h 166"/>
                <a:gd name="T46" fmla="*/ 0 w 170"/>
                <a:gd name="T47" fmla="*/ 50 h 166"/>
                <a:gd name="T48" fmla="*/ 0 w 170"/>
                <a:gd name="T49" fmla="*/ 50 h 166"/>
                <a:gd name="T50" fmla="*/ 6 w 170"/>
                <a:gd name="T51" fmla="*/ 57 h 166"/>
                <a:gd name="T52" fmla="*/ 11 w 170"/>
                <a:gd name="T53" fmla="*/ 63 h 166"/>
                <a:gd name="T54" fmla="*/ 18 w 170"/>
                <a:gd name="T55" fmla="*/ 69 h 166"/>
                <a:gd name="T56" fmla="*/ 30 w 170"/>
                <a:gd name="T57" fmla="*/ 72 h 166"/>
                <a:gd name="T58" fmla="*/ 30 w 170"/>
                <a:gd name="T59" fmla="*/ 72 h 166"/>
                <a:gd name="T60" fmla="*/ 30 w 170"/>
                <a:gd name="T61" fmla="*/ 72 h 166"/>
                <a:gd name="T62" fmla="*/ 30 w 170"/>
                <a:gd name="T63" fmla="*/ 72 h 166"/>
                <a:gd name="T64" fmla="*/ 31 w 170"/>
                <a:gd name="T65" fmla="*/ 74 h 166"/>
                <a:gd name="T66" fmla="*/ 31 w 170"/>
                <a:gd name="T67" fmla="*/ 74 h 166"/>
                <a:gd name="T68" fmla="*/ 37 w 170"/>
                <a:gd name="T69" fmla="*/ 80 h 166"/>
                <a:gd name="T70" fmla="*/ 44 w 170"/>
                <a:gd name="T71" fmla="*/ 93 h 166"/>
                <a:gd name="T72" fmla="*/ 50 w 170"/>
                <a:gd name="T73" fmla="*/ 98 h 166"/>
                <a:gd name="T74" fmla="*/ 57 w 170"/>
                <a:gd name="T75" fmla="*/ 105 h 166"/>
                <a:gd name="T76" fmla="*/ 59 w 170"/>
                <a:gd name="T77" fmla="*/ 122 h 166"/>
                <a:gd name="T78" fmla="*/ 61 w 170"/>
                <a:gd name="T79" fmla="*/ 141 h 166"/>
                <a:gd name="T80" fmla="*/ 68 w 170"/>
                <a:gd name="T81" fmla="*/ 146 h 166"/>
                <a:gd name="T82" fmla="*/ 76 w 170"/>
                <a:gd name="T83" fmla="*/ 150 h 166"/>
                <a:gd name="T84" fmla="*/ 81 w 170"/>
                <a:gd name="T85" fmla="*/ 152 h 166"/>
                <a:gd name="T86" fmla="*/ 85 w 170"/>
                <a:gd name="T87" fmla="*/ 155 h 166"/>
                <a:gd name="T88" fmla="*/ 89 w 170"/>
                <a:gd name="T89" fmla="*/ 159 h 166"/>
                <a:gd name="T90" fmla="*/ 92 w 170"/>
                <a:gd name="T91" fmla="*/ 166 h 166"/>
                <a:gd name="T92" fmla="*/ 102 w 170"/>
                <a:gd name="T93" fmla="*/ 161 h 166"/>
                <a:gd name="T94" fmla="*/ 109 w 170"/>
                <a:gd name="T95" fmla="*/ 154 h 166"/>
                <a:gd name="T96" fmla="*/ 109 w 170"/>
                <a:gd name="T97" fmla="*/ 129 h 166"/>
                <a:gd name="T98" fmla="*/ 111 w 170"/>
                <a:gd name="T99" fmla="*/ 109 h 166"/>
                <a:gd name="T100" fmla="*/ 133 w 170"/>
                <a:gd name="T101" fmla="*/ 98 h 166"/>
                <a:gd name="T102" fmla="*/ 157 w 170"/>
                <a:gd name="T103" fmla="*/ 87 h 166"/>
                <a:gd name="T104" fmla="*/ 159 w 170"/>
                <a:gd name="T105" fmla="*/ 81 h 166"/>
                <a:gd name="T106" fmla="*/ 157 w 170"/>
                <a:gd name="T107" fmla="*/ 72 h 166"/>
                <a:gd name="T108" fmla="*/ 159 w 170"/>
                <a:gd name="T109" fmla="*/ 69 h 166"/>
                <a:gd name="T110" fmla="*/ 161 w 170"/>
                <a:gd name="T111" fmla="*/ 65 h 166"/>
                <a:gd name="T112" fmla="*/ 164 w 170"/>
                <a:gd name="T113" fmla="*/ 61 h 166"/>
                <a:gd name="T114" fmla="*/ 170 w 170"/>
                <a:gd name="T115" fmla="*/ 59 h 1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0"/>
                <a:gd name="T175" fmla="*/ 0 h 166"/>
                <a:gd name="T176" fmla="*/ 170 w 170"/>
                <a:gd name="T177" fmla="*/ 166 h 1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0" h="166">
                  <a:moveTo>
                    <a:pt x="170" y="59"/>
                  </a:moveTo>
                  <a:lnTo>
                    <a:pt x="170" y="54"/>
                  </a:lnTo>
                  <a:lnTo>
                    <a:pt x="168" y="50"/>
                  </a:lnTo>
                  <a:lnTo>
                    <a:pt x="157" y="44"/>
                  </a:lnTo>
                  <a:lnTo>
                    <a:pt x="146" y="43"/>
                  </a:lnTo>
                  <a:lnTo>
                    <a:pt x="148" y="32"/>
                  </a:lnTo>
                  <a:lnTo>
                    <a:pt x="148" y="11"/>
                  </a:lnTo>
                  <a:lnTo>
                    <a:pt x="118" y="22"/>
                  </a:lnTo>
                  <a:lnTo>
                    <a:pt x="103" y="32"/>
                  </a:lnTo>
                  <a:lnTo>
                    <a:pt x="100" y="30"/>
                  </a:lnTo>
                  <a:lnTo>
                    <a:pt x="94" y="26"/>
                  </a:lnTo>
                  <a:lnTo>
                    <a:pt x="91" y="22"/>
                  </a:lnTo>
                  <a:lnTo>
                    <a:pt x="85" y="17"/>
                  </a:lnTo>
                  <a:lnTo>
                    <a:pt x="79" y="8"/>
                  </a:lnTo>
                  <a:lnTo>
                    <a:pt x="76" y="0"/>
                  </a:lnTo>
                  <a:lnTo>
                    <a:pt x="59" y="8"/>
                  </a:lnTo>
                  <a:lnTo>
                    <a:pt x="37" y="17"/>
                  </a:lnTo>
                  <a:lnTo>
                    <a:pt x="35" y="26"/>
                  </a:lnTo>
                  <a:lnTo>
                    <a:pt x="28" y="35"/>
                  </a:lnTo>
                  <a:lnTo>
                    <a:pt x="24" y="39"/>
                  </a:lnTo>
                  <a:lnTo>
                    <a:pt x="17" y="44"/>
                  </a:lnTo>
                  <a:lnTo>
                    <a:pt x="9" y="48"/>
                  </a:lnTo>
                  <a:lnTo>
                    <a:pt x="0" y="50"/>
                  </a:lnTo>
                  <a:lnTo>
                    <a:pt x="6" y="57"/>
                  </a:lnTo>
                  <a:lnTo>
                    <a:pt x="11" y="63"/>
                  </a:lnTo>
                  <a:lnTo>
                    <a:pt x="18" y="69"/>
                  </a:lnTo>
                  <a:lnTo>
                    <a:pt x="30" y="72"/>
                  </a:lnTo>
                  <a:lnTo>
                    <a:pt x="31" y="74"/>
                  </a:lnTo>
                  <a:lnTo>
                    <a:pt x="37" y="80"/>
                  </a:lnTo>
                  <a:lnTo>
                    <a:pt x="44" y="93"/>
                  </a:lnTo>
                  <a:lnTo>
                    <a:pt x="50" y="98"/>
                  </a:lnTo>
                  <a:lnTo>
                    <a:pt x="57" y="105"/>
                  </a:lnTo>
                  <a:lnTo>
                    <a:pt x="59" y="122"/>
                  </a:lnTo>
                  <a:lnTo>
                    <a:pt x="61" y="141"/>
                  </a:lnTo>
                  <a:lnTo>
                    <a:pt x="68" y="146"/>
                  </a:lnTo>
                  <a:lnTo>
                    <a:pt x="76" y="150"/>
                  </a:lnTo>
                  <a:lnTo>
                    <a:pt x="81" y="152"/>
                  </a:lnTo>
                  <a:lnTo>
                    <a:pt x="85" y="155"/>
                  </a:lnTo>
                  <a:lnTo>
                    <a:pt x="89" y="159"/>
                  </a:lnTo>
                  <a:lnTo>
                    <a:pt x="92" y="166"/>
                  </a:lnTo>
                  <a:lnTo>
                    <a:pt x="102" y="161"/>
                  </a:lnTo>
                  <a:lnTo>
                    <a:pt x="109" y="154"/>
                  </a:lnTo>
                  <a:lnTo>
                    <a:pt x="109" y="129"/>
                  </a:lnTo>
                  <a:lnTo>
                    <a:pt x="111" y="109"/>
                  </a:lnTo>
                  <a:lnTo>
                    <a:pt x="133" y="98"/>
                  </a:lnTo>
                  <a:lnTo>
                    <a:pt x="157" y="87"/>
                  </a:lnTo>
                  <a:lnTo>
                    <a:pt x="159" y="81"/>
                  </a:lnTo>
                  <a:lnTo>
                    <a:pt x="157" y="72"/>
                  </a:lnTo>
                  <a:lnTo>
                    <a:pt x="159" y="69"/>
                  </a:lnTo>
                  <a:lnTo>
                    <a:pt x="161" y="65"/>
                  </a:lnTo>
                  <a:lnTo>
                    <a:pt x="164" y="61"/>
                  </a:lnTo>
                  <a:lnTo>
                    <a:pt x="170" y="5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8" name="Freeform 86"/>
            <p:cNvSpPr>
              <a:spLocks/>
            </p:cNvSpPr>
            <p:nvPr/>
          </p:nvSpPr>
          <p:spPr bwMode="auto">
            <a:xfrm>
              <a:off x="3748174" y="2152060"/>
              <a:ext cx="75138" cy="91094"/>
            </a:xfrm>
            <a:custGeom>
              <a:avLst/>
              <a:gdLst>
                <a:gd name="T0" fmla="*/ 75 w 144"/>
                <a:gd name="T1" fmla="*/ 0 h 179"/>
                <a:gd name="T2" fmla="*/ 90 w 144"/>
                <a:gd name="T3" fmla="*/ 7 h 179"/>
                <a:gd name="T4" fmla="*/ 107 w 144"/>
                <a:gd name="T5" fmla="*/ 15 h 179"/>
                <a:gd name="T6" fmla="*/ 109 w 144"/>
                <a:gd name="T7" fmla="*/ 20 h 179"/>
                <a:gd name="T8" fmla="*/ 112 w 144"/>
                <a:gd name="T9" fmla="*/ 26 h 179"/>
                <a:gd name="T10" fmla="*/ 114 w 144"/>
                <a:gd name="T11" fmla="*/ 29 h 179"/>
                <a:gd name="T12" fmla="*/ 120 w 144"/>
                <a:gd name="T13" fmla="*/ 33 h 179"/>
                <a:gd name="T14" fmla="*/ 118 w 144"/>
                <a:gd name="T15" fmla="*/ 52 h 179"/>
                <a:gd name="T16" fmla="*/ 116 w 144"/>
                <a:gd name="T17" fmla="*/ 70 h 179"/>
                <a:gd name="T18" fmla="*/ 120 w 144"/>
                <a:gd name="T19" fmla="*/ 79 h 179"/>
                <a:gd name="T20" fmla="*/ 123 w 144"/>
                <a:gd name="T21" fmla="*/ 87 h 179"/>
                <a:gd name="T22" fmla="*/ 129 w 144"/>
                <a:gd name="T23" fmla="*/ 94 h 179"/>
                <a:gd name="T24" fmla="*/ 136 w 144"/>
                <a:gd name="T25" fmla="*/ 101 h 179"/>
                <a:gd name="T26" fmla="*/ 140 w 144"/>
                <a:gd name="T27" fmla="*/ 114 h 179"/>
                <a:gd name="T28" fmla="*/ 144 w 144"/>
                <a:gd name="T29" fmla="*/ 129 h 179"/>
                <a:gd name="T30" fmla="*/ 127 w 144"/>
                <a:gd name="T31" fmla="*/ 137 h 179"/>
                <a:gd name="T32" fmla="*/ 105 w 144"/>
                <a:gd name="T33" fmla="*/ 146 h 179"/>
                <a:gd name="T34" fmla="*/ 103 w 144"/>
                <a:gd name="T35" fmla="*/ 155 h 179"/>
                <a:gd name="T36" fmla="*/ 96 w 144"/>
                <a:gd name="T37" fmla="*/ 164 h 179"/>
                <a:gd name="T38" fmla="*/ 92 w 144"/>
                <a:gd name="T39" fmla="*/ 168 h 179"/>
                <a:gd name="T40" fmla="*/ 85 w 144"/>
                <a:gd name="T41" fmla="*/ 173 h 179"/>
                <a:gd name="T42" fmla="*/ 77 w 144"/>
                <a:gd name="T43" fmla="*/ 177 h 179"/>
                <a:gd name="T44" fmla="*/ 68 w 144"/>
                <a:gd name="T45" fmla="*/ 179 h 179"/>
                <a:gd name="T46" fmla="*/ 62 w 144"/>
                <a:gd name="T47" fmla="*/ 177 h 179"/>
                <a:gd name="T48" fmla="*/ 57 w 144"/>
                <a:gd name="T49" fmla="*/ 175 h 179"/>
                <a:gd name="T50" fmla="*/ 51 w 144"/>
                <a:gd name="T51" fmla="*/ 170 h 179"/>
                <a:gd name="T52" fmla="*/ 48 w 144"/>
                <a:gd name="T53" fmla="*/ 164 h 179"/>
                <a:gd name="T54" fmla="*/ 46 w 144"/>
                <a:gd name="T55" fmla="*/ 151 h 179"/>
                <a:gd name="T56" fmla="*/ 46 w 144"/>
                <a:gd name="T57" fmla="*/ 137 h 179"/>
                <a:gd name="T58" fmla="*/ 48 w 144"/>
                <a:gd name="T59" fmla="*/ 122 h 179"/>
                <a:gd name="T60" fmla="*/ 51 w 144"/>
                <a:gd name="T61" fmla="*/ 107 h 179"/>
                <a:gd name="T62" fmla="*/ 50 w 144"/>
                <a:gd name="T63" fmla="*/ 101 h 179"/>
                <a:gd name="T64" fmla="*/ 48 w 144"/>
                <a:gd name="T65" fmla="*/ 96 h 179"/>
                <a:gd name="T66" fmla="*/ 42 w 144"/>
                <a:gd name="T67" fmla="*/ 90 h 179"/>
                <a:gd name="T68" fmla="*/ 37 w 144"/>
                <a:gd name="T69" fmla="*/ 88 h 179"/>
                <a:gd name="T70" fmla="*/ 27 w 144"/>
                <a:gd name="T71" fmla="*/ 83 h 179"/>
                <a:gd name="T72" fmla="*/ 24 w 144"/>
                <a:gd name="T73" fmla="*/ 77 h 179"/>
                <a:gd name="T74" fmla="*/ 24 w 144"/>
                <a:gd name="T75" fmla="*/ 74 h 179"/>
                <a:gd name="T76" fmla="*/ 24 w 144"/>
                <a:gd name="T77" fmla="*/ 70 h 179"/>
                <a:gd name="T78" fmla="*/ 24 w 144"/>
                <a:gd name="T79" fmla="*/ 66 h 179"/>
                <a:gd name="T80" fmla="*/ 22 w 144"/>
                <a:gd name="T81" fmla="*/ 64 h 179"/>
                <a:gd name="T82" fmla="*/ 20 w 144"/>
                <a:gd name="T83" fmla="*/ 61 h 179"/>
                <a:gd name="T84" fmla="*/ 16 w 144"/>
                <a:gd name="T85" fmla="*/ 57 h 179"/>
                <a:gd name="T86" fmla="*/ 9 w 144"/>
                <a:gd name="T87" fmla="*/ 52 h 179"/>
                <a:gd name="T88" fmla="*/ 0 w 144"/>
                <a:gd name="T89" fmla="*/ 44 h 179"/>
                <a:gd name="T90" fmla="*/ 0 w 144"/>
                <a:gd name="T91" fmla="*/ 39 h 179"/>
                <a:gd name="T92" fmla="*/ 2 w 144"/>
                <a:gd name="T93" fmla="*/ 33 h 179"/>
                <a:gd name="T94" fmla="*/ 11 w 144"/>
                <a:gd name="T95" fmla="*/ 31 h 179"/>
                <a:gd name="T96" fmla="*/ 22 w 144"/>
                <a:gd name="T97" fmla="*/ 29 h 179"/>
                <a:gd name="T98" fmla="*/ 26 w 144"/>
                <a:gd name="T99" fmla="*/ 20 h 179"/>
                <a:gd name="T100" fmla="*/ 27 w 144"/>
                <a:gd name="T101" fmla="*/ 13 h 179"/>
                <a:gd name="T102" fmla="*/ 31 w 144"/>
                <a:gd name="T103" fmla="*/ 13 h 179"/>
                <a:gd name="T104" fmla="*/ 38 w 144"/>
                <a:gd name="T105" fmla="*/ 18 h 179"/>
                <a:gd name="T106" fmla="*/ 42 w 144"/>
                <a:gd name="T107" fmla="*/ 20 h 179"/>
                <a:gd name="T108" fmla="*/ 48 w 144"/>
                <a:gd name="T109" fmla="*/ 22 h 179"/>
                <a:gd name="T110" fmla="*/ 51 w 144"/>
                <a:gd name="T111" fmla="*/ 22 h 179"/>
                <a:gd name="T112" fmla="*/ 57 w 144"/>
                <a:gd name="T113" fmla="*/ 22 h 179"/>
                <a:gd name="T114" fmla="*/ 66 w 144"/>
                <a:gd name="T115" fmla="*/ 11 h 179"/>
                <a:gd name="T116" fmla="*/ 75 w 144"/>
                <a:gd name="T117" fmla="*/ 0 h 17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4"/>
                <a:gd name="T178" fmla="*/ 0 h 179"/>
                <a:gd name="T179" fmla="*/ 144 w 144"/>
                <a:gd name="T180" fmla="*/ 179 h 17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4" h="179">
                  <a:moveTo>
                    <a:pt x="75" y="0"/>
                  </a:moveTo>
                  <a:lnTo>
                    <a:pt x="90" y="7"/>
                  </a:lnTo>
                  <a:lnTo>
                    <a:pt x="107" y="15"/>
                  </a:lnTo>
                  <a:lnTo>
                    <a:pt x="109" y="20"/>
                  </a:lnTo>
                  <a:lnTo>
                    <a:pt x="112" y="26"/>
                  </a:lnTo>
                  <a:lnTo>
                    <a:pt x="114" y="29"/>
                  </a:lnTo>
                  <a:lnTo>
                    <a:pt x="120" y="33"/>
                  </a:lnTo>
                  <a:lnTo>
                    <a:pt x="118" y="52"/>
                  </a:lnTo>
                  <a:lnTo>
                    <a:pt x="116" y="70"/>
                  </a:lnTo>
                  <a:lnTo>
                    <a:pt x="120" y="79"/>
                  </a:lnTo>
                  <a:lnTo>
                    <a:pt x="123" y="87"/>
                  </a:lnTo>
                  <a:lnTo>
                    <a:pt x="129" y="94"/>
                  </a:lnTo>
                  <a:lnTo>
                    <a:pt x="136" y="101"/>
                  </a:lnTo>
                  <a:lnTo>
                    <a:pt x="140" y="114"/>
                  </a:lnTo>
                  <a:lnTo>
                    <a:pt x="144" y="129"/>
                  </a:lnTo>
                  <a:lnTo>
                    <a:pt x="127" y="137"/>
                  </a:lnTo>
                  <a:lnTo>
                    <a:pt x="105" y="146"/>
                  </a:lnTo>
                  <a:lnTo>
                    <a:pt x="103" y="155"/>
                  </a:lnTo>
                  <a:lnTo>
                    <a:pt x="96" y="164"/>
                  </a:lnTo>
                  <a:lnTo>
                    <a:pt x="92" y="168"/>
                  </a:lnTo>
                  <a:lnTo>
                    <a:pt x="85" y="173"/>
                  </a:lnTo>
                  <a:lnTo>
                    <a:pt x="77" y="177"/>
                  </a:lnTo>
                  <a:lnTo>
                    <a:pt x="68" y="179"/>
                  </a:lnTo>
                  <a:lnTo>
                    <a:pt x="62" y="177"/>
                  </a:lnTo>
                  <a:lnTo>
                    <a:pt x="57" y="175"/>
                  </a:lnTo>
                  <a:lnTo>
                    <a:pt x="51" y="170"/>
                  </a:lnTo>
                  <a:lnTo>
                    <a:pt x="48" y="164"/>
                  </a:lnTo>
                  <a:lnTo>
                    <a:pt x="46" y="151"/>
                  </a:lnTo>
                  <a:lnTo>
                    <a:pt x="46" y="137"/>
                  </a:lnTo>
                  <a:lnTo>
                    <a:pt x="48" y="122"/>
                  </a:lnTo>
                  <a:lnTo>
                    <a:pt x="51" y="107"/>
                  </a:lnTo>
                  <a:lnTo>
                    <a:pt x="50" y="101"/>
                  </a:lnTo>
                  <a:lnTo>
                    <a:pt x="48" y="96"/>
                  </a:lnTo>
                  <a:lnTo>
                    <a:pt x="42" y="90"/>
                  </a:lnTo>
                  <a:lnTo>
                    <a:pt x="37" y="88"/>
                  </a:lnTo>
                  <a:lnTo>
                    <a:pt x="27" y="83"/>
                  </a:lnTo>
                  <a:lnTo>
                    <a:pt x="24" y="77"/>
                  </a:lnTo>
                  <a:lnTo>
                    <a:pt x="24" y="74"/>
                  </a:lnTo>
                  <a:lnTo>
                    <a:pt x="24" y="70"/>
                  </a:lnTo>
                  <a:lnTo>
                    <a:pt x="24" y="66"/>
                  </a:lnTo>
                  <a:lnTo>
                    <a:pt x="22" y="64"/>
                  </a:lnTo>
                  <a:lnTo>
                    <a:pt x="20" y="61"/>
                  </a:lnTo>
                  <a:lnTo>
                    <a:pt x="16" y="57"/>
                  </a:lnTo>
                  <a:lnTo>
                    <a:pt x="9" y="52"/>
                  </a:lnTo>
                  <a:lnTo>
                    <a:pt x="0" y="44"/>
                  </a:lnTo>
                  <a:lnTo>
                    <a:pt x="0" y="39"/>
                  </a:lnTo>
                  <a:lnTo>
                    <a:pt x="2" y="33"/>
                  </a:lnTo>
                  <a:lnTo>
                    <a:pt x="11" y="31"/>
                  </a:lnTo>
                  <a:lnTo>
                    <a:pt x="22" y="29"/>
                  </a:lnTo>
                  <a:lnTo>
                    <a:pt x="26" y="20"/>
                  </a:lnTo>
                  <a:lnTo>
                    <a:pt x="27" y="13"/>
                  </a:lnTo>
                  <a:lnTo>
                    <a:pt x="31" y="13"/>
                  </a:lnTo>
                  <a:lnTo>
                    <a:pt x="38" y="18"/>
                  </a:lnTo>
                  <a:lnTo>
                    <a:pt x="42" y="20"/>
                  </a:lnTo>
                  <a:lnTo>
                    <a:pt x="48" y="22"/>
                  </a:lnTo>
                  <a:lnTo>
                    <a:pt x="51" y="22"/>
                  </a:lnTo>
                  <a:lnTo>
                    <a:pt x="57" y="22"/>
                  </a:lnTo>
                  <a:lnTo>
                    <a:pt x="66" y="11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64" name="Freeform 87"/>
            <p:cNvSpPr>
              <a:spLocks/>
            </p:cNvSpPr>
            <p:nvPr/>
          </p:nvSpPr>
          <p:spPr bwMode="auto">
            <a:xfrm>
              <a:off x="3826965" y="1993282"/>
              <a:ext cx="181062" cy="138930"/>
            </a:xfrm>
            <a:custGeom>
              <a:avLst/>
              <a:gdLst>
                <a:gd name="T0" fmla="*/ 142 w 347"/>
                <a:gd name="T1" fmla="*/ 186 h 273"/>
                <a:gd name="T2" fmla="*/ 153 w 347"/>
                <a:gd name="T3" fmla="*/ 197 h 273"/>
                <a:gd name="T4" fmla="*/ 159 w 347"/>
                <a:gd name="T5" fmla="*/ 221 h 273"/>
                <a:gd name="T6" fmla="*/ 174 w 347"/>
                <a:gd name="T7" fmla="*/ 223 h 273"/>
                <a:gd name="T8" fmla="*/ 189 w 347"/>
                <a:gd name="T9" fmla="*/ 230 h 273"/>
                <a:gd name="T10" fmla="*/ 216 w 347"/>
                <a:gd name="T11" fmla="*/ 242 h 273"/>
                <a:gd name="T12" fmla="*/ 233 w 347"/>
                <a:gd name="T13" fmla="*/ 247 h 273"/>
                <a:gd name="T14" fmla="*/ 244 w 347"/>
                <a:gd name="T15" fmla="*/ 260 h 273"/>
                <a:gd name="T16" fmla="*/ 264 w 347"/>
                <a:gd name="T17" fmla="*/ 258 h 273"/>
                <a:gd name="T18" fmla="*/ 285 w 347"/>
                <a:gd name="T19" fmla="*/ 230 h 273"/>
                <a:gd name="T20" fmla="*/ 294 w 347"/>
                <a:gd name="T21" fmla="*/ 206 h 273"/>
                <a:gd name="T22" fmla="*/ 299 w 347"/>
                <a:gd name="T23" fmla="*/ 192 h 273"/>
                <a:gd name="T24" fmla="*/ 303 w 347"/>
                <a:gd name="T25" fmla="*/ 182 h 273"/>
                <a:gd name="T26" fmla="*/ 316 w 347"/>
                <a:gd name="T27" fmla="*/ 171 h 273"/>
                <a:gd name="T28" fmla="*/ 333 w 347"/>
                <a:gd name="T29" fmla="*/ 160 h 273"/>
                <a:gd name="T30" fmla="*/ 344 w 347"/>
                <a:gd name="T31" fmla="*/ 144 h 273"/>
                <a:gd name="T32" fmla="*/ 347 w 347"/>
                <a:gd name="T33" fmla="*/ 131 h 273"/>
                <a:gd name="T34" fmla="*/ 342 w 347"/>
                <a:gd name="T35" fmla="*/ 123 h 273"/>
                <a:gd name="T36" fmla="*/ 327 w 347"/>
                <a:gd name="T37" fmla="*/ 118 h 273"/>
                <a:gd name="T38" fmla="*/ 316 w 347"/>
                <a:gd name="T39" fmla="*/ 118 h 273"/>
                <a:gd name="T40" fmla="*/ 305 w 347"/>
                <a:gd name="T41" fmla="*/ 118 h 273"/>
                <a:gd name="T42" fmla="*/ 288 w 347"/>
                <a:gd name="T43" fmla="*/ 90 h 273"/>
                <a:gd name="T44" fmla="*/ 268 w 347"/>
                <a:gd name="T45" fmla="*/ 88 h 273"/>
                <a:gd name="T46" fmla="*/ 255 w 347"/>
                <a:gd name="T47" fmla="*/ 79 h 273"/>
                <a:gd name="T48" fmla="*/ 242 w 347"/>
                <a:gd name="T49" fmla="*/ 79 h 273"/>
                <a:gd name="T50" fmla="*/ 240 w 347"/>
                <a:gd name="T51" fmla="*/ 62 h 273"/>
                <a:gd name="T52" fmla="*/ 244 w 347"/>
                <a:gd name="T53" fmla="*/ 46 h 273"/>
                <a:gd name="T54" fmla="*/ 231 w 347"/>
                <a:gd name="T55" fmla="*/ 44 h 273"/>
                <a:gd name="T56" fmla="*/ 207 w 347"/>
                <a:gd name="T57" fmla="*/ 24 h 273"/>
                <a:gd name="T58" fmla="*/ 207 w 347"/>
                <a:gd name="T59" fmla="*/ 33 h 273"/>
                <a:gd name="T60" fmla="*/ 207 w 347"/>
                <a:gd name="T61" fmla="*/ 38 h 273"/>
                <a:gd name="T62" fmla="*/ 201 w 347"/>
                <a:gd name="T63" fmla="*/ 44 h 273"/>
                <a:gd name="T64" fmla="*/ 192 w 347"/>
                <a:gd name="T65" fmla="*/ 49 h 273"/>
                <a:gd name="T66" fmla="*/ 177 w 347"/>
                <a:gd name="T67" fmla="*/ 51 h 273"/>
                <a:gd name="T68" fmla="*/ 155 w 347"/>
                <a:gd name="T69" fmla="*/ 35 h 273"/>
                <a:gd name="T70" fmla="*/ 128 w 347"/>
                <a:gd name="T71" fmla="*/ 36 h 273"/>
                <a:gd name="T72" fmla="*/ 102 w 347"/>
                <a:gd name="T73" fmla="*/ 20 h 273"/>
                <a:gd name="T74" fmla="*/ 78 w 347"/>
                <a:gd name="T75" fmla="*/ 14 h 273"/>
                <a:gd name="T76" fmla="*/ 63 w 347"/>
                <a:gd name="T77" fmla="*/ 1 h 273"/>
                <a:gd name="T78" fmla="*/ 52 w 347"/>
                <a:gd name="T79" fmla="*/ 0 h 273"/>
                <a:gd name="T80" fmla="*/ 37 w 347"/>
                <a:gd name="T81" fmla="*/ 11 h 273"/>
                <a:gd name="T82" fmla="*/ 35 w 347"/>
                <a:gd name="T83" fmla="*/ 22 h 273"/>
                <a:gd name="T84" fmla="*/ 39 w 347"/>
                <a:gd name="T85" fmla="*/ 36 h 273"/>
                <a:gd name="T86" fmla="*/ 39 w 347"/>
                <a:gd name="T87" fmla="*/ 44 h 273"/>
                <a:gd name="T88" fmla="*/ 32 w 347"/>
                <a:gd name="T89" fmla="*/ 55 h 273"/>
                <a:gd name="T90" fmla="*/ 19 w 347"/>
                <a:gd name="T91" fmla="*/ 64 h 273"/>
                <a:gd name="T92" fmla="*/ 0 w 347"/>
                <a:gd name="T93" fmla="*/ 72 h 273"/>
                <a:gd name="T94" fmla="*/ 13 w 347"/>
                <a:gd name="T95" fmla="*/ 101 h 273"/>
                <a:gd name="T96" fmla="*/ 30 w 347"/>
                <a:gd name="T97" fmla="*/ 131 h 273"/>
                <a:gd name="T98" fmla="*/ 72 w 347"/>
                <a:gd name="T99" fmla="*/ 138 h 273"/>
                <a:gd name="T100" fmla="*/ 83 w 347"/>
                <a:gd name="T101" fmla="*/ 158 h 273"/>
                <a:gd name="T102" fmla="*/ 92 w 347"/>
                <a:gd name="T103" fmla="*/ 171 h 273"/>
                <a:gd name="T104" fmla="*/ 104 w 347"/>
                <a:gd name="T105" fmla="*/ 182 h 273"/>
                <a:gd name="T106" fmla="*/ 124 w 347"/>
                <a:gd name="T107" fmla="*/ 194 h 27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7"/>
                <a:gd name="T163" fmla="*/ 0 h 273"/>
                <a:gd name="T164" fmla="*/ 347 w 347"/>
                <a:gd name="T165" fmla="*/ 273 h 27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7" h="273">
                  <a:moveTo>
                    <a:pt x="124" y="194"/>
                  </a:moveTo>
                  <a:lnTo>
                    <a:pt x="142" y="186"/>
                  </a:lnTo>
                  <a:lnTo>
                    <a:pt x="152" y="182"/>
                  </a:lnTo>
                  <a:lnTo>
                    <a:pt x="153" y="197"/>
                  </a:lnTo>
                  <a:lnTo>
                    <a:pt x="153" y="218"/>
                  </a:lnTo>
                  <a:lnTo>
                    <a:pt x="159" y="221"/>
                  </a:lnTo>
                  <a:lnTo>
                    <a:pt x="166" y="223"/>
                  </a:lnTo>
                  <a:lnTo>
                    <a:pt x="174" y="223"/>
                  </a:lnTo>
                  <a:lnTo>
                    <a:pt x="179" y="225"/>
                  </a:lnTo>
                  <a:lnTo>
                    <a:pt x="189" y="230"/>
                  </a:lnTo>
                  <a:lnTo>
                    <a:pt x="209" y="236"/>
                  </a:lnTo>
                  <a:lnTo>
                    <a:pt x="216" y="242"/>
                  </a:lnTo>
                  <a:lnTo>
                    <a:pt x="222" y="249"/>
                  </a:lnTo>
                  <a:lnTo>
                    <a:pt x="233" y="247"/>
                  </a:lnTo>
                  <a:lnTo>
                    <a:pt x="242" y="247"/>
                  </a:lnTo>
                  <a:lnTo>
                    <a:pt x="244" y="260"/>
                  </a:lnTo>
                  <a:lnTo>
                    <a:pt x="246" y="273"/>
                  </a:lnTo>
                  <a:lnTo>
                    <a:pt x="264" y="258"/>
                  </a:lnTo>
                  <a:lnTo>
                    <a:pt x="283" y="243"/>
                  </a:lnTo>
                  <a:lnTo>
                    <a:pt x="285" y="230"/>
                  </a:lnTo>
                  <a:lnTo>
                    <a:pt x="286" y="218"/>
                  </a:lnTo>
                  <a:lnTo>
                    <a:pt x="294" y="206"/>
                  </a:lnTo>
                  <a:lnTo>
                    <a:pt x="298" y="197"/>
                  </a:lnTo>
                  <a:lnTo>
                    <a:pt x="299" y="192"/>
                  </a:lnTo>
                  <a:lnTo>
                    <a:pt x="301" y="186"/>
                  </a:lnTo>
                  <a:lnTo>
                    <a:pt x="303" y="182"/>
                  </a:lnTo>
                  <a:lnTo>
                    <a:pt x="307" y="177"/>
                  </a:lnTo>
                  <a:lnTo>
                    <a:pt x="316" y="171"/>
                  </a:lnTo>
                  <a:lnTo>
                    <a:pt x="327" y="164"/>
                  </a:lnTo>
                  <a:lnTo>
                    <a:pt x="333" y="160"/>
                  </a:lnTo>
                  <a:lnTo>
                    <a:pt x="340" y="157"/>
                  </a:lnTo>
                  <a:lnTo>
                    <a:pt x="344" y="144"/>
                  </a:lnTo>
                  <a:lnTo>
                    <a:pt x="347" y="131"/>
                  </a:lnTo>
                  <a:lnTo>
                    <a:pt x="342" y="123"/>
                  </a:lnTo>
                  <a:lnTo>
                    <a:pt x="336" y="120"/>
                  </a:lnTo>
                  <a:lnTo>
                    <a:pt x="327" y="118"/>
                  </a:lnTo>
                  <a:lnTo>
                    <a:pt x="316" y="118"/>
                  </a:lnTo>
                  <a:lnTo>
                    <a:pt x="310" y="120"/>
                  </a:lnTo>
                  <a:lnTo>
                    <a:pt x="305" y="118"/>
                  </a:lnTo>
                  <a:lnTo>
                    <a:pt x="298" y="103"/>
                  </a:lnTo>
                  <a:lnTo>
                    <a:pt x="288" y="90"/>
                  </a:lnTo>
                  <a:lnTo>
                    <a:pt x="275" y="86"/>
                  </a:lnTo>
                  <a:lnTo>
                    <a:pt x="268" y="88"/>
                  </a:lnTo>
                  <a:lnTo>
                    <a:pt x="259" y="83"/>
                  </a:lnTo>
                  <a:lnTo>
                    <a:pt x="255" y="79"/>
                  </a:lnTo>
                  <a:lnTo>
                    <a:pt x="248" y="79"/>
                  </a:lnTo>
                  <a:lnTo>
                    <a:pt x="242" y="79"/>
                  </a:lnTo>
                  <a:lnTo>
                    <a:pt x="240" y="70"/>
                  </a:lnTo>
                  <a:lnTo>
                    <a:pt x="240" y="62"/>
                  </a:lnTo>
                  <a:lnTo>
                    <a:pt x="242" y="53"/>
                  </a:lnTo>
                  <a:lnTo>
                    <a:pt x="244" y="46"/>
                  </a:lnTo>
                  <a:lnTo>
                    <a:pt x="237" y="44"/>
                  </a:lnTo>
                  <a:lnTo>
                    <a:pt x="231" y="44"/>
                  </a:lnTo>
                  <a:lnTo>
                    <a:pt x="218" y="31"/>
                  </a:lnTo>
                  <a:lnTo>
                    <a:pt x="207" y="24"/>
                  </a:lnTo>
                  <a:lnTo>
                    <a:pt x="205" y="27"/>
                  </a:lnTo>
                  <a:lnTo>
                    <a:pt x="207" y="33"/>
                  </a:lnTo>
                  <a:lnTo>
                    <a:pt x="207" y="36"/>
                  </a:lnTo>
                  <a:lnTo>
                    <a:pt x="207" y="38"/>
                  </a:lnTo>
                  <a:lnTo>
                    <a:pt x="205" y="42"/>
                  </a:lnTo>
                  <a:lnTo>
                    <a:pt x="201" y="44"/>
                  </a:lnTo>
                  <a:lnTo>
                    <a:pt x="198" y="48"/>
                  </a:lnTo>
                  <a:lnTo>
                    <a:pt x="192" y="49"/>
                  </a:lnTo>
                  <a:lnTo>
                    <a:pt x="185" y="51"/>
                  </a:lnTo>
                  <a:lnTo>
                    <a:pt x="177" y="51"/>
                  </a:lnTo>
                  <a:lnTo>
                    <a:pt x="166" y="44"/>
                  </a:lnTo>
                  <a:lnTo>
                    <a:pt x="155" y="35"/>
                  </a:lnTo>
                  <a:lnTo>
                    <a:pt x="142" y="35"/>
                  </a:lnTo>
                  <a:lnTo>
                    <a:pt x="128" y="36"/>
                  </a:lnTo>
                  <a:lnTo>
                    <a:pt x="115" y="29"/>
                  </a:lnTo>
                  <a:lnTo>
                    <a:pt x="102" y="20"/>
                  </a:lnTo>
                  <a:lnTo>
                    <a:pt x="89" y="20"/>
                  </a:lnTo>
                  <a:lnTo>
                    <a:pt x="78" y="14"/>
                  </a:lnTo>
                  <a:lnTo>
                    <a:pt x="70" y="7"/>
                  </a:lnTo>
                  <a:lnTo>
                    <a:pt x="63" y="1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3" y="5"/>
                  </a:lnTo>
                  <a:lnTo>
                    <a:pt x="37" y="11"/>
                  </a:lnTo>
                  <a:lnTo>
                    <a:pt x="35" y="16"/>
                  </a:lnTo>
                  <a:lnTo>
                    <a:pt x="35" y="22"/>
                  </a:lnTo>
                  <a:lnTo>
                    <a:pt x="37" y="29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5" y="49"/>
                  </a:lnTo>
                  <a:lnTo>
                    <a:pt x="32" y="55"/>
                  </a:lnTo>
                  <a:lnTo>
                    <a:pt x="26" y="60"/>
                  </a:lnTo>
                  <a:lnTo>
                    <a:pt x="19" y="64"/>
                  </a:lnTo>
                  <a:lnTo>
                    <a:pt x="9" y="68"/>
                  </a:lnTo>
                  <a:lnTo>
                    <a:pt x="0" y="72"/>
                  </a:lnTo>
                  <a:lnTo>
                    <a:pt x="8" y="86"/>
                  </a:lnTo>
                  <a:lnTo>
                    <a:pt x="13" y="101"/>
                  </a:lnTo>
                  <a:lnTo>
                    <a:pt x="20" y="116"/>
                  </a:lnTo>
                  <a:lnTo>
                    <a:pt x="30" y="131"/>
                  </a:lnTo>
                  <a:lnTo>
                    <a:pt x="59" y="138"/>
                  </a:lnTo>
                  <a:lnTo>
                    <a:pt x="72" y="138"/>
                  </a:lnTo>
                  <a:lnTo>
                    <a:pt x="78" y="145"/>
                  </a:lnTo>
                  <a:lnTo>
                    <a:pt x="83" y="158"/>
                  </a:lnTo>
                  <a:lnTo>
                    <a:pt x="87" y="164"/>
                  </a:lnTo>
                  <a:lnTo>
                    <a:pt x="92" y="171"/>
                  </a:lnTo>
                  <a:lnTo>
                    <a:pt x="98" y="177"/>
                  </a:lnTo>
                  <a:lnTo>
                    <a:pt x="104" y="182"/>
                  </a:lnTo>
                  <a:lnTo>
                    <a:pt x="115" y="190"/>
                  </a:lnTo>
                  <a:lnTo>
                    <a:pt x="124" y="19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65" name="Freeform 88"/>
            <p:cNvSpPr>
              <a:spLocks/>
            </p:cNvSpPr>
            <p:nvPr/>
          </p:nvSpPr>
          <p:spPr bwMode="auto">
            <a:xfrm>
              <a:off x="3879144" y="2282848"/>
              <a:ext cx="112707" cy="119083"/>
            </a:xfrm>
            <a:custGeom>
              <a:avLst/>
              <a:gdLst>
                <a:gd name="T0" fmla="*/ 170 w 216"/>
                <a:gd name="T1" fmla="*/ 223 h 234"/>
                <a:gd name="T2" fmla="*/ 185 w 216"/>
                <a:gd name="T3" fmla="*/ 212 h 234"/>
                <a:gd name="T4" fmla="*/ 198 w 216"/>
                <a:gd name="T5" fmla="*/ 207 h 234"/>
                <a:gd name="T6" fmla="*/ 203 w 216"/>
                <a:gd name="T7" fmla="*/ 175 h 234"/>
                <a:gd name="T8" fmla="*/ 209 w 216"/>
                <a:gd name="T9" fmla="*/ 144 h 234"/>
                <a:gd name="T10" fmla="*/ 216 w 216"/>
                <a:gd name="T11" fmla="*/ 136 h 234"/>
                <a:gd name="T12" fmla="*/ 212 w 216"/>
                <a:gd name="T13" fmla="*/ 129 h 234"/>
                <a:gd name="T14" fmla="*/ 194 w 216"/>
                <a:gd name="T15" fmla="*/ 120 h 234"/>
                <a:gd name="T16" fmla="*/ 174 w 216"/>
                <a:gd name="T17" fmla="*/ 101 h 234"/>
                <a:gd name="T18" fmla="*/ 166 w 216"/>
                <a:gd name="T19" fmla="*/ 85 h 234"/>
                <a:gd name="T20" fmla="*/ 161 w 216"/>
                <a:gd name="T21" fmla="*/ 86 h 234"/>
                <a:gd name="T22" fmla="*/ 155 w 216"/>
                <a:gd name="T23" fmla="*/ 90 h 234"/>
                <a:gd name="T24" fmla="*/ 142 w 216"/>
                <a:gd name="T25" fmla="*/ 88 h 234"/>
                <a:gd name="T26" fmla="*/ 133 w 216"/>
                <a:gd name="T27" fmla="*/ 75 h 234"/>
                <a:gd name="T28" fmla="*/ 131 w 216"/>
                <a:gd name="T29" fmla="*/ 62 h 234"/>
                <a:gd name="T30" fmla="*/ 127 w 216"/>
                <a:gd name="T31" fmla="*/ 48 h 234"/>
                <a:gd name="T32" fmla="*/ 107 w 216"/>
                <a:gd name="T33" fmla="*/ 31 h 234"/>
                <a:gd name="T34" fmla="*/ 87 w 216"/>
                <a:gd name="T35" fmla="*/ 14 h 234"/>
                <a:gd name="T36" fmla="*/ 76 w 216"/>
                <a:gd name="T37" fmla="*/ 3 h 234"/>
                <a:gd name="T38" fmla="*/ 59 w 216"/>
                <a:gd name="T39" fmla="*/ 1 h 234"/>
                <a:gd name="T40" fmla="*/ 53 w 216"/>
                <a:gd name="T41" fmla="*/ 13 h 234"/>
                <a:gd name="T42" fmla="*/ 55 w 216"/>
                <a:gd name="T43" fmla="*/ 33 h 234"/>
                <a:gd name="T44" fmla="*/ 52 w 216"/>
                <a:gd name="T45" fmla="*/ 51 h 234"/>
                <a:gd name="T46" fmla="*/ 44 w 216"/>
                <a:gd name="T47" fmla="*/ 53 h 234"/>
                <a:gd name="T48" fmla="*/ 41 w 216"/>
                <a:gd name="T49" fmla="*/ 61 h 234"/>
                <a:gd name="T50" fmla="*/ 39 w 216"/>
                <a:gd name="T51" fmla="*/ 79 h 234"/>
                <a:gd name="T52" fmla="*/ 39 w 216"/>
                <a:gd name="T53" fmla="*/ 98 h 234"/>
                <a:gd name="T54" fmla="*/ 15 w 216"/>
                <a:gd name="T55" fmla="*/ 105 h 234"/>
                <a:gd name="T56" fmla="*/ 0 w 216"/>
                <a:gd name="T57" fmla="*/ 107 h 234"/>
                <a:gd name="T58" fmla="*/ 5 w 216"/>
                <a:gd name="T59" fmla="*/ 122 h 234"/>
                <a:gd name="T60" fmla="*/ 17 w 216"/>
                <a:gd name="T61" fmla="*/ 140 h 234"/>
                <a:gd name="T62" fmla="*/ 35 w 216"/>
                <a:gd name="T63" fmla="*/ 147 h 234"/>
                <a:gd name="T64" fmla="*/ 46 w 216"/>
                <a:gd name="T65" fmla="*/ 157 h 234"/>
                <a:gd name="T66" fmla="*/ 57 w 216"/>
                <a:gd name="T67" fmla="*/ 160 h 234"/>
                <a:gd name="T68" fmla="*/ 70 w 216"/>
                <a:gd name="T69" fmla="*/ 173 h 234"/>
                <a:gd name="T70" fmla="*/ 87 w 216"/>
                <a:gd name="T71" fmla="*/ 188 h 234"/>
                <a:gd name="T72" fmla="*/ 107 w 216"/>
                <a:gd name="T73" fmla="*/ 203 h 234"/>
                <a:gd name="T74" fmla="*/ 129 w 216"/>
                <a:gd name="T75" fmla="*/ 208 h 234"/>
                <a:gd name="T76" fmla="*/ 150 w 216"/>
                <a:gd name="T77" fmla="*/ 212 h 234"/>
                <a:gd name="T78" fmla="*/ 159 w 216"/>
                <a:gd name="T79" fmla="*/ 225 h 23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16"/>
                <a:gd name="T121" fmla="*/ 0 h 234"/>
                <a:gd name="T122" fmla="*/ 216 w 216"/>
                <a:gd name="T123" fmla="*/ 234 h 23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16" h="234">
                  <a:moveTo>
                    <a:pt x="162" y="234"/>
                  </a:moveTo>
                  <a:lnTo>
                    <a:pt x="170" y="223"/>
                  </a:lnTo>
                  <a:lnTo>
                    <a:pt x="179" y="212"/>
                  </a:lnTo>
                  <a:lnTo>
                    <a:pt x="185" y="212"/>
                  </a:lnTo>
                  <a:lnTo>
                    <a:pt x="192" y="210"/>
                  </a:lnTo>
                  <a:lnTo>
                    <a:pt x="198" y="207"/>
                  </a:lnTo>
                  <a:lnTo>
                    <a:pt x="203" y="201"/>
                  </a:lnTo>
                  <a:lnTo>
                    <a:pt x="203" y="175"/>
                  </a:lnTo>
                  <a:lnTo>
                    <a:pt x="203" y="149"/>
                  </a:lnTo>
                  <a:lnTo>
                    <a:pt x="209" y="144"/>
                  </a:lnTo>
                  <a:lnTo>
                    <a:pt x="216" y="140"/>
                  </a:lnTo>
                  <a:lnTo>
                    <a:pt x="216" y="136"/>
                  </a:lnTo>
                  <a:lnTo>
                    <a:pt x="216" y="133"/>
                  </a:lnTo>
                  <a:lnTo>
                    <a:pt x="212" y="129"/>
                  </a:lnTo>
                  <a:lnTo>
                    <a:pt x="209" y="123"/>
                  </a:lnTo>
                  <a:lnTo>
                    <a:pt x="194" y="120"/>
                  </a:lnTo>
                  <a:lnTo>
                    <a:pt x="179" y="118"/>
                  </a:lnTo>
                  <a:lnTo>
                    <a:pt x="174" y="101"/>
                  </a:lnTo>
                  <a:lnTo>
                    <a:pt x="172" y="86"/>
                  </a:lnTo>
                  <a:lnTo>
                    <a:pt x="166" y="85"/>
                  </a:lnTo>
                  <a:lnTo>
                    <a:pt x="162" y="85"/>
                  </a:lnTo>
                  <a:lnTo>
                    <a:pt x="161" y="86"/>
                  </a:lnTo>
                  <a:lnTo>
                    <a:pt x="159" y="86"/>
                  </a:lnTo>
                  <a:lnTo>
                    <a:pt x="155" y="90"/>
                  </a:lnTo>
                  <a:lnTo>
                    <a:pt x="151" y="92"/>
                  </a:lnTo>
                  <a:lnTo>
                    <a:pt x="142" y="88"/>
                  </a:lnTo>
                  <a:lnTo>
                    <a:pt x="137" y="83"/>
                  </a:lnTo>
                  <a:lnTo>
                    <a:pt x="133" y="75"/>
                  </a:lnTo>
                  <a:lnTo>
                    <a:pt x="131" y="68"/>
                  </a:lnTo>
                  <a:lnTo>
                    <a:pt x="131" y="62"/>
                  </a:lnTo>
                  <a:lnTo>
                    <a:pt x="129" y="55"/>
                  </a:lnTo>
                  <a:lnTo>
                    <a:pt x="127" y="48"/>
                  </a:lnTo>
                  <a:lnTo>
                    <a:pt x="124" y="42"/>
                  </a:lnTo>
                  <a:lnTo>
                    <a:pt x="107" y="31"/>
                  </a:lnTo>
                  <a:lnTo>
                    <a:pt x="90" y="22"/>
                  </a:lnTo>
                  <a:lnTo>
                    <a:pt x="87" y="14"/>
                  </a:lnTo>
                  <a:lnTo>
                    <a:pt x="81" y="9"/>
                  </a:lnTo>
                  <a:lnTo>
                    <a:pt x="76" y="3"/>
                  </a:lnTo>
                  <a:lnTo>
                    <a:pt x="66" y="0"/>
                  </a:lnTo>
                  <a:lnTo>
                    <a:pt x="59" y="1"/>
                  </a:lnTo>
                  <a:lnTo>
                    <a:pt x="55" y="5"/>
                  </a:lnTo>
                  <a:lnTo>
                    <a:pt x="53" y="13"/>
                  </a:lnTo>
                  <a:lnTo>
                    <a:pt x="53" y="18"/>
                  </a:lnTo>
                  <a:lnTo>
                    <a:pt x="55" y="33"/>
                  </a:lnTo>
                  <a:lnTo>
                    <a:pt x="55" y="48"/>
                  </a:lnTo>
                  <a:lnTo>
                    <a:pt x="52" y="51"/>
                  </a:lnTo>
                  <a:lnTo>
                    <a:pt x="46" y="51"/>
                  </a:lnTo>
                  <a:lnTo>
                    <a:pt x="44" y="53"/>
                  </a:lnTo>
                  <a:lnTo>
                    <a:pt x="42" y="57"/>
                  </a:lnTo>
                  <a:lnTo>
                    <a:pt x="41" y="61"/>
                  </a:lnTo>
                  <a:lnTo>
                    <a:pt x="39" y="70"/>
                  </a:lnTo>
                  <a:lnTo>
                    <a:pt x="39" y="79"/>
                  </a:lnTo>
                  <a:lnTo>
                    <a:pt x="41" y="88"/>
                  </a:lnTo>
                  <a:lnTo>
                    <a:pt x="39" y="98"/>
                  </a:lnTo>
                  <a:lnTo>
                    <a:pt x="33" y="103"/>
                  </a:lnTo>
                  <a:lnTo>
                    <a:pt x="15" y="105"/>
                  </a:lnTo>
                  <a:lnTo>
                    <a:pt x="0" y="107"/>
                  </a:lnTo>
                  <a:lnTo>
                    <a:pt x="5" y="122"/>
                  </a:lnTo>
                  <a:lnTo>
                    <a:pt x="7" y="138"/>
                  </a:lnTo>
                  <a:lnTo>
                    <a:pt x="17" y="140"/>
                  </a:lnTo>
                  <a:lnTo>
                    <a:pt x="28" y="142"/>
                  </a:lnTo>
                  <a:lnTo>
                    <a:pt x="35" y="147"/>
                  </a:lnTo>
                  <a:lnTo>
                    <a:pt x="42" y="153"/>
                  </a:lnTo>
                  <a:lnTo>
                    <a:pt x="46" y="157"/>
                  </a:lnTo>
                  <a:lnTo>
                    <a:pt x="50" y="159"/>
                  </a:lnTo>
                  <a:lnTo>
                    <a:pt x="57" y="160"/>
                  </a:lnTo>
                  <a:lnTo>
                    <a:pt x="63" y="160"/>
                  </a:lnTo>
                  <a:lnTo>
                    <a:pt x="70" y="173"/>
                  </a:lnTo>
                  <a:lnTo>
                    <a:pt x="77" y="184"/>
                  </a:lnTo>
                  <a:lnTo>
                    <a:pt x="87" y="188"/>
                  </a:lnTo>
                  <a:lnTo>
                    <a:pt x="100" y="190"/>
                  </a:lnTo>
                  <a:lnTo>
                    <a:pt x="107" y="203"/>
                  </a:lnTo>
                  <a:lnTo>
                    <a:pt x="114" y="212"/>
                  </a:lnTo>
                  <a:lnTo>
                    <a:pt x="129" y="208"/>
                  </a:lnTo>
                  <a:lnTo>
                    <a:pt x="144" y="207"/>
                  </a:lnTo>
                  <a:lnTo>
                    <a:pt x="150" y="212"/>
                  </a:lnTo>
                  <a:lnTo>
                    <a:pt x="155" y="218"/>
                  </a:lnTo>
                  <a:lnTo>
                    <a:pt x="159" y="225"/>
                  </a:lnTo>
                  <a:lnTo>
                    <a:pt x="162" y="23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66" name="Freeform 89"/>
            <p:cNvSpPr>
              <a:spLocks/>
            </p:cNvSpPr>
            <p:nvPr/>
          </p:nvSpPr>
          <p:spPr bwMode="auto">
            <a:xfrm>
              <a:off x="3963674" y="2340863"/>
              <a:ext cx="117925" cy="84987"/>
            </a:xfrm>
            <a:custGeom>
              <a:avLst/>
              <a:gdLst>
                <a:gd name="T0" fmla="*/ 126 w 226"/>
                <a:gd name="T1" fmla="*/ 17 h 167"/>
                <a:gd name="T2" fmla="*/ 122 w 226"/>
                <a:gd name="T3" fmla="*/ 4 h 167"/>
                <a:gd name="T4" fmla="*/ 111 w 226"/>
                <a:gd name="T5" fmla="*/ 0 h 167"/>
                <a:gd name="T6" fmla="*/ 104 w 226"/>
                <a:gd name="T7" fmla="*/ 2 h 167"/>
                <a:gd name="T8" fmla="*/ 95 w 226"/>
                <a:gd name="T9" fmla="*/ 13 h 167"/>
                <a:gd name="T10" fmla="*/ 84 w 226"/>
                <a:gd name="T11" fmla="*/ 22 h 167"/>
                <a:gd name="T12" fmla="*/ 61 w 226"/>
                <a:gd name="T13" fmla="*/ 17 h 167"/>
                <a:gd name="T14" fmla="*/ 54 w 226"/>
                <a:gd name="T15" fmla="*/ 21 h 167"/>
                <a:gd name="T16" fmla="*/ 47 w 226"/>
                <a:gd name="T17" fmla="*/ 30 h 167"/>
                <a:gd name="T18" fmla="*/ 41 w 226"/>
                <a:gd name="T19" fmla="*/ 61 h 167"/>
                <a:gd name="T20" fmla="*/ 36 w 226"/>
                <a:gd name="T21" fmla="*/ 93 h 167"/>
                <a:gd name="T22" fmla="*/ 23 w 226"/>
                <a:gd name="T23" fmla="*/ 98 h 167"/>
                <a:gd name="T24" fmla="*/ 8 w 226"/>
                <a:gd name="T25" fmla="*/ 109 h 167"/>
                <a:gd name="T26" fmla="*/ 2 w 226"/>
                <a:gd name="T27" fmla="*/ 128 h 167"/>
                <a:gd name="T28" fmla="*/ 10 w 226"/>
                <a:gd name="T29" fmla="*/ 139 h 167"/>
                <a:gd name="T30" fmla="*/ 24 w 226"/>
                <a:gd name="T31" fmla="*/ 142 h 167"/>
                <a:gd name="T32" fmla="*/ 39 w 226"/>
                <a:gd name="T33" fmla="*/ 148 h 167"/>
                <a:gd name="T34" fmla="*/ 54 w 226"/>
                <a:gd name="T35" fmla="*/ 159 h 167"/>
                <a:gd name="T36" fmla="*/ 63 w 226"/>
                <a:gd name="T37" fmla="*/ 163 h 167"/>
                <a:gd name="T38" fmla="*/ 69 w 226"/>
                <a:gd name="T39" fmla="*/ 163 h 167"/>
                <a:gd name="T40" fmla="*/ 72 w 226"/>
                <a:gd name="T41" fmla="*/ 155 h 167"/>
                <a:gd name="T42" fmla="*/ 76 w 226"/>
                <a:gd name="T43" fmla="*/ 130 h 167"/>
                <a:gd name="T44" fmla="*/ 87 w 226"/>
                <a:gd name="T45" fmla="*/ 111 h 167"/>
                <a:gd name="T46" fmla="*/ 97 w 226"/>
                <a:gd name="T47" fmla="*/ 111 h 167"/>
                <a:gd name="T48" fmla="*/ 104 w 226"/>
                <a:gd name="T49" fmla="*/ 117 h 167"/>
                <a:gd name="T50" fmla="*/ 121 w 226"/>
                <a:gd name="T51" fmla="*/ 115 h 167"/>
                <a:gd name="T52" fmla="*/ 139 w 226"/>
                <a:gd name="T53" fmla="*/ 117 h 167"/>
                <a:gd name="T54" fmla="*/ 167 w 226"/>
                <a:gd name="T55" fmla="*/ 146 h 167"/>
                <a:gd name="T56" fmla="*/ 185 w 226"/>
                <a:gd name="T57" fmla="*/ 157 h 167"/>
                <a:gd name="T58" fmla="*/ 193 w 226"/>
                <a:gd name="T59" fmla="*/ 146 h 167"/>
                <a:gd name="T60" fmla="*/ 209 w 226"/>
                <a:gd name="T61" fmla="*/ 133 h 167"/>
                <a:gd name="T62" fmla="*/ 222 w 226"/>
                <a:gd name="T63" fmla="*/ 113 h 167"/>
                <a:gd name="T64" fmla="*/ 222 w 226"/>
                <a:gd name="T65" fmla="*/ 91 h 167"/>
                <a:gd name="T66" fmla="*/ 207 w 226"/>
                <a:gd name="T67" fmla="*/ 76 h 167"/>
                <a:gd name="T68" fmla="*/ 185 w 226"/>
                <a:gd name="T69" fmla="*/ 70 h 167"/>
                <a:gd name="T70" fmla="*/ 176 w 226"/>
                <a:gd name="T71" fmla="*/ 61 h 167"/>
                <a:gd name="T72" fmla="*/ 169 w 226"/>
                <a:gd name="T73" fmla="*/ 57 h 167"/>
                <a:gd name="T74" fmla="*/ 157 w 226"/>
                <a:gd name="T75" fmla="*/ 57 h 167"/>
                <a:gd name="T76" fmla="*/ 152 w 226"/>
                <a:gd name="T77" fmla="*/ 48 h 167"/>
                <a:gd name="T78" fmla="*/ 139 w 226"/>
                <a:gd name="T79" fmla="*/ 39 h 167"/>
                <a:gd name="T80" fmla="*/ 130 w 226"/>
                <a:gd name="T81" fmla="*/ 33 h 167"/>
                <a:gd name="T82" fmla="*/ 128 w 226"/>
                <a:gd name="T83" fmla="*/ 28 h 16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6"/>
                <a:gd name="T127" fmla="*/ 0 h 167"/>
                <a:gd name="T128" fmla="*/ 226 w 226"/>
                <a:gd name="T129" fmla="*/ 167 h 16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6" h="167">
                  <a:moveTo>
                    <a:pt x="128" y="24"/>
                  </a:moveTo>
                  <a:lnTo>
                    <a:pt x="126" y="17"/>
                  </a:lnTo>
                  <a:lnTo>
                    <a:pt x="126" y="11"/>
                  </a:lnTo>
                  <a:lnTo>
                    <a:pt x="122" y="4"/>
                  </a:lnTo>
                  <a:lnTo>
                    <a:pt x="119" y="0"/>
                  </a:lnTo>
                  <a:lnTo>
                    <a:pt x="111" y="0"/>
                  </a:lnTo>
                  <a:lnTo>
                    <a:pt x="108" y="0"/>
                  </a:lnTo>
                  <a:lnTo>
                    <a:pt x="104" y="2"/>
                  </a:lnTo>
                  <a:lnTo>
                    <a:pt x="100" y="6"/>
                  </a:lnTo>
                  <a:lnTo>
                    <a:pt x="95" y="13"/>
                  </a:lnTo>
                  <a:lnTo>
                    <a:pt x="91" y="21"/>
                  </a:lnTo>
                  <a:lnTo>
                    <a:pt x="84" y="22"/>
                  </a:lnTo>
                  <a:lnTo>
                    <a:pt x="72" y="21"/>
                  </a:lnTo>
                  <a:lnTo>
                    <a:pt x="61" y="17"/>
                  </a:lnTo>
                  <a:lnTo>
                    <a:pt x="50" y="13"/>
                  </a:lnTo>
                  <a:lnTo>
                    <a:pt x="54" y="21"/>
                  </a:lnTo>
                  <a:lnTo>
                    <a:pt x="54" y="26"/>
                  </a:lnTo>
                  <a:lnTo>
                    <a:pt x="47" y="30"/>
                  </a:lnTo>
                  <a:lnTo>
                    <a:pt x="41" y="35"/>
                  </a:lnTo>
                  <a:lnTo>
                    <a:pt x="41" y="61"/>
                  </a:lnTo>
                  <a:lnTo>
                    <a:pt x="41" y="87"/>
                  </a:lnTo>
                  <a:lnTo>
                    <a:pt x="36" y="93"/>
                  </a:lnTo>
                  <a:lnTo>
                    <a:pt x="30" y="96"/>
                  </a:lnTo>
                  <a:lnTo>
                    <a:pt x="23" y="98"/>
                  </a:lnTo>
                  <a:lnTo>
                    <a:pt x="17" y="98"/>
                  </a:lnTo>
                  <a:lnTo>
                    <a:pt x="8" y="109"/>
                  </a:lnTo>
                  <a:lnTo>
                    <a:pt x="0" y="120"/>
                  </a:lnTo>
                  <a:lnTo>
                    <a:pt x="2" y="128"/>
                  </a:lnTo>
                  <a:lnTo>
                    <a:pt x="6" y="133"/>
                  </a:lnTo>
                  <a:lnTo>
                    <a:pt x="10" y="139"/>
                  </a:lnTo>
                  <a:lnTo>
                    <a:pt x="15" y="142"/>
                  </a:lnTo>
                  <a:lnTo>
                    <a:pt x="24" y="142"/>
                  </a:lnTo>
                  <a:lnTo>
                    <a:pt x="34" y="142"/>
                  </a:lnTo>
                  <a:lnTo>
                    <a:pt x="39" y="148"/>
                  </a:lnTo>
                  <a:lnTo>
                    <a:pt x="45" y="157"/>
                  </a:lnTo>
                  <a:lnTo>
                    <a:pt x="54" y="159"/>
                  </a:lnTo>
                  <a:lnTo>
                    <a:pt x="61" y="161"/>
                  </a:lnTo>
                  <a:lnTo>
                    <a:pt x="63" y="163"/>
                  </a:lnTo>
                  <a:lnTo>
                    <a:pt x="65" y="167"/>
                  </a:lnTo>
                  <a:lnTo>
                    <a:pt x="69" y="163"/>
                  </a:lnTo>
                  <a:lnTo>
                    <a:pt x="72" y="159"/>
                  </a:lnTo>
                  <a:lnTo>
                    <a:pt x="72" y="155"/>
                  </a:lnTo>
                  <a:lnTo>
                    <a:pt x="72" y="152"/>
                  </a:lnTo>
                  <a:lnTo>
                    <a:pt x="76" y="130"/>
                  </a:lnTo>
                  <a:lnTo>
                    <a:pt x="80" y="113"/>
                  </a:lnTo>
                  <a:lnTo>
                    <a:pt x="87" y="111"/>
                  </a:lnTo>
                  <a:lnTo>
                    <a:pt x="93" y="111"/>
                  </a:lnTo>
                  <a:lnTo>
                    <a:pt x="97" y="111"/>
                  </a:lnTo>
                  <a:lnTo>
                    <a:pt x="98" y="113"/>
                  </a:lnTo>
                  <a:lnTo>
                    <a:pt x="104" y="117"/>
                  </a:lnTo>
                  <a:lnTo>
                    <a:pt x="111" y="118"/>
                  </a:lnTo>
                  <a:lnTo>
                    <a:pt x="121" y="115"/>
                  </a:lnTo>
                  <a:lnTo>
                    <a:pt x="130" y="111"/>
                  </a:lnTo>
                  <a:lnTo>
                    <a:pt x="139" y="117"/>
                  </a:lnTo>
                  <a:lnTo>
                    <a:pt x="150" y="128"/>
                  </a:lnTo>
                  <a:lnTo>
                    <a:pt x="167" y="146"/>
                  </a:lnTo>
                  <a:lnTo>
                    <a:pt x="180" y="159"/>
                  </a:lnTo>
                  <a:lnTo>
                    <a:pt x="185" y="157"/>
                  </a:lnTo>
                  <a:lnTo>
                    <a:pt x="191" y="152"/>
                  </a:lnTo>
                  <a:lnTo>
                    <a:pt x="193" y="146"/>
                  </a:lnTo>
                  <a:lnTo>
                    <a:pt x="196" y="141"/>
                  </a:lnTo>
                  <a:lnTo>
                    <a:pt x="209" y="133"/>
                  </a:lnTo>
                  <a:lnTo>
                    <a:pt x="226" y="120"/>
                  </a:lnTo>
                  <a:lnTo>
                    <a:pt x="222" y="113"/>
                  </a:lnTo>
                  <a:lnTo>
                    <a:pt x="220" y="104"/>
                  </a:lnTo>
                  <a:lnTo>
                    <a:pt x="222" y="91"/>
                  </a:lnTo>
                  <a:lnTo>
                    <a:pt x="222" y="80"/>
                  </a:lnTo>
                  <a:lnTo>
                    <a:pt x="207" y="76"/>
                  </a:lnTo>
                  <a:lnTo>
                    <a:pt x="193" y="76"/>
                  </a:lnTo>
                  <a:lnTo>
                    <a:pt x="185" y="70"/>
                  </a:lnTo>
                  <a:lnTo>
                    <a:pt x="180" y="65"/>
                  </a:lnTo>
                  <a:lnTo>
                    <a:pt x="176" y="61"/>
                  </a:lnTo>
                  <a:lnTo>
                    <a:pt x="172" y="59"/>
                  </a:lnTo>
                  <a:lnTo>
                    <a:pt x="169" y="57"/>
                  </a:lnTo>
                  <a:lnTo>
                    <a:pt x="163" y="59"/>
                  </a:lnTo>
                  <a:lnTo>
                    <a:pt x="157" y="57"/>
                  </a:lnTo>
                  <a:lnTo>
                    <a:pt x="156" y="54"/>
                  </a:lnTo>
                  <a:lnTo>
                    <a:pt x="152" y="48"/>
                  </a:lnTo>
                  <a:lnTo>
                    <a:pt x="148" y="39"/>
                  </a:lnTo>
                  <a:lnTo>
                    <a:pt x="139" y="39"/>
                  </a:lnTo>
                  <a:lnTo>
                    <a:pt x="132" y="35"/>
                  </a:lnTo>
                  <a:lnTo>
                    <a:pt x="130" y="33"/>
                  </a:lnTo>
                  <a:lnTo>
                    <a:pt x="128" y="32"/>
                  </a:lnTo>
                  <a:lnTo>
                    <a:pt x="128" y="28"/>
                  </a:lnTo>
                  <a:lnTo>
                    <a:pt x="128" y="2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69" name="Freeform 90"/>
            <p:cNvSpPr>
              <a:spLocks/>
            </p:cNvSpPr>
            <p:nvPr/>
          </p:nvSpPr>
          <p:spPr bwMode="auto">
            <a:xfrm>
              <a:off x="3786787" y="2099134"/>
              <a:ext cx="98097" cy="69720"/>
            </a:xfrm>
            <a:custGeom>
              <a:avLst/>
              <a:gdLst>
                <a:gd name="T0" fmla="*/ 155 w 188"/>
                <a:gd name="T1" fmla="*/ 28 h 137"/>
                <a:gd name="T2" fmla="*/ 155 w 188"/>
                <a:gd name="T3" fmla="*/ 39 h 137"/>
                <a:gd name="T4" fmla="*/ 157 w 188"/>
                <a:gd name="T5" fmla="*/ 50 h 137"/>
                <a:gd name="T6" fmla="*/ 169 w 188"/>
                <a:gd name="T7" fmla="*/ 58 h 137"/>
                <a:gd name="T8" fmla="*/ 181 w 188"/>
                <a:gd name="T9" fmla="*/ 63 h 137"/>
                <a:gd name="T10" fmla="*/ 184 w 188"/>
                <a:gd name="T11" fmla="*/ 69 h 137"/>
                <a:gd name="T12" fmla="*/ 186 w 188"/>
                <a:gd name="T13" fmla="*/ 72 h 137"/>
                <a:gd name="T14" fmla="*/ 188 w 188"/>
                <a:gd name="T15" fmla="*/ 78 h 137"/>
                <a:gd name="T16" fmla="*/ 188 w 188"/>
                <a:gd name="T17" fmla="*/ 83 h 137"/>
                <a:gd name="T18" fmla="*/ 171 w 188"/>
                <a:gd name="T19" fmla="*/ 107 h 137"/>
                <a:gd name="T20" fmla="*/ 160 w 188"/>
                <a:gd name="T21" fmla="*/ 132 h 137"/>
                <a:gd name="T22" fmla="*/ 145 w 188"/>
                <a:gd name="T23" fmla="*/ 124 h 137"/>
                <a:gd name="T24" fmla="*/ 133 w 188"/>
                <a:gd name="T25" fmla="*/ 120 h 137"/>
                <a:gd name="T26" fmla="*/ 121 w 188"/>
                <a:gd name="T27" fmla="*/ 115 h 137"/>
                <a:gd name="T28" fmla="*/ 110 w 188"/>
                <a:gd name="T29" fmla="*/ 115 h 137"/>
                <a:gd name="T30" fmla="*/ 101 w 188"/>
                <a:gd name="T31" fmla="*/ 111 h 137"/>
                <a:gd name="T32" fmla="*/ 92 w 188"/>
                <a:gd name="T33" fmla="*/ 109 h 137"/>
                <a:gd name="T34" fmla="*/ 83 w 188"/>
                <a:gd name="T35" fmla="*/ 117 h 137"/>
                <a:gd name="T36" fmla="*/ 81 w 188"/>
                <a:gd name="T37" fmla="*/ 124 h 137"/>
                <a:gd name="T38" fmla="*/ 72 w 188"/>
                <a:gd name="T39" fmla="*/ 122 h 137"/>
                <a:gd name="T40" fmla="*/ 62 w 188"/>
                <a:gd name="T41" fmla="*/ 120 h 137"/>
                <a:gd name="T42" fmla="*/ 55 w 188"/>
                <a:gd name="T43" fmla="*/ 128 h 137"/>
                <a:gd name="T44" fmla="*/ 46 w 188"/>
                <a:gd name="T45" fmla="*/ 137 h 137"/>
                <a:gd name="T46" fmla="*/ 46 w 188"/>
                <a:gd name="T47" fmla="*/ 137 h 137"/>
                <a:gd name="T48" fmla="*/ 46 w 188"/>
                <a:gd name="T49" fmla="*/ 137 h 137"/>
                <a:gd name="T50" fmla="*/ 40 w 188"/>
                <a:gd name="T51" fmla="*/ 133 h 137"/>
                <a:gd name="T52" fmla="*/ 38 w 188"/>
                <a:gd name="T53" fmla="*/ 130 h 137"/>
                <a:gd name="T54" fmla="*/ 35 w 188"/>
                <a:gd name="T55" fmla="*/ 124 h 137"/>
                <a:gd name="T56" fmla="*/ 33 w 188"/>
                <a:gd name="T57" fmla="*/ 119 h 137"/>
                <a:gd name="T58" fmla="*/ 16 w 188"/>
                <a:gd name="T59" fmla="*/ 111 h 137"/>
                <a:gd name="T60" fmla="*/ 1 w 188"/>
                <a:gd name="T61" fmla="*/ 104 h 137"/>
                <a:gd name="T62" fmla="*/ 1 w 188"/>
                <a:gd name="T63" fmla="*/ 104 h 137"/>
                <a:gd name="T64" fmla="*/ 1 w 188"/>
                <a:gd name="T65" fmla="*/ 104 h 137"/>
                <a:gd name="T66" fmla="*/ 5 w 188"/>
                <a:gd name="T67" fmla="*/ 98 h 137"/>
                <a:gd name="T68" fmla="*/ 5 w 188"/>
                <a:gd name="T69" fmla="*/ 95 h 137"/>
                <a:gd name="T70" fmla="*/ 5 w 188"/>
                <a:gd name="T71" fmla="*/ 91 h 137"/>
                <a:gd name="T72" fmla="*/ 5 w 188"/>
                <a:gd name="T73" fmla="*/ 87 h 137"/>
                <a:gd name="T74" fmla="*/ 1 w 188"/>
                <a:gd name="T75" fmla="*/ 80 h 137"/>
                <a:gd name="T76" fmla="*/ 0 w 188"/>
                <a:gd name="T77" fmla="*/ 72 h 137"/>
                <a:gd name="T78" fmla="*/ 7 w 188"/>
                <a:gd name="T79" fmla="*/ 61 h 137"/>
                <a:gd name="T80" fmla="*/ 14 w 188"/>
                <a:gd name="T81" fmla="*/ 48 h 137"/>
                <a:gd name="T82" fmla="*/ 14 w 188"/>
                <a:gd name="T83" fmla="*/ 35 h 137"/>
                <a:gd name="T84" fmla="*/ 12 w 188"/>
                <a:gd name="T85" fmla="*/ 24 h 137"/>
                <a:gd name="T86" fmla="*/ 11 w 188"/>
                <a:gd name="T87" fmla="*/ 22 h 137"/>
                <a:gd name="T88" fmla="*/ 11 w 188"/>
                <a:gd name="T89" fmla="*/ 21 h 137"/>
                <a:gd name="T90" fmla="*/ 11 w 188"/>
                <a:gd name="T91" fmla="*/ 21 h 137"/>
                <a:gd name="T92" fmla="*/ 12 w 188"/>
                <a:gd name="T93" fmla="*/ 21 h 137"/>
                <a:gd name="T94" fmla="*/ 29 w 188"/>
                <a:gd name="T95" fmla="*/ 8 h 137"/>
                <a:gd name="T96" fmla="*/ 42 w 188"/>
                <a:gd name="T97" fmla="*/ 0 h 137"/>
                <a:gd name="T98" fmla="*/ 51 w 188"/>
                <a:gd name="T99" fmla="*/ 8 h 137"/>
                <a:gd name="T100" fmla="*/ 57 w 188"/>
                <a:gd name="T101" fmla="*/ 19 h 137"/>
                <a:gd name="T102" fmla="*/ 61 w 188"/>
                <a:gd name="T103" fmla="*/ 24 h 137"/>
                <a:gd name="T104" fmla="*/ 66 w 188"/>
                <a:gd name="T105" fmla="*/ 28 h 137"/>
                <a:gd name="T106" fmla="*/ 72 w 188"/>
                <a:gd name="T107" fmla="*/ 32 h 137"/>
                <a:gd name="T108" fmla="*/ 77 w 188"/>
                <a:gd name="T109" fmla="*/ 34 h 137"/>
                <a:gd name="T110" fmla="*/ 88 w 188"/>
                <a:gd name="T111" fmla="*/ 34 h 137"/>
                <a:gd name="T112" fmla="*/ 97 w 188"/>
                <a:gd name="T113" fmla="*/ 34 h 137"/>
                <a:gd name="T114" fmla="*/ 105 w 188"/>
                <a:gd name="T115" fmla="*/ 32 h 137"/>
                <a:gd name="T116" fmla="*/ 114 w 188"/>
                <a:gd name="T117" fmla="*/ 30 h 137"/>
                <a:gd name="T118" fmla="*/ 131 w 188"/>
                <a:gd name="T119" fmla="*/ 24 h 137"/>
                <a:gd name="T120" fmla="*/ 144 w 188"/>
                <a:gd name="T121" fmla="*/ 22 h 137"/>
                <a:gd name="T122" fmla="*/ 149 w 188"/>
                <a:gd name="T123" fmla="*/ 24 h 137"/>
                <a:gd name="T124" fmla="*/ 155 w 188"/>
                <a:gd name="T125" fmla="*/ 28 h 13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8"/>
                <a:gd name="T190" fmla="*/ 0 h 137"/>
                <a:gd name="T191" fmla="*/ 188 w 188"/>
                <a:gd name="T192" fmla="*/ 137 h 13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8" h="137">
                  <a:moveTo>
                    <a:pt x="155" y="28"/>
                  </a:moveTo>
                  <a:lnTo>
                    <a:pt x="155" y="39"/>
                  </a:lnTo>
                  <a:lnTo>
                    <a:pt x="157" y="50"/>
                  </a:lnTo>
                  <a:lnTo>
                    <a:pt x="169" y="58"/>
                  </a:lnTo>
                  <a:lnTo>
                    <a:pt x="181" y="63"/>
                  </a:lnTo>
                  <a:lnTo>
                    <a:pt x="184" y="69"/>
                  </a:lnTo>
                  <a:lnTo>
                    <a:pt x="186" y="72"/>
                  </a:lnTo>
                  <a:lnTo>
                    <a:pt x="188" y="78"/>
                  </a:lnTo>
                  <a:lnTo>
                    <a:pt x="188" y="83"/>
                  </a:lnTo>
                  <a:lnTo>
                    <a:pt x="171" y="107"/>
                  </a:lnTo>
                  <a:lnTo>
                    <a:pt x="160" y="132"/>
                  </a:lnTo>
                  <a:lnTo>
                    <a:pt x="145" y="124"/>
                  </a:lnTo>
                  <a:lnTo>
                    <a:pt x="133" y="120"/>
                  </a:lnTo>
                  <a:lnTo>
                    <a:pt x="121" y="115"/>
                  </a:lnTo>
                  <a:lnTo>
                    <a:pt x="110" y="115"/>
                  </a:lnTo>
                  <a:lnTo>
                    <a:pt x="101" y="111"/>
                  </a:lnTo>
                  <a:lnTo>
                    <a:pt x="92" y="109"/>
                  </a:lnTo>
                  <a:lnTo>
                    <a:pt x="83" y="117"/>
                  </a:lnTo>
                  <a:lnTo>
                    <a:pt x="81" y="124"/>
                  </a:lnTo>
                  <a:lnTo>
                    <a:pt x="72" y="122"/>
                  </a:lnTo>
                  <a:lnTo>
                    <a:pt x="62" y="120"/>
                  </a:lnTo>
                  <a:lnTo>
                    <a:pt x="55" y="128"/>
                  </a:lnTo>
                  <a:lnTo>
                    <a:pt x="46" y="137"/>
                  </a:lnTo>
                  <a:lnTo>
                    <a:pt x="40" y="133"/>
                  </a:lnTo>
                  <a:lnTo>
                    <a:pt x="38" y="130"/>
                  </a:lnTo>
                  <a:lnTo>
                    <a:pt x="35" y="124"/>
                  </a:lnTo>
                  <a:lnTo>
                    <a:pt x="33" y="119"/>
                  </a:lnTo>
                  <a:lnTo>
                    <a:pt x="16" y="111"/>
                  </a:lnTo>
                  <a:lnTo>
                    <a:pt x="1" y="104"/>
                  </a:lnTo>
                  <a:lnTo>
                    <a:pt x="5" y="98"/>
                  </a:lnTo>
                  <a:lnTo>
                    <a:pt x="5" y="95"/>
                  </a:lnTo>
                  <a:lnTo>
                    <a:pt x="5" y="91"/>
                  </a:lnTo>
                  <a:lnTo>
                    <a:pt x="5" y="87"/>
                  </a:lnTo>
                  <a:lnTo>
                    <a:pt x="1" y="80"/>
                  </a:lnTo>
                  <a:lnTo>
                    <a:pt x="0" y="72"/>
                  </a:lnTo>
                  <a:lnTo>
                    <a:pt x="7" y="61"/>
                  </a:lnTo>
                  <a:lnTo>
                    <a:pt x="14" y="48"/>
                  </a:lnTo>
                  <a:lnTo>
                    <a:pt x="14" y="35"/>
                  </a:lnTo>
                  <a:lnTo>
                    <a:pt x="12" y="24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29" y="8"/>
                  </a:lnTo>
                  <a:lnTo>
                    <a:pt x="42" y="0"/>
                  </a:lnTo>
                  <a:lnTo>
                    <a:pt x="51" y="8"/>
                  </a:lnTo>
                  <a:lnTo>
                    <a:pt x="57" y="19"/>
                  </a:lnTo>
                  <a:lnTo>
                    <a:pt x="61" y="24"/>
                  </a:lnTo>
                  <a:lnTo>
                    <a:pt x="66" y="28"/>
                  </a:lnTo>
                  <a:lnTo>
                    <a:pt x="72" y="32"/>
                  </a:lnTo>
                  <a:lnTo>
                    <a:pt x="77" y="34"/>
                  </a:lnTo>
                  <a:lnTo>
                    <a:pt x="88" y="34"/>
                  </a:lnTo>
                  <a:lnTo>
                    <a:pt x="97" y="34"/>
                  </a:lnTo>
                  <a:lnTo>
                    <a:pt x="105" y="32"/>
                  </a:lnTo>
                  <a:lnTo>
                    <a:pt x="114" y="30"/>
                  </a:lnTo>
                  <a:lnTo>
                    <a:pt x="131" y="24"/>
                  </a:lnTo>
                  <a:lnTo>
                    <a:pt x="144" y="22"/>
                  </a:lnTo>
                  <a:lnTo>
                    <a:pt x="149" y="24"/>
                  </a:lnTo>
                  <a:lnTo>
                    <a:pt x="155" y="2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70" name="Freeform 91"/>
            <p:cNvSpPr>
              <a:spLocks/>
            </p:cNvSpPr>
            <p:nvPr/>
          </p:nvSpPr>
          <p:spPr bwMode="auto">
            <a:xfrm>
              <a:off x="3808702" y="2154604"/>
              <a:ext cx="75138" cy="79389"/>
            </a:xfrm>
            <a:custGeom>
              <a:avLst/>
              <a:gdLst>
                <a:gd name="T0" fmla="*/ 28 w 144"/>
                <a:gd name="T1" fmla="*/ 124 h 156"/>
                <a:gd name="T2" fmla="*/ 28 w 144"/>
                <a:gd name="T3" fmla="*/ 124 h 156"/>
                <a:gd name="T4" fmla="*/ 28 w 144"/>
                <a:gd name="T5" fmla="*/ 124 h 156"/>
                <a:gd name="T6" fmla="*/ 31 w 144"/>
                <a:gd name="T7" fmla="*/ 132 h 156"/>
                <a:gd name="T8" fmla="*/ 37 w 144"/>
                <a:gd name="T9" fmla="*/ 141 h 156"/>
                <a:gd name="T10" fmla="*/ 43 w 144"/>
                <a:gd name="T11" fmla="*/ 146 h 156"/>
                <a:gd name="T12" fmla="*/ 46 w 144"/>
                <a:gd name="T13" fmla="*/ 150 h 156"/>
                <a:gd name="T14" fmla="*/ 52 w 144"/>
                <a:gd name="T15" fmla="*/ 154 h 156"/>
                <a:gd name="T16" fmla="*/ 55 w 144"/>
                <a:gd name="T17" fmla="*/ 156 h 156"/>
                <a:gd name="T18" fmla="*/ 70 w 144"/>
                <a:gd name="T19" fmla="*/ 146 h 156"/>
                <a:gd name="T20" fmla="*/ 100 w 144"/>
                <a:gd name="T21" fmla="*/ 135 h 156"/>
                <a:gd name="T22" fmla="*/ 105 w 144"/>
                <a:gd name="T23" fmla="*/ 130 h 156"/>
                <a:gd name="T24" fmla="*/ 111 w 144"/>
                <a:gd name="T25" fmla="*/ 124 h 156"/>
                <a:gd name="T26" fmla="*/ 122 w 144"/>
                <a:gd name="T27" fmla="*/ 106 h 156"/>
                <a:gd name="T28" fmla="*/ 129 w 144"/>
                <a:gd name="T29" fmla="*/ 83 h 156"/>
                <a:gd name="T30" fmla="*/ 135 w 144"/>
                <a:gd name="T31" fmla="*/ 78 h 156"/>
                <a:gd name="T32" fmla="*/ 140 w 144"/>
                <a:gd name="T33" fmla="*/ 71 h 156"/>
                <a:gd name="T34" fmla="*/ 142 w 144"/>
                <a:gd name="T35" fmla="*/ 63 h 156"/>
                <a:gd name="T36" fmla="*/ 144 w 144"/>
                <a:gd name="T37" fmla="*/ 56 h 156"/>
                <a:gd name="T38" fmla="*/ 139 w 144"/>
                <a:gd name="T39" fmla="*/ 47 h 156"/>
                <a:gd name="T40" fmla="*/ 133 w 144"/>
                <a:gd name="T41" fmla="*/ 37 h 156"/>
                <a:gd name="T42" fmla="*/ 126 w 144"/>
                <a:gd name="T43" fmla="*/ 28 h 156"/>
                <a:gd name="T44" fmla="*/ 118 w 144"/>
                <a:gd name="T45" fmla="*/ 21 h 156"/>
                <a:gd name="T46" fmla="*/ 118 w 144"/>
                <a:gd name="T47" fmla="*/ 21 h 156"/>
                <a:gd name="T48" fmla="*/ 118 w 144"/>
                <a:gd name="T49" fmla="*/ 23 h 156"/>
                <a:gd name="T50" fmla="*/ 103 w 144"/>
                <a:gd name="T51" fmla="*/ 15 h 156"/>
                <a:gd name="T52" fmla="*/ 91 w 144"/>
                <a:gd name="T53" fmla="*/ 11 h 156"/>
                <a:gd name="T54" fmla="*/ 79 w 144"/>
                <a:gd name="T55" fmla="*/ 6 h 156"/>
                <a:gd name="T56" fmla="*/ 68 w 144"/>
                <a:gd name="T57" fmla="*/ 6 h 156"/>
                <a:gd name="T58" fmla="*/ 59 w 144"/>
                <a:gd name="T59" fmla="*/ 2 h 156"/>
                <a:gd name="T60" fmla="*/ 50 w 144"/>
                <a:gd name="T61" fmla="*/ 0 h 156"/>
                <a:gd name="T62" fmla="*/ 41 w 144"/>
                <a:gd name="T63" fmla="*/ 8 h 156"/>
                <a:gd name="T64" fmla="*/ 39 w 144"/>
                <a:gd name="T65" fmla="*/ 15 h 156"/>
                <a:gd name="T66" fmla="*/ 30 w 144"/>
                <a:gd name="T67" fmla="*/ 13 h 156"/>
                <a:gd name="T68" fmla="*/ 20 w 144"/>
                <a:gd name="T69" fmla="*/ 11 h 156"/>
                <a:gd name="T70" fmla="*/ 13 w 144"/>
                <a:gd name="T71" fmla="*/ 19 h 156"/>
                <a:gd name="T72" fmla="*/ 4 w 144"/>
                <a:gd name="T73" fmla="*/ 28 h 156"/>
                <a:gd name="T74" fmla="*/ 2 w 144"/>
                <a:gd name="T75" fmla="*/ 47 h 156"/>
                <a:gd name="T76" fmla="*/ 0 w 144"/>
                <a:gd name="T77" fmla="*/ 65 h 156"/>
                <a:gd name="T78" fmla="*/ 4 w 144"/>
                <a:gd name="T79" fmla="*/ 74 h 156"/>
                <a:gd name="T80" fmla="*/ 7 w 144"/>
                <a:gd name="T81" fmla="*/ 82 h 156"/>
                <a:gd name="T82" fmla="*/ 13 w 144"/>
                <a:gd name="T83" fmla="*/ 89 h 156"/>
                <a:gd name="T84" fmla="*/ 20 w 144"/>
                <a:gd name="T85" fmla="*/ 96 h 156"/>
                <a:gd name="T86" fmla="*/ 24 w 144"/>
                <a:gd name="T87" fmla="*/ 109 h 156"/>
                <a:gd name="T88" fmla="*/ 28 w 144"/>
                <a:gd name="T89" fmla="*/ 124 h 15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156"/>
                <a:gd name="T137" fmla="*/ 144 w 144"/>
                <a:gd name="T138" fmla="*/ 156 h 15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156">
                  <a:moveTo>
                    <a:pt x="28" y="124"/>
                  </a:moveTo>
                  <a:lnTo>
                    <a:pt x="28" y="124"/>
                  </a:lnTo>
                  <a:lnTo>
                    <a:pt x="31" y="132"/>
                  </a:lnTo>
                  <a:lnTo>
                    <a:pt x="37" y="141"/>
                  </a:lnTo>
                  <a:lnTo>
                    <a:pt x="43" y="146"/>
                  </a:lnTo>
                  <a:lnTo>
                    <a:pt x="46" y="150"/>
                  </a:lnTo>
                  <a:lnTo>
                    <a:pt x="52" y="154"/>
                  </a:lnTo>
                  <a:lnTo>
                    <a:pt x="55" y="156"/>
                  </a:lnTo>
                  <a:lnTo>
                    <a:pt x="70" y="146"/>
                  </a:lnTo>
                  <a:lnTo>
                    <a:pt x="100" y="135"/>
                  </a:lnTo>
                  <a:lnTo>
                    <a:pt x="105" y="130"/>
                  </a:lnTo>
                  <a:lnTo>
                    <a:pt x="111" y="124"/>
                  </a:lnTo>
                  <a:lnTo>
                    <a:pt x="122" y="106"/>
                  </a:lnTo>
                  <a:lnTo>
                    <a:pt x="129" y="83"/>
                  </a:lnTo>
                  <a:lnTo>
                    <a:pt x="135" y="78"/>
                  </a:lnTo>
                  <a:lnTo>
                    <a:pt x="140" y="71"/>
                  </a:lnTo>
                  <a:lnTo>
                    <a:pt x="142" y="63"/>
                  </a:lnTo>
                  <a:lnTo>
                    <a:pt x="144" y="56"/>
                  </a:lnTo>
                  <a:lnTo>
                    <a:pt x="139" y="47"/>
                  </a:lnTo>
                  <a:lnTo>
                    <a:pt x="133" y="37"/>
                  </a:lnTo>
                  <a:lnTo>
                    <a:pt x="126" y="28"/>
                  </a:lnTo>
                  <a:lnTo>
                    <a:pt x="118" y="21"/>
                  </a:lnTo>
                  <a:lnTo>
                    <a:pt x="118" y="23"/>
                  </a:lnTo>
                  <a:lnTo>
                    <a:pt x="103" y="15"/>
                  </a:lnTo>
                  <a:lnTo>
                    <a:pt x="91" y="11"/>
                  </a:lnTo>
                  <a:lnTo>
                    <a:pt x="79" y="6"/>
                  </a:lnTo>
                  <a:lnTo>
                    <a:pt x="68" y="6"/>
                  </a:lnTo>
                  <a:lnTo>
                    <a:pt x="59" y="2"/>
                  </a:lnTo>
                  <a:lnTo>
                    <a:pt x="50" y="0"/>
                  </a:lnTo>
                  <a:lnTo>
                    <a:pt x="41" y="8"/>
                  </a:lnTo>
                  <a:lnTo>
                    <a:pt x="39" y="15"/>
                  </a:lnTo>
                  <a:lnTo>
                    <a:pt x="30" y="13"/>
                  </a:lnTo>
                  <a:lnTo>
                    <a:pt x="20" y="11"/>
                  </a:lnTo>
                  <a:lnTo>
                    <a:pt x="13" y="19"/>
                  </a:lnTo>
                  <a:lnTo>
                    <a:pt x="4" y="28"/>
                  </a:lnTo>
                  <a:lnTo>
                    <a:pt x="2" y="47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7" y="82"/>
                  </a:lnTo>
                  <a:lnTo>
                    <a:pt x="13" y="89"/>
                  </a:lnTo>
                  <a:lnTo>
                    <a:pt x="20" y="96"/>
                  </a:lnTo>
                  <a:lnTo>
                    <a:pt x="24" y="109"/>
                  </a:lnTo>
                  <a:lnTo>
                    <a:pt x="28" y="124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71" name="Freeform 92"/>
            <p:cNvSpPr>
              <a:spLocks/>
            </p:cNvSpPr>
            <p:nvPr/>
          </p:nvSpPr>
          <p:spPr bwMode="auto">
            <a:xfrm>
              <a:off x="3920366" y="2259947"/>
              <a:ext cx="105402" cy="92111"/>
            </a:xfrm>
            <a:custGeom>
              <a:avLst/>
              <a:gdLst>
                <a:gd name="T0" fmla="*/ 2 w 202"/>
                <a:gd name="T1" fmla="*/ 52 h 181"/>
                <a:gd name="T2" fmla="*/ 6 w 202"/>
                <a:gd name="T3" fmla="*/ 45 h 181"/>
                <a:gd name="T4" fmla="*/ 21 w 202"/>
                <a:gd name="T5" fmla="*/ 43 h 181"/>
                <a:gd name="T6" fmla="*/ 32 w 202"/>
                <a:gd name="T7" fmla="*/ 41 h 181"/>
                <a:gd name="T8" fmla="*/ 39 w 202"/>
                <a:gd name="T9" fmla="*/ 34 h 181"/>
                <a:gd name="T10" fmla="*/ 52 w 202"/>
                <a:gd name="T11" fmla="*/ 24 h 181"/>
                <a:gd name="T12" fmla="*/ 63 w 202"/>
                <a:gd name="T13" fmla="*/ 8 h 181"/>
                <a:gd name="T14" fmla="*/ 76 w 202"/>
                <a:gd name="T15" fmla="*/ 8 h 181"/>
                <a:gd name="T16" fmla="*/ 96 w 202"/>
                <a:gd name="T17" fmla="*/ 22 h 181"/>
                <a:gd name="T18" fmla="*/ 109 w 202"/>
                <a:gd name="T19" fmla="*/ 39 h 181"/>
                <a:gd name="T20" fmla="*/ 109 w 202"/>
                <a:gd name="T21" fmla="*/ 56 h 181"/>
                <a:gd name="T22" fmla="*/ 113 w 202"/>
                <a:gd name="T23" fmla="*/ 71 h 181"/>
                <a:gd name="T24" fmla="*/ 113 w 202"/>
                <a:gd name="T25" fmla="*/ 83 h 181"/>
                <a:gd name="T26" fmla="*/ 126 w 202"/>
                <a:gd name="T27" fmla="*/ 96 h 181"/>
                <a:gd name="T28" fmla="*/ 146 w 202"/>
                <a:gd name="T29" fmla="*/ 100 h 181"/>
                <a:gd name="T30" fmla="*/ 163 w 202"/>
                <a:gd name="T31" fmla="*/ 96 h 181"/>
                <a:gd name="T32" fmla="*/ 176 w 202"/>
                <a:gd name="T33" fmla="*/ 87 h 181"/>
                <a:gd name="T34" fmla="*/ 185 w 202"/>
                <a:gd name="T35" fmla="*/ 87 h 181"/>
                <a:gd name="T36" fmla="*/ 187 w 202"/>
                <a:gd name="T37" fmla="*/ 91 h 181"/>
                <a:gd name="T38" fmla="*/ 183 w 202"/>
                <a:gd name="T39" fmla="*/ 102 h 181"/>
                <a:gd name="T40" fmla="*/ 187 w 202"/>
                <a:gd name="T41" fmla="*/ 109 h 181"/>
                <a:gd name="T42" fmla="*/ 196 w 202"/>
                <a:gd name="T43" fmla="*/ 113 h 181"/>
                <a:gd name="T44" fmla="*/ 202 w 202"/>
                <a:gd name="T45" fmla="*/ 119 h 181"/>
                <a:gd name="T46" fmla="*/ 198 w 202"/>
                <a:gd name="T47" fmla="*/ 143 h 181"/>
                <a:gd name="T48" fmla="*/ 185 w 202"/>
                <a:gd name="T49" fmla="*/ 163 h 181"/>
                <a:gd name="T50" fmla="*/ 178 w 202"/>
                <a:gd name="T51" fmla="*/ 174 h 181"/>
                <a:gd name="T52" fmla="*/ 167 w 202"/>
                <a:gd name="T53" fmla="*/ 181 h 181"/>
                <a:gd name="T54" fmla="*/ 144 w 202"/>
                <a:gd name="T55" fmla="*/ 176 h 181"/>
                <a:gd name="T56" fmla="*/ 131 w 202"/>
                <a:gd name="T57" fmla="*/ 170 h 181"/>
                <a:gd name="T58" fmla="*/ 115 w 202"/>
                <a:gd name="T59" fmla="*/ 165 h 181"/>
                <a:gd name="T60" fmla="*/ 95 w 202"/>
                <a:gd name="T61" fmla="*/ 146 h 181"/>
                <a:gd name="T62" fmla="*/ 87 w 202"/>
                <a:gd name="T63" fmla="*/ 130 h 181"/>
                <a:gd name="T64" fmla="*/ 82 w 202"/>
                <a:gd name="T65" fmla="*/ 131 h 181"/>
                <a:gd name="T66" fmla="*/ 76 w 202"/>
                <a:gd name="T67" fmla="*/ 135 h 181"/>
                <a:gd name="T68" fmla="*/ 63 w 202"/>
                <a:gd name="T69" fmla="*/ 133 h 181"/>
                <a:gd name="T70" fmla="*/ 54 w 202"/>
                <a:gd name="T71" fmla="*/ 120 h 181"/>
                <a:gd name="T72" fmla="*/ 52 w 202"/>
                <a:gd name="T73" fmla="*/ 107 h 181"/>
                <a:gd name="T74" fmla="*/ 48 w 202"/>
                <a:gd name="T75" fmla="*/ 93 h 181"/>
                <a:gd name="T76" fmla="*/ 28 w 202"/>
                <a:gd name="T77" fmla="*/ 76 h 181"/>
                <a:gd name="T78" fmla="*/ 6 w 202"/>
                <a:gd name="T79" fmla="*/ 59 h 18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2"/>
                <a:gd name="T121" fmla="*/ 0 h 181"/>
                <a:gd name="T122" fmla="*/ 202 w 202"/>
                <a:gd name="T123" fmla="*/ 181 h 18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2" h="181">
                  <a:moveTo>
                    <a:pt x="0" y="52"/>
                  </a:moveTo>
                  <a:lnTo>
                    <a:pt x="2" y="52"/>
                  </a:lnTo>
                  <a:lnTo>
                    <a:pt x="2" y="50"/>
                  </a:lnTo>
                  <a:lnTo>
                    <a:pt x="6" y="45"/>
                  </a:lnTo>
                  <a:lnTo>
                    <a:pt x="11" y="39"/>
                  </a:lnTo>
                  <a:lnTo>
                    <a:pt x="21" y="43"/>
                  </a:lnTo>
                  <a:lnTo>
                    <a:pt x="30" y="46"/>
                  </a:lnTo>
                  <a:lnTo>
                    <a:pt x="32" y="41"/>
                  </a:lnTo>
                  <a:lnTo>
                    <a:pt x="35" y="35"/>
                  </a:lnTo>
                  <a:lnTo>
                    <a:pt x="39" y="34"/>
                  </a:lnTo>
                  <a:lnTo>
                    <a:pt x="45" y="32"/>
                  </a:lnTo>
                  <a:lnTo>
                    <a:pt x="52" y="24"/>
                  </a:lnTo>
                  <a:lnTo>
                    <a:pt x="58" y="17"/>
                  </a:lnTo>
                  <a:lnTo>
                    <a:pt x="63" y="8"/>
                  </a:lnTo>
                  <a:lnTo>
                    <a:pt x="71" y="0"/>
                  </a:lnTo>
                  <a:lnTo>
                    <a:pt x="76" y="8"/>
                  </a:lnTo>
                  <a:lnTo>
                    <a:pt x="80" y="19"/>
                  </a:lnTo>
                  <a:lnTo>
                    <a:pt x="96" y="22"/>
                  </a:lnTo>
                  <a:lnTo>
                    <a:pt x="109" y="28"/>
                  </a:lnTo>
                  <a:lnTo>
                    <a:pt x="109" y="39"/>
                  </a:lnTo>
                  <a:lnTo>
                    <a:pt x="106" y="52"/>
                  </a:lnTo>
                  <a:lnTo>
                    <a:pt x="109" y="56"/>
                  </a:lnTo>
                  <a:lnTo>
                    <a:pt x="113" y="61"/>
                  </a:lnTo>
                  <a:lnTo>
                    <a:pt x="113" y="71"/>
                  </a:lnTo>
                  <a:lnTo>
                    <a:pt x="111" y="78"/>
                  </a:lnTo>
                  <a:lnTo>
                    <a:pt x="113" y="83"/>
                  </a:lnTo>
                  <a:lnTo>
                    <a:pt x="119" y="91"/>
                  </a:lnTo>
                  <a:lnTo>
                    <a:pt x="126" y="96"/>
                  </a:lnTo>
                  <a:lnTo>
                    <a:pt x="135" y="100"/>
                  </a:lnTo>
                  <a:lnTo>
                    <a:pt x="146" y="100"/>
                  </a:lnTo>
                  <a:lnTo>
                    <a:pt x="155" y="98"/>
                  </a:lnTo>
                  <a:lnTo>
                    <a:pt x="163" y="96"/>
                  </a:lnTo>
                  <a:lnTo>
                    <a:pt x="168" y="93"/>
                  </a:lnTo>
                  <a:lnTo>
                    <a:pt x="176" y="87"/>
                  </a:lnTo>
                  <a:lnTo>
                    <a:pt x="183" y="85"/>
                  </a:lnTo>
                  <a:lnTo>
                    <a:pt x="185" y="87"/>
                  </a:lnTo>
                  <a:lnTo>
                    <a:pt x="187" y="89"/>
                  </a:lnTo>
                  <a:lnTo>
                    <a:pt x="187" y="91"/>
                  </a:lnTo>
                  <a:lnTo>
                    <a:pt x="185" y="95"/>
                  </a:lnTo>
                  <a:lnTo>
                    <a:pt x="183" y="102"/>
                  </a:lnTo>
                  <a:lnTo>
                    <a:pt x="183" y="107"/>
                  </a:lnTo>
                  <a:lnTo>
                    <a:pt x="187" y="109"/>
                  </a:lnTo>
                  <a:lnTo>
                    <a:pt x="192" y="111"/>
                  </a:lnTo>
                  <a:lnTo>
                    <a:pt x="196" y="113"/>
                  </a:lnTo>
                  <a:lnTo>
                    <a:pt x="200" y="115"/>
                  </a:lnTo>
                  <a:lnTo>
                    <a:pt x="202" y="119"/>
                  </a:lnTo>
                  <a:lnTo>
                    <a:pt x="202" y="126"/>
                  </a:lnTo>
                  <a:lnTo>
                    <a:pt x="198" y="143"/>
                  </a:lnTo>
                  <a:lnTo>
                    <a:pt x="191" y="159"/>
                  </a:lnTo>
                  <a:lnTo>
                    <a:pt x="185" y="163"/>
                  </a:lnTo>
                  <a:lnTo>
                    <a:pt x="181" y="168"/>
                  </a:lnTo>
                  <a:lnTo>
                    <a:pt x="178" y="174"/>
                  </a:lnTo>
                  <a:lnTo>
                    <a:pt x="174" y="180"/>
                  </a:lnTo>
                  <a:lnTo>
                    <a:pt x="167" y="181"/>
                  </a:lnTo>
                  <a:lnTo>
                    <a:pt x="155" y="180"/>
                  </a:lnTo>
                  <a:lnTo>
                    <a:pt x="144" y="176"/>
                  </a:lnTo>
                  <a:lnTo>
                    <a:pt x="133" y="172"/>
                  </a:lnTo>
                  <a:lnTo>
                    <a:pt x="131" y="170"/>
                  </a:lnTo>
                  <a:lnTo>
                    <a:pt x="130" y="168"/>
                  </a:lnTo>
                  <a:lnTo>
                    <a:pt x="115" y="165"/>
                  </a:lnTo>
                  <a:lnTo>
                    <a:pt x="100" y="163"/>
                  </a:lnTo>
                  <a:lnTo>
                    <a:pt x="95" y="146"/>
                  </a:lnTo>
                  <a:lnTo>
                    <a:pt x="93" y="131"/>
                  </a:lnTo>
                  <a:lnTo>
                    <a:pt x="87" y="130"/>
                  </a:lnTo>
                  <a:lnTo>
                    <a:pt x="83" y="130"/>
                  </a:lnTo>
                  <a:lnTo>
                    <a:pt x="82" y="131"/>
                  </a:lnTo>
                  <a:lnTo>
                    <a:pt x="80" y="131"/>
                  </a:lnTo>
                  <a:lnTo>
                    <a:pt x="76" y="135"/>
                  </a:lnTo>
                  <a:lnTo>
                    <a:pt x="72" y="137"/>
                  </a:lnTo>
                  <a:lnTo>
                    <a:pt x="63" y="133"/>
                  </a:lnTo>
                  <a:lnTo>
                    <a:pt x="58" y="128"/>
                  </a:lnTo>
                  <a:lnTo>
                    <a:pt x="54" y="120"/>
                  </a:lnTo>
                  <a:lnTo>
                    <a:pt x="52" y="113"/>
                  </a:lnTo>
                  <a:lnTo>
                    <a:pt x="52" y="107"/>
                  </a:lnTo>
                  <a:lnTo>
                    <a:pt x="50" y="100"/>
                  </a:lnTo>
                  <a:lnTo>
                    <a:pt x="48" y="93"/>
                  </a:lnTo>
                  <a:lnTo>
                    <a:pt x="45" y="87"/>
                  </a:lnTo>
                  <a:lnTo>
                    <a:pt x="28" y="76"/>
                  </a:lnTo>
                  <a:lnTo>
                    <a:pt x="11" y="67"/>
                  </a:lnTo>
                  <a:lnTo>
                    <a:pt x="6" y="59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73" name="Freeform 93"/>
            <p:cNvSpPr>
              <a:spLocks/>
            </p:cNvSpPr>
            <p:nvPr/>
          </p:nvSpPr>
          <p:spPr bwMode="auto">
            <a:xfrm>
              <a:off x="4058119" y="2259947"/>
              <a:ext cx="88183" cy="74300"/>
            </a:xfrm>
            <a:custGeom>
              <a:avLst/>
              <a:gdLst>
                <a:gd name="T0" fmla="*/ 4 w 169"/>
                <a:gd name="T1" fmla="*/ 63 h 146"/>
                <a:gd name="T2" fmla="*/ 2 w 169"/>
                <a:gd name="T3" fmla="*/ 46 h 146"/>
                <a:gd name="T4" fmla="*/ 2 w 169"/>
                <a:gd name="T5" fmla="*/ 30 h 146"/>
                <a:gd name="T6" fmla="*/ 0 w 169"/>
                <a:gd name="T7" fmla="*/ 22 h 146"/>
                <a:gd name="T8" fmla="*/ 2 w 169"/>
                <a:gd name="T9" fmla="*/ 15 h 146"/>
                <a:gd name="T10" fmla="*/ 2 w 169"/>
                <a:gd name="T11" fmla="*/ 8 h 146"/>
                <a:gd name="T12" fmla="*/ 6 w 169"/>
                <a:gd name="T13" fmla="*/ 2 h 146"/>
                <a:gd name="T14" fmla="*/ 21 w 169"/>
                <a:gd name="T15" fmla="*/ 0 h 146"/>
                <a:gd name="T16" fmla="*/ 36 w 169"/>
                <a:gd name="T17" fmla="*/ 2 h 146"/>
                <a:gd name="T18" fmla="*/ 45 w 169"/>
                <a:gd name="T19" fmla="*/ 4 h 146"/>
                <a:gd name="T20" fmla="*/ 54 w 169"/>
                <a:gd name="T21" fmla="*/ 10 h 146"/>
                <a:gd name="T22" fmla="*/ 63 w 169"/>
                <a:gd name="T23" fmla="*/ 15 h 146"/>
                <a:gd name="T24" fmla="*/ 73 w 169"/>
                <a:gd name="T25" fmla="*/ 22 h 146"/>
                <a:gd name="T26" fmla="*/ 73 w 169"/>
                <a:gd name="T27" fmla="*/ 22 h 146"/>
                <a:gd name="T28" fmla="*/ 80 w 169"/>
                <a:gd name="T29" fmla="*/ 34 h 146"/>
                <a:gd name="T30" fmla="*/ 89 w 169"/>
                <a:gd name="T31" fmla="*/ 43 h 146"/>
                <a:gd name="T32" fmla="*/ 97 w 169"/>
                <a:gd name="T33" fmla="*/ 50 h 146"/>
                <a:gd name="T34" fmla="*/ 104 w 169"/>
                <a:gd name="T35" fmla="*/ 56 h 146"/>
                <a:gd name="T36" fmla="*/ 111 w 169"/>
                <a:gd name="T37" fmla="*/ 59 h 146"/>
                <a:gd name="T38" fmla="*/ 119 w 169"/>
                <a:gd name="T39" fmla="*/ 61 h 146"/>
                <a:gd name="T40" fmla="*/ 126 w 169"/>
                <a:gd name="T41" fmla="*/ 61 h 146"/>
                <a:gd name="T42" fmla="*/ 133 w 169"/>
                <a:gd name="T43" fmla="*/ 61 h 146"/>
                <a:gd name="T44" fmla="*/ 141 w 169"/>
                <a:gd name="T45" fmla="*/ 63 h 146"/>
                <a:gd name="T46" fmla="*/ 146 w 169"/>
                <a:gd name="T47" fmla="*/ 67 h 146"/>
                <a:gd name="T48" fmla="*/ 150 w 169"/>
                <a:gd name="T49" fmla="*/ 72 h 146"/>
                <a:gd name="T50" fmla="*/ 154 w 169"/>
                <a:gd name="T51" fmla="*/ 80 h 146"/>
                <a:gd name="T52" fmla="*/ 159 w 169"/>
                <a:gd name="T53" fmla="*/ 74 h 146"/>
                <a:gd name="T54" fmla="*/ 165 w 169"/>
                <a:gd name="T55" fmla="*/ 71 h 146"/>
                <a:gd name="T56" fmla="*/ 165 w 169"/>
                <a:gd name="T57" fmla="*/ 80 h 146"/>
                <a:gd name="T58" fmla="*/ 161 w 169"/>
                <a:gd name="T59" fmla="*/ 91 h 146"/>
                <a:gd name="T60" fmla="*/ 165 w 169"/>
                <a:gd name="T61" fmla="*/ 95 h 146"/>
                <a:gd name="T62" fmla="*/ 169 w 169"/>
                <a:gd name="T63" fmla="*/ 102 h 146"/>
                <a:gd name="T64" fmla="*/ 167 w 169"/>
                <a:gd name="T65" fmla="*/ 117 h 146"/>
                <a:gd name="T66" fmla="*/ 163 w 169"/>
                <a:gd name="T67" fmla="*/ 133 h 146"/>
                <a:gd name="T68" fmla="*/ 159 w 169"/>
                <a:gd name="T69" fmla="*/ 139 h 146"/>
                <a:gd name="T70" fmla="*/ 154 w 169"/>
                <a:gd name="T71" fmla="*/ 143 h 146"/>
                <a:gd name="T72" fmla="*/ 148 w 169"/>
                <a:gd name="T73" fmla="*/ 146 h 146"/>
                <a:gd name="T74" fmla="*/ 141 w 169"/>
                <a:gd name="T75" fmla="*/ 146 h 146"/>
                <a:gd name="T76" fmla="*/ 141 w 169"/>
                <a:gd name="T77" fmla="*/ 139 h 146"/>
                <a:gd name="T78" fmla="*/ 137 w 169"/>
                <a:gd name="T79" fmla="*/ 133 h 146"/>
                <a:gd name="T80" fmla="*/ 130 w 169"/>
                <a:gd name="T81" fmla="*/ 135 h 146"/>
                <a:gd name="T82" fmla="*/ 122 w 169"/>
                <a:gd name="T83" fmla="*/ 135 h 146"/>
                <a:gd name="T84" fmla="*/ 121 w 169"/>
                <a:gd name="T85" fmla="*/ 130 h 146"/>
                <a:gd name="T86" fmla="*/ 121 w 169"/>
                <a:gd name="T87" fmla="*/ 126 h 146"/>
                <a:gd name="T88" fmla="*/ 109 w 169"/>
                <a:gd name="T89" fmla="*/ 126 h 146"/>
                <a:gd name="T90" fmla="*/ 102 w 169"/>
                <a:gd name="T91" fmla="*/ 130 h 146"/>
                <a:gd name="T92" fmla="*/ 98 w 169"/>
                <a:gd name="T93" fmla="*/ 133 h 146"/>
                <a:gd name="T94" fmla="*/ 93 w 169"/>
                <a:gd name="T95" fmla="*/ 137 h 146"/>
                <a:gd name="T96" fmla="*/ 76 w 169"/>
                <a:gd name="T97" fmla="*/ 137 h 146"/>
                <a:gd name="T98" fmla="*/ 60 w 169"/>
                <a:gd name="T99" fmla="*/ 133 h 146"/>
                <a:gd name="T100" fmla="*/ 49 w 169"/>
                <a:gd name="T101" fmla="*/ 111 h 146"/>
                <a:gd name="T102" fmla="*/ 50 w 169"/>
                <a:gd name="T103" fmla="*/ 91 h 146"/>
                <a:gd name="T104" fmla="*/ 50 w 169"/>
                <a:gd name="T105" fmla="*/ 72 h 146"/>
                <a:gd name="T106" fmla="*/ 32 w 169"/>
                <a:gd name="T107" fmla="*/ 67 h 146"/>
                <a:gd name="T108" fmla="*/ 6 w 169"/>
                <a:gd name="T109" fmla="*/ 63 h 146"/>
                <a:gd name="T110" fmla="*/ 4 w 169"/>
                <a:gd name="T111" fmla="*/ 63 h 146"/>
                <a:gd name="T112" fmla="*/ 4 w 169"/>
                <a:gd name="T113" fmla="*/ 63 h 14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69"/>
                <a:gd name="T172" fmla="*/ 0 h 146"/>
                <a:gd name="T173" fmla="*/ 169 w 169"/>
                <a:gd name="T174" fmla="*/ 146 h 14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69" h="146">
                  <a:moveTo>
                    <a:pt x="4" y="63"/>
                  </a:moveTo>
                  <a:lnTo>
                    <a:pt x="2" y="46"/>
                  </a:lnTo>
                  <a:lnTo>
                    <a:pt x="2" y="30"/>
                  </a:lnTo>
                  <a:lnTo>
                    <a:pt x="0" y="22"/>
                  </a:lnTo>
                  <a:lnTo>
                    <a:pt x="2" y="15"/>
                  </a:lnTo>
                  <a:lnTo>
                    <a:pt x="2" y="8"/>
                  </a:lnTo>
                  <a:lnTo>
                    <a:pt x="6" y="2"/>
                  </a:lnTo>
                  <a:lnTo>
                    <a:pt x="21" y="0"/>
                  </a:lnTo>
                  <a:lnTo>
                    <a:pt x="36" y="2"/>
                  </a:lnTo>
                  <a:lnTo>
                    <a:pt x="45" y="4"/>
                  </a:lnTo>
                  <a:lnTo>
                    <a:pt x="54" y="10"/>
                  </a:lnTo>
                  <a:lnTo>
                    <a:pt x="63" y="15"/>
                  </a:lnTo>
                  <a:lnTo>
                    <a:pt x="73" y="22"/>
                  </a:lnTo>
                  <a:lnTo>
                    <a:pt x="80" y="34"/>
                  </a:lnTo>
                  <a:lnTo>
                    <a:pt x="89" y="43"/>
                  </a:lnTo>
                  <a:lnTo>
                    <a:pt x="97" y="50"/>
                  </a:lnTo>
                  <a:lnTo>
                    <a:pt x="104" y="56"/>
                  </a:lnTo>
                  <a:lnTo>
                    <a:pt x="111" y="59"/>
                  </a:lnTo>
                  <a:lnTo>
                    <a:pt x="119" y="61"/>
                  </a:lnTo>
                  <a:lnTo>
                    <a:pt x="126" y="61"/>
                  </a:lnTo>
                  <a:lnTo>
                    <a:pt x="133" y="61"/>
                  </a:lnTo>
                  <a:lnTo>
                    <a:pt x="141" y="63"/>
                  </a:lnTo>
                  <a:lnTo>
                    <a:pt x="146" y="67"/>
                  </a:lnTo>
                  <a:lnTo>
                    <a:pt x="150" y="72"/>
                  </a:lnTo>
                  <a:lnTo>
                    <a:pt x="154" y="80"/>
                  </a:lnTo>
                  <a:lnTo>
                    <a:pt x="159" y="74"/>
                  </a:lnTo>
                  <a:lnTo>
                    <a:pt x="165" y="71"/>
                  </a:lnTo>
                  <a:lnTo>
                    <a:pt x="165" y="80"/>
                  </a:lnTo>
                  <a:lnTo>
                    <a:pt x="161" y="91"/>
                  </a:lnTo>
                  <a:lnTo>
                    <a:pt x="165" y="95"/>
                  </a:lnTo>
                  <a:lnTo>
                    <a:pt x="169" y="102"/>
                  </a:lnTo>
                  <a:lnTo>
                    <a:pt x="167" y="117"/>
                  </a:lnTo>
                  <a:lnTo>
                    <a:pt x="163" y="133"/>
                  </a:lnTo>
                  <a:lnTo>
                    <a:pt x="159" y="139"/>
                  </a:lnTo>
                  <a:lnTo>
                    <a:pt x="154" y="143"/>
                  </a:lnTo>
                  <a:lnTo>
                    <a:pt x="148" y="146"/>
                  </a:lnTo>
                  <a:lnTo>
                    <a:pt x="141" y="146"/>
                  </a:lnTo>
                  <a:lnTo>
                    <a:pt x="141" y="139"/>
                  </a:lnTo>
                  <a:lnTo>
                    <a:pt x="137" y="133"/>
                  </a:lnTo>
                  <a:lnTo>
                    <a:pt x="130" y="135"/>
                  </a:lnTo>
                  <a:lnTo>
                    <a:pt x="122" y="135"/>
                  </a:lnTo>
                  <a:lnTo>
                    <a:pt x="121" y="130"/>
                  </a:lnTo>
                  <a:lnTo>
                    <a:pt x="121" y="126"/>
                  </a:lnTo>
                  <a:lnTo>
                    <a:pt x="109" y="126"/>
                  </a:lnTo>
                  <a:lnTo>
                    <a:pt x="102" y="130"/>
                  </a:lnTo>
                  <a:lnTo>
                    <a:pt x="98" y="133"/>
                  </a:lnTo>
                  <a:lnTo>
                    <a:pt x="93" y="137"/>
                  </a:lnTo>
                  <a:lnTo>
                    <a:pt x="76" y="137"/>
                  </a:lnTo>
                  <a:lnTo>
                    <a:pt x="60" y="133"/>
                  </a:lnTo>
                  <a:lnTo>
                    <a:pt x="49" y="111"/>
                  </a:lnTo>
                  <a:lnTo>
                    <a:pt x="50" y="91"/>
                  </a:lnTo>
                  <a:lnTo>
                    <a:pt x="50" y="72"/>
                  </a:lnTo>
                  <a:lnTo>
                    <a:pt x="32" y="67"/>
                  </a:lnTo>
                  <a:lnTo>
                    <a:pt x="6" y="63"/>
                  </a:lnTo>
                  <a:lnTo>
                    <a:pt x="4" y="63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74" name="Freeform 94"/>
            <p:cNvSpPr>
              <a:spLocks/>
            </p:cNvSpPr>
            <p:nvPr/>
          </p:nvSpPr>
          <p:spPr bwMode="auto">
            <a:xfrm>
              <a:off x="4020028" y="2292008"/>
              <a:ext cx="69398" cy="62086"/>
            </a:xfrm>
            <a:custGeom>
              <a:avLst/>
              <a:gdLst>
                <a:gd name="T0" fmla="*/ 1 w 133"/>
                <a:gd name="T1" fmla="*/ 48 h 122"/>
                <a:gd name="T2" fmla="*/ 14 w 133"/>
                <a:gd name="T3" fmla="*/ 44 h 122"/>
                <a:gd name="T4" fmla="*/ 29 w 133"/>
                <a:gd name="T5" fmla="*/ 43 h 122"/>
                <a:gd name="T6" fmla="*/ 38 w 133"/>
                <a:gd name="T7" fmla="*/ 46 h 122"/>
                <a:gd name="T8" fmla="*/ 46 w 133"/>
                <a:gd name="T9" fmla="*/ 44 h 122"/>
                <a:gd name="T10" fmla="*/ 49 w 133"/>
                <a:gd name="T11" fmla="*/ 37 h 122"/>
                <a:gd name="T12" fmla="*/ 49 w 133"/>
                <a:gd name="T13" fmla="*/ 26 h 122"/>
                <a:gd name="T14" fmla="*/ 59 w 133"/>
                <a:gd name="T15" fmla="*/ 20 h 122"/>
                <a:gd name="T16" fmla="*/ 66 w 133"/>
                <a:gd name="T17" fmla="*/ 17 h 122"/>
                <a:gd name="T18" fmla="*/ 73 w 133"/>
                <a:gd name="T19" fmla="*/ 6 h 122"/>
                <a:gd name="T20" fmla="*/ 79 w 133"/>
                <a:gd name="T21" fmla="*/ 0 h 122"/>
                <a:gd name="T22" fmla="*/ 105 w 133"/>
                <a:gd name="T23" fmla="*/ 4 h 122"/>
                <a:gd name="T24" fmla="*/ 123 w 133"/>
                <a:gd name="T25" fmla="*/ 9 h 122"/>
                <a:gd name="T26" fmla="*/ 123 w 133"/>
                <a:gd name="T27" fmla="*/ 28 h 122"/>
                <a:gd name="T28" fmla="*/ 122 w 133"/>
                <a:gd name="T29" fmla="*/ 48 h 122"/>
                <a:gd name="T30" fmla="*/ 133 w 133"/>
                <a:gd name="T31" fmla="*/ 70 h 122"/>
                <a:gd name="T32" fmla="*/ 125 w 133"/>
                <a:gd name="T33" fmla="*/ 70 h 122"/>
                <a:gd name="T34" fmla="*/ 118 w 133"/>
                <a:gd name="T35" fmla="*/ 68 h 122"/>
                <a:gd name="T36" fmla="*/ 105 w 133"/>
                <a:gd name="T37" fmla="*/ 68 h 122"/>
                <a:gd name="T38" fmla="*/ 92 w 133"/>
                <a:gd name="T39" fmla="*/ 70 h 122"/>
                <a:gd name="T40" fmla="*/ 88 w 133"/>
                <a:gd name="T41" fmla="*/ 72 h 122"/>
                <a:gd name="T42" fmla="*/ 85 w 133"/>
                <a:gd name="T43" fmla="*/ 74 h 122"/>
                <a:gd name="T44" fmla="*/ 81 w 133"/>
                <a:gd name="T45" fmla="*/ 78 h 122"/>
                <a:gd name="T46" fmla="*/ 79 w 133"/>
                <a:gd name="T47" fmla="*/ 81 h 122"/>
                <a:gd name="T48" fmla="*/ 79 w 133"/>
                <a:gd name="T49" fmla="*/ 83 h 122"/>
                <a:gd name="T50" fmla="*/ 83 w 133"/>
                <a:gd name="T51" fmla="*/ 87 h 122"/>
                <a:gd name="T52" fmla="*/ 85 w 133"/>
                <a:gd name="T53" fmla="*/ 87 h 122"/>
                <a:gd name="T54" fmla="*/ 86 w 133"/>
                <a:gd name="T55" fmla="*/ 89 h 122"/>
                <a:gd name="T56" fmla="*/ 86 w 133"/>
                <a:gd name="T57" fmla="*/ 93 h 122"/>
                <a:gd name="T58" fmla="*/ 86 w 133"/>
                <a:gd name="T59" fmla="*/ 96 h 122"/>
                <a:gd name="T60" fmla="*/ 79 w 133"/>
                <a:gd name="T61" fmla="*/ 105 h 122"/>
                <a:gd name="T62" fmla="*/ 72 w 133"/>
                <a:gd name="T63" fmla="*/ 113 h 122"/>
                <a:gd name="T64" fmla="*/ 61 w 133"/>
                <a:gd name="T65" fmla="*/ 117 h 122"/>
                <a:gd name="T66" fmla="*/ 49 w 133"/>
                <a:gd name="T67" fmla="*/ 122 h 122"/>
                <a:gd name="T68" fmla="*/ 48 w 133"/>
                <a:gd name="T69" fmla="*/ 122 h 122"/>
                <a:gd name="T70" fmla="*/ 46 w 133"/>
                <a:gd name="T71" fmla="*/ 120 h 122"/>
                <a:gd name="T72" fmla="*/ 44 w 133"/>
                <a:gd name="T73" fmla="*/ 120 h 122"/>
                <a:gd name="T74" fmla="*/ 42 w 133"/>
                <a:gd name="T75" fmla="*/ 117 h 122"/>
                <a:gd name="T76" fmla="*/ 40 w 133"/>
                <a:gd name="T77" fmla="*/ 113 h 122"/>
                <a:gd name="T78" fmla="*/ 38 w 133"/>
                <a:gd name="T79" fmla="*/ 109 h 122"/>
                <a:gd name="T80" fmla="*/ 35 w 133"/>
                <a:gd name="T81" fmla="*/ 109 h 122"/>
                <a:gd name="T82" fmla="*/ 29 w 133"/>
                <a:gd name="T83" fmla="*/ 109 h 122"/>
                <a:gd name="T84" fmla="*/ 24 w 133"/>
                <a:gd name="T85" fmla="*/ 111 h 122"/>
                <a:gd name="T86" fmla="*/ 20 w 133"/>
                <a:gd name="T87" fmla="*/ 117 h 122"/>
                <a:gd name="T88" fmla="*/ 20 w 133"/>
                <a:gd name="T89" fmla="*/ 118 h 122"/>
                <a:gd name="T90" fmla="*/ 20 w 133"/>
                <a:gd name="T91" fmla="*/ 120 h 122"/>
                <a:gd name="T92" fmla="*/ 18 w 133"/>
                <a:gd name="T93" fmla="*/ 113 h 122"/>
                <a:gd name="T94" fmla="*/ 18 w 133"/>
                <a:gd name="T95" fmla="*/ 107 h 122"/>
                <a:gd name="T96" fmla="*/ 14 w 133"/>
                <a:gd name="T97" fmla="*/ 100 h 122"/>
                <a:gd name="T98" fmla="*/ 11 w 133"/>
                <a:gd name="T99" fmla="*/ 96 h 122"/>
                <a:gd name="T100" fmla="*/ 5 w 133"/>
                <a:gd name="T101" fmla="*/ 96 h 122"/>
                <a:gd name="T102" fmla="*/ 0 w 133"/>
                <a:gd name="T103" fmla="*/ 96 h 122"/>
                <a:gd name="T104" fmla="*/ 7 w 133"/>
                <a:gd name="T105" fmla="*/ 80 h 122"/>
                <a:gd name="T106" fmla="*/ 11 w 133"/>
                <a:gd name="T107" fmla="*/ 63 h 122"/>
                <a:gd name="T108" fmla="*/ 11 w 133"/>
                <a:gd name="T109" fmla="*/ 56 h 122"/>
                <a:gd name="T110" fmla="*/ 7 w 133"/>
                <a:gd name="T111" fmla="*/ 52 h 122"/>
                <a:gd name="T112" fmla="*/ 5 w 133"/>
                <a:gd name="T113" fmla="*/ 48 h 122"/>
                <a:gd name="T114" fmla="*/ 1 w 133"/>
                <a:gd name="T115" fmla="*/ 48 h 12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"/>
                <a:gd name="T175" fmla="*/ 0 h 122"/>
                <a:gd name="T176" fmla="*/ 133 w 133"/>
                <a:gd name="T177" fmla="*/ 122 h 12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" h="122">
                  <a:moveTo>
                    <a:pt x="1" y="48"/>
                  </a:moveTo>
                  <a:lnTo>
                    <a:pt x="14" y="44"/>
                  </a:lnTo>
                  <a:lnTo>
                    <a:pt x="29" y="43"/>
                  </a:lnTo>
                  <a:lnTo>
                    <a:pt x="38" y="46"/>
                  </a:lnTo>
                  <a:lnTo>
                    <a:pt x="46" y="44"/>
                  </a:lnTo>
                  <a:lnTo>
                    <a:pt x="49" y="37"/>
                  </a:lnTo>
                  <a:lnTo>
                    <a:pt x="49" y="26"/>
                  </a:lnTo>
                  <a:lnTo>
                    <a:pt x="59" y="20"/>
                  </a:lnTo>
                  <a:lnTo>
                    <a:pt x="66" y="17"/>
                  </a:lnTo>
                  <a:lnTo>
                    <a:pt x="73" y="6"/>
                  </a:lnTo>
                  <a:lnTo>
                    <a:pt x="79" y="0"/>
                  </a:lnTo>
                  <a:lnTo>
                    <a:pt x="105" y="4"/>
                  </a:lnTo>
                  <a:lnTo>
                    <a:pt x="123" y="9"/>
                  </a:lnTo>
                  <a:lnTo>
                    <a:pt x="123" y="28"/>
                  </a:lnTo>
                  <a:lnTo>
                    <a:pt x="122" y="48"/>
                  </a:lnTo>
                  <a:lnTo>
                    <a:pt x="133" y="70"/>
                  </a:lnTo>
                  <a:lnTo>
                    <a:pt x="125" y="70"/>
                  </a:lnTo>
                  <a:lnTo>
                    <a:pt x="118" y="68"/>
                  </a:lnTo>
                  <a:lnTo>
                    <a:pt x="105" y="68"/>
                  </a:lnTo>
                  <a:lnTo>
                    <a:pt x="92" y="70"/>
                  </a:lnTo>
                  <a:lnTo>
                    <a:pt x="88" y="72"/>
                  </a:lnTo>
                  <a:lnTo>
                    <a:pt x="85" y="74"/>
                  </a:lnTo>
                  <a:lnTo>
                    <a:pt x="81" y="78"/>
                  </a:lnTo>
                  <a:lnTo>
                    <a:pt x="79" y="81"/>
                  </a:lnTo>
                  <a:lnTo>
                    <a:pt x="79" y="83"/>
                  </a:lnTo>
                  <a:lnTo>
                    <a:pt x="83" y="87"/>
                  </a:lnTo>
                  <a:lnTo>
                    <a:pt x="85" y="87"/>
                  </a:lnTo>
                  <a:lnTo>
                    <a:pt x="86" y="89"/>
                  </a:lnTo>
                  <a:lnTo>
                    <a:pt x="86" y="93"/>
                  </a:lnTo>
                  <a:lnTo>
                    <a:pt x="86" y="96"/>
                  </a:lnTo>
                  <a:lnTo>
                    <a:pt x="79" y="105"/>
                  </a:lnTo>
                  <a:lnTo>
                    <a:pt x="72" y="113"/>
                  </a:lnTo>
                  <a:lnTo>
                    <a:pt x="61" y="117"/>
                  </a:lnTo>
                  <a:lnTo>
                    <a:pt x="49" y="122"/>
                  </a:lnTo>
                  <a:lnTo>
                    <a:pt x="48" y="122"/>
                  </a:lnTo>
                  <a:lnTo>
                    <a:pt x="46" y="120"/>
                  </a:lnTo>
                  <a:lnTo>
                    <a:pt x="44" y="120"/>
                  </a:lnTo>
                  <a:lnTo>
                    <a:pt x="42" y="117"/>
                  </a:lnTo>
                  <a:lnTo>
                    <a:pt x="40" y="113"/>
                  </a:lnTo>
                  <a:lnTo>
                    <a:pt x="38" y="109"/>
                  </a:lnTo>
                  <a:lnTo>
                    <a:pt x="35" y="109"/>
                  </a:lnTo>
                  <a:lnTo>
                    <a:pt x="29" y="109"/>
                  </a:lnTo>
                  <a:lnTo>
                    <a:pt x="24" y="111"/>
                  </a:lnTo>
                  <a:lnTo>
                    <a:pt x="20" y="117"/>
                  </a:lnTo>
                  <a:lnTo>
                    <a:pt x="20" y="118"/>
                  </a:lnTo>
                  <a:lnTo>
                    <a:pt x="20" y="120"/>
                  </a:lnTo>
                  <a:lnTo>
                    <a:pt x="18" y="113"/>
                  </a:lnTo>
                  <a:lnTo>
                    <a:pt x="18" y="107"/>
                  </a:lnTo>
                  <a:lnTo>
                    <a:pt x="14" y="100"/>
                  </a:lnTo>
                  <a:lnTo>
                    <a:pt x="11" y="96"/>
                  </a:lnTo>
                  <a:lnTo>
                    <a:pt x="5" y="96"/>
                  </a:lnTo>
                  <a:lnTo>
                    <a:pt x="0" y="96"/>
                  </a:lnTo>
                  <a:lnTo>
                    <a:pt x="7" y="80"/>
                  </a:lnTo>
                  <a:lnTo>
                    <a:pt x="11" y="63"/>
                  </a:lnTo>
                  <a:lnTo>
                    <a:pt x="11" y="56"/>
                  </a:lnTo>
                  <a:lnTo>
                    <a:pt x="7" y="52"/>
                  </a:lnTo>
                  <a:lnTo>
                    <a:pt x="5" y="48"/>
                  </a:lnTo>
                  <a:lnTo>
                    <a:pt x="1" y="4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75" name="Freeform 95"/>
            <p:cNvSpPr>
              <a:spLocks/>
            </p:cNvSpPr>
            <p:nvPr/>
          </p:nvSpPr>
          <p:spPr bwMode="auto">
            <a:xfrm>
              <a:off x="3957935" y="2204477"/>
              <a:ext cx="177409" cy="111959"/>
            </a:xfrm>
            <a:custGeom>
              <a:avLst/>
              <a:gdLst>
                <a:gd name="T0" fmla="*/ 11 w 340"/>
                <a:gd name="T1" fmla="*/ 69 h 220"/>
                <a:gd name="T2" fmla="*/ 34 w 340"/>
                <a:gd name="T3" fmla="*/ 63 h 220"/>
                <a:gd name="T4" fmla="*/ 58 w 340"/>
                <a:gd name="T5" fmla="*/ 63 h 220"/>
                <a:gd name="T6" fmla="*/ 78 w 340"/>
                <a:gd name="T7" fmla="*/ 67 h 220"/>
                <a:gd name="T8" fmla="*/ 95 w 340"/>
                <a:gd name="T9" fmla="*/ 70 h 220"/>
                <a:gd name="T10" fmla="*/ 106 w 340"/>
                <a:gd name="T11" fmla="*/ 69 h 220"/>
                <a:gd name="T12" fmla="*/ 106 w 340"/>
                <a:gd name="T13" fmla="*/ 58 h 220"/>
                <a:gd name="T14" fmla="*/ 102 w 340"/>
                <a:gd name="T15" fmla="*/ 41 h 220"/>
                <a:gd name="T16" fmla="*/ 119 w 340"/>
                <a:gd name="T17" fmla="*/ 32 h 220"/>
                <a:gd name="T18" fmla="*/ 139 w 340"/>
                <a:gd name="T19" fmla="*/ 22 h 220"/>
                <a:gd name="T20" fmla="*/ 172 w 340"/>
                <a:gd name="T21" fmla="*/ 11 h 220"/>
                <a:gd name="T22" fmla="*/ 200 w 340"/>
                <a:gd name="T23" fmla="*/ 4 h 220"/>
                <a:gd name="T24" fmla="*/ 207 w 340"/>
                <a:gd name="T25" fmla="*/ 10 h 220"/>
                <a:gd name="T26" fmla="*/ 224 w 340"/>
                <a:gd name="T27" fmla="*/ 21 h 220"/>
                <a:gd name="T28" fmla="*/ 244 w 340"/>
                <a:gd name="T29" fmla="*/ 21 h 220"/>
                <a:gd name="T30" fmla="*/ 259 w 340"/>
                <a:gd name="T31" fmla="*/ 15 h 220"/>
                <a:gd name="T32" fmla="*/ 272 w 340"/>
                <a:gd name="T33" fmla="*/ 13 h 220"/>
                <a:gd name="T34" fmla="*/ 279 w 340"/>
                <a:gd name="T35" fmla="*/ 17 h 220"/>
                <a:gd name="T36" fmla="*/ 283 w 340"/>
                <a:gd name="T37" fmla="*/ 26 h 220"/>
                <a:gd name="T38" fmla="*/ 287 w 340"/>
                <a:gd name="T39" fmla="*/ 37 h 220"/>
                <a:gd name="T40" fmla="*/ 309 w 340"/>
                <a:gd name="T41" fmla="*/ 45 h 220"/>
                <a:gd name="T42" fmla="*/ 324 w 340"/>
                <a:gd name="T43" fmla="*/ 52 h 220"/>
                <a:gd name="T44" fmla="*/ 333 w 340"/>
                <a:gd name="T45" fmla="*/ 72 h 220"/>
                <a:gd name="T46" fmla="*/ 331 w 340"/>
                <a:gd name="T47" fmla="*/ 104 h 220"/>
                <a:gd name="T48" fmla="*/ 316 w 340"/>
                <a:gd name="T49" fmla="*/ 111 h 220"/>
                <a:gd name="T50" fmla="*/ 300 w 340"/>
                <a:gd name="T51" fmla="*/ 104 h 220"/>
                <a:gd name="T52" fmla="*/ 281 w 340"/>
                <a:gd name="T53" fmla="*/ 111 h 220"/>
                <a:gd name="T54" fmla="*/ 265 w 340"/>
                <a:gd name="T55" fmla="*/ 131 h 220"/>
                <a:gd name="T56" fmla="*/ 255 w 340"/>
                <a:gd name="T57" fmla="*/ 124 h 220"/>
                <a:gd name="T58" fmla="*/ 237 w 340"/>
                <a:gd name="T59" fmla="*/ 113 h 220"/>
                <a:gd name="T60" fmla="*/ 213 w 340"/>
                <a:gd name="T61" fmla="*/ 109 h 220"/>
                <a:gd name="T62" fmla="*/ 194 w 340"/>
                <a:gd name="T63" fmla="*/ 117 h 220"/>
                <a:gd name="T64" fmla="*/ 192 w 340"/>
                <a:gd name="T65" fmla="*/ 131 h 220"/>
                <a:gd name="T66" fmla="*/ 194 w 340"/>
                <a:gd name="T67" fmla="*/ 155 h 220"/>
                <a:gd name="T68" fmla="*/ 192 w 340"/>
                <a:gd name="T69" fmla="*/ 180 h 220"/>
                <a:gd name="T70" fmla="*/ 178 w 340"/>
                <a:gd name="T71" fmla="*/ 192 h 220"/>
                <a:gd name="T72" fmla="*/ 168 w 340"/>
                <a:gd name="T73" fmla="*/ 209 h 220"/>
                <a:gd name="T74" fmla="*/ 157 w 340"/>
                <a:gd name="T75" fmla="*/ 218 h 220"/>
                <a:gd name="T76" fmla="*/ 133 w 340"/>
                <a:gd name="T77" fmla="*/ 216 h 220"/>
                <a:gd name="T78" fmla="*/ 115 w 340"/>
                <a:gd name="T79" fmla="*/ 218 h 220"/>
                <a:gd name="T80" fmla="*/ 111 w 340"/>
                <a:gd name="T81" fmla="*/ 211 h 220"/>
                <a:gd name="T82" fmla="*/ 115 w 340"/>
                <a:gd name="T83" fmla="*/ 200 h 220"/>
                <a:gd name="T84" fmla="*/ 113 w 340"/>
                <a:gd name="T85" fmla="*/ 196 h 220"/>
                <a:gd name="T86" fmla="*/ 104 w 340"/>
                <a:gd name="T87" fmla="*/ 196 h 220"/>
                <a:gd name="T88" fmla="*/ 91 w 340"/>
                <a:gd name="T89" fmla="*/ 205 h 220"/>
                <a:gd name="T90" fmla="*/ 74 w 340"/>
                <a:gd name="T91" fmla="*/ 209 h 220"/>
                <a:gd name="T92" fmla="*/ 54 w 340"/>
                <a:gd name="T93" fmla="*/ 205 h 220"/>
                <a:gd name="T94" fmla="*/ 41 w 340"/>
                <a:gd name="T95" fmla="*/ 192 h 220"/>
                <a:gd name="T96" fmla="*/ 41 w 340"/>
                <a:gd name="T97" fmla="*/ 180 h 220"/>
                <a:gd name="T98" fmla="*/ 37 w 340"/>
                <a:gd name="T99" fmla="*/ 165 h 220"/>
                <a:gd name="T100" fmla="*/ 37 w 340"/>
                <a:gd name="T101" fmla="*/ 148 h 220"/>
                <a:gd name="T102" fmla="*/ 24 w 340"/>
                <a:gd name="T103" fmla="*/ 131 h 220"/>
                <a:gd name="T104" fmla="*/ 4 w 340"/>
                <a:gd name="T105" fmla="*/ 119 h 220"/>
                <a:gd name="T106" fmla="*/ 0 w 340"/>
                <a:gd name="T107" fmla="*/ 109 h 220"/>
                <a:gd name="T108" fmla="*/ 2 w 340"/>
                <a:gd name="T109" fmla="*/ 102 h 220"/>
                <a:gd name="T110" fmla="*/ 10 w 340"/>
                <a:gd name="T111" fmla="*/ 93 h 220"/>
                <a:gd name="T112" fmla="*/ 2 w 340"/>
                <a:gd name="T113" fmla="*/ 83 h 220"/>
                <a:gd name="T114" fmla="*/ 0 w 340"/>
                <a:gd name="T115" fmla="*/ 70 h 22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0"/>
                <a:gd name="T175" fmla="*/ 0 h 220"/>
                <a:gd name="T176" fmla="*/ 340 w 340"/>
                <a:gd name="T177" fmla="*/ 220 h 22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0" h="220">
                  <a:moveTo>
                    <a:pt x="0" y="70"/>
                  </a:moveTo>
                  <a:lnTo>
                    <a:pt x="11" y="69"/>
                  </a:lnTo>
                  <a:lnTo>
                    <a:pt x="23" y="65"/>
                  </a:lnTo>
                  <a:lnTo>
                    <a:pt x="34" y="63"/>
                  </a:lnTo>
                  <a:lnTo>
                    <a:pt x="47" y="63"/>
                  </a:lnTo>
                  <a:lnTo>
                    <a:pt x="58" y="63"/>
                  </a:lnTo>
                  <a:lnTo>
                    <a:pt x="67" y="65"/>
                  </a:lnTo>
                  <a:lnTo>
                    <a:pt x="78" y="67"/>
                  </a:lnTo>
                  <a:lnTo>
                    <a:pt x="89" y="70"/>
                  </a:lnTo>
                  <a:lnTo>
                    <a:pt x="95" y="70"/>
                  </a:lnTo>
                  <a:lnTo>
                    <a:pt x="100" y="70"/>
                  </a:lnTo>
                  <a:lnTo>
                    <a:pt x="106" y="69"/>
                  </a:lnTo>
                  <a:lnTo>
                    <a:pt x="109" y="67"/>
                  </a:lnTo>
                  <a:lnTo>
                    <a:pt x="106" y="58"/>
                  </a:lnTo>
                  <a:lnTo>
                    <a:pt x="100" y="48"/>
                  </a:lnTo>
                  <a:lnTo>
                    <a:pt x="102" y="41"/>
                  </a:lnTo>
                  <a:lnTo>
                    <a:pt x="108" y="32"/>
                  </a:lnTo>
                  <a:lnTo>
                    <a:pt x="119" y="32"/>
                  </a:lnTo>
                  <a:lnTo>
                    <a:pt x="128" y="28"/>
                  </a:lnTo>
                  <a:lnTo>
                    <a:pt x="139" y="22"/>
                  </a:lnTo>
                  <a:lnTo>
                    <a:pt x="150" y="17"/>
                  </a:lnTo>
                  <a:lnTo>
                    <a:pt x="172" y="11"/>
                  </a:lnTo>
                  <a:lnTo>
                    <a:pt x="194" y="6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7" y="10"/>
                  </a:lnTo>
                  <a:lnTo>
                    <a:pt x="211" y="17"/>
                  </a:lnTo>
                  <a:lnTo>
                    <a:pt x="224" y="21"/>
                  </a:lnTo>
                  <a:lnTo>
                    <a:pt x="235" y="21"/>
                  </a:lnTo>
                  <a:lnTo>
                    <a:pt x="244" y="21"/>
                  </a:lnTo>
                  <a:lnTo>
                    <a:pt x="252" y="19"/>
                  </a:lnTo>
                  <a:lnTo>
                    <a:pt x="259" y="15"/>
                  </a:lnTo>
                  <a:lnTo>
                    <a:pt x="266" y="13"/>
                  </a:lnTo>
                  <a:lnTo>
                    <a:pt x="272" y="13"/>
                  </a:lnTo>
                  <a:lnTo>
                    <a:pt x="276" y="15"/>
                  </a:lnTo>
                  <a:lnTo>
                    <a:pt x="279" y="17"/>
                  </a:lnTo>
                  <a:lnTo>
                    <a:pt x="281" y="22"/>
                  </a:lnTo>
                  <a:lnTo>
                    <a:pt x="283" y="26"/>
                  </a:lnTo>
                  <a:lnTo>
                    <a:pt x="283" y="34"/>
                  </a:lnTo>
                  <a:lnTo>
                    <a:pt x="287" y="37"/>
                  </a:lnTo>
                  <a:lnTo>
                    <a:pt x="296" y="41"/>
                  </a:lnTo>
                  <a:lnTo>
                    <a:pt x="309" y="45"/>
                  </a:lnTo>
                  <a:lnTo>
                    <a:pt x="325" y="50"/>
                  </a:lnTo>
                  <a:lnTo>
                    <a:pt x="324" y="52"/>
                  </a:lnTo>
                  <a:lnTo>
                    <a:pt x="333" y="72"/>
                  </a:lnTo>
                  <a:lnTo>
                    <a:pt x="340" y="102"/>
                  </a:lnTo>
                  <a:lnTo>
                    <a:pt x="331" y="104"/>
                  </a:lnTo>
                  <a:lnTo>
                    <a:pt x="322" y="106"/>
                  </a:lnTo>
                  <a:lnTo>
                    <a:pt x="316" y="111"/>
                  </a:lnTo>
                  <a:lnTo>
                    <a:pt x="311" y="113"/>
                  </a:lnTo>
                  <a:lnTo>
                    <a:pt x="300" y="104"/>
                  </a:lnTo>
                  <a:lnTo>
                    <a:pt x="290" y="98"/>
                  </a:lnTo>
                  <a:lnTo>
                    <a:pt x="281" y="111"/>
                  </a:lnTo>
                  <a:lnTo>
                    <a:pt x="265" y="131"/>
                  </a:lnTo>
                  <a:lnTo>
                    <a:pt x="255" y="124"/>
                  </a:lnTo>
                  <a:lnTo>
                    <a:pt x="246" y="119"/>
                  </a:lnTo>
                  <a:lnTo>
                    <a:pt x="237" y="113"/>
                  </a:lnTo>
                  <a:lnTo>
                    <a:pt x="228" y="111"/>
                  </a:lnTo>
                  <a:lnTo>
                    <a:pt x="213" y="109"/>
                  </a:lnTo>
                  <a:lnTo>
                    <a:pt x="198" y="111"/>
                  </a:lnTo>
                  <a:lnTo>
                    <a:pt x="194" y="117"/>
                  </a:lnTo>
                  <a:lnTo>
                    <a:pt x="194" y="124"/>
                  </a:lnTo>
                  <a:lnTo>
                    <a:pt x="192" y="131"/>
                  </a:lnTo>
                  <a:lnTo>
                    <a:pt x="194" y="139"/>
                  </a:lnTo>
                  <a:lnTo>
                    <a:pt x="194" y="155"/>
                  </a:lnTo>
                  <a:lnTo>
                    <a:pt x="196" y="172"/>
                  </a:lnTo>
                  <a:lnTo>
                    <a:pt x="192" y="180"/>
                  </a:lnTo>
                  <a:lnTo>
                    <a:pt x="185" y="189"/>
                  </a:lnTo>
                  <a:lnTo>
                    <a:pt x="178" y="192"/>
                  </a:lnTo>
                  <a:lnTo>
                    <a:pt x="168" y="198"/>
                  </a:lnTo>
                  <a:lnTo>
                    <a:pt x="168" y="209"/>
                  </a:lnTo>
                  <a:lnTo>
                    <a:pt x="165" y="216"/>
                  </a:lnTo>
                  <a:lnTo>
                    <a:pt x="157" y="218"/>
                  </a:lnTo>
                  <a:lnTo>
                    <a:pt x="148" y="215"/>
                  </a:lnTo>
                  <a:lnTo>
                    <a:pt x="133" y="216"/>
                  </a:lnTo>
                  <a:lnTo>
                    <a:pt x="120" y="220"/>
                  </a:lnTo>
                  <a:lnTo>
                    <a:pt x="115" y="218"/>
                  </a:lnTo>
                  <a:lnTo>
                    <a:pt x="111" y="216"/>
                  </a:lnTo>
                  <a:lnTo>
                    <a:pt x="111" y="211"/>
                  </a:lnTo>
                  <a:lnTo>
                    <a:pt x="113" y="204"/>
                  </a:lnTo>
                  <a:lnTo>
                    <a:pt x="115" y="200"/>
                  </a:lnTo>
                  <a:lnTo>
                    <a:pt x="115" y="198"/>
                  </a:lnTo>
                  <a:lnTo>
                    <a:pt x="113" y="196"/>
                  </a:lnTo>
                  <a:lnTo>
                    <a:pt x="111" y="194"/>
                  </a:lnTo>
                  <a:lnTo>
                    <a:pt x="104" y="196"/>
                  </a:lnTo>
                  <a:lnTo>
                    <a:pt x="96" y="202"/>
                  </a:lnTo>
                  <a:lnTo>
                    <a:pt x="91" y="205"/>
                  </a:lnTo>
                  <a:lnTo>
                    <a:pt x="83" y="207"/>
                  </a:lnTo>
                  <a:lnTo>
                    <a:pt x="74" y="209"/>
                  </a:lnTo>
                  <a:lnTo>
                    <a:pt x="63" y="209"/>
                  </a:lnTo>
                  <a:lnTo>
                    <a:pt x="54" y="205"/>
                  </a:lnTo>
                  <a:lnTo>
                    <a:pt x="47" y="200"/>
                  </a:lnTo>
                  <a:lnTo>
                    <a:pt x="41" y="192"/>
                  </a:lnTo>
                  <a:lnTo>
                    <a:pt x="39" y="187"/>
                  </a:lnTo>
                  <a:lnTo>
                    <a:pt x="41" y="180"/>
                  </a:lnTo>
                  <a:lnTo>
                    <a:pt x="41" y="170"/>
                  </a:lnTo>
                  <a:lnTo>
                    <a:pt x="37" y="165"/>
                  </a:lnTo>
                  <a:lnTo>
                    <a:pt x="34" y="161"/>
                  </a:lnTo>
                  <a:lnTo>
                    <a:pt x="37" y="148"/>
                  </a:lnTo>
                  <a:lnTo>
                    <a:pt x="37" y="137"/>
                  </a:lnTo>
                  <a:lnTo>
                    <a:pt x="24" y="131"/>
                  </a:lnTo>
                  <a:lnTo>
                    <a:pt x="8" y="128"/>
                  </a:lnTo>
                  <a:lnTo>
                    <a:pt x="4" y="119"/>
                  </a:lnTo>
                  <a:lnTo>
                    <a:pt x="0" y="109"/>
                  </a:lnTo>
                  <a:lnTo>
                    <a:pt x="0" y="106"/>
                  </a:lnTo>
                  <a:lnTo>
                    <a:pt x="2" y="102"/>
                  </a:lnTo>
                  <a:lnTo>
                    <a:pt x="6" y="98"/>
                  </a:lnTo>
                  <a:lnTo>
                    <a:pt x="10" y="93"/>
                  </a:lnTo>
                  <a:lnTo>
                    <a:pt x="8" y="89"/>
                  </a:lnTo>
                  <a:lnTo>
                    <a:pt x="2" y="83"/>
                  </a:lnTo>
                  <a:lnTo>
                    <a:pt x="0" y="78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76" name="Freeform 96"/>
            <p:cNvSpPr>
              <a:spLocks/>
            </p:cNvSpPr>
            <p:nvPr/>
          </p:nvSpPr>
          <p:spPr bwMode="auto">
            <a:xfrm>
              <a:off x="3859838" y="2193281"/>
              <a:ext cx="103315" cy="93129"/>
            </a:xfrm>
            <a:custGeom>
              <a:avLst/>
              <a:gdLst>
                <a:gd name="T0" fmla="*/ 41 w 198"/>
                <a:gd name="T1" fmla="*/ 17 h 183"/>
                <a:gd name="T2" fmla="*/ 57 w 198"/>
                <a:gd name="T3" fmla="*/ 9 h 183"/>
                <a:gd name="T4" fmla="*/ 70 w 198"/>
                <a:gd name="T5" fmla="*/ 0 h 183"/>
                <a:gd name="T6" fmla="*/ 78 w 198"/>
                <a:gd name="T7" fmla="*/ 6 h 183"/>
                <a:gd name="T8" fmla="*/ 87 w 198"/>
                <a:gd name="T9" fmla="*/ 13 h 183"/>
                <a:gd name="T10" fmla="*/ 102 w 198"/>
                <a:gd name="T11" fmla="*/ 19 h 183"/>
                <a:gd name="T12" fmla="*/ 126 w 198"/>
                <a:gd name="T13" fmla="*/ 15 h 183"/>
                <a:gd name="T14" fmla="*/ 142 w 198"/>
                <a:gd name="T15" fmla="*/ 13 h 183"/>
                <a:gd name="T16" fmla="*/ 157 w 198"/>
                <a:gd name="T17" fmla="*/ 22 h 183"/>
                <a:gd name="T18" fmla="*/ 164 w 198"/>
                <a:gd name="T19" fmla="*/ 39 h 183"/>
                <a:gd name="T20" fmla="*/ 175 w 198"/>
                <a:gd name="T21" fmla="*/ 65 h 183"/>
                <a:gd name="T22" fmla="*/ 188 w 198"/>
                <a:gd name="T23" fmla="*/ 92 h 183"/>
                <a:gd name="T24" fmla="*/ 196 w 198"/>
                <a:gd name="T25" fmla="*/ 111 h 183"/>
                <a:gd name="T26" fmla="*/ 194 w 198"/>
                <a:gd name="T27" fmla="*/ 120 h 183"/>
                <a:gd name="T28" fmla="*/ 188 w 198"/>
                <a:gd name="T29" fmla="*/ 128 h 183"/>
                <a:gd name="T30" fmla="*/ 188 w 198"/>
                <a:gd name="T31" fmla="*/ 131 h 183"/>
                <a:gd name="T32" fmla="*/ 179 w 198"/>
                <a:gd name="T33" fmla="*/ 139 h 183"/>
                <a:gd name="T34" fmla="*/ 168 w 198"/>
                <a:gd name="T35" fmla="*/ 155 h 183"/>
                <a:gd name="T36" fmla="*/ 155 w 198"/>
                <a:gd name="T37" fmla="*/ 165 h 183"/>
                <a:gd name="T38" fmla="*/ 148 w 198"/>
                <a:gd name="T39" fmla="*/ 172 h 183"/>
                <a:gd name="T40" fmla="*/ 137 w 198"/>
                <a:gd name="T41" fmla="*/ 174 h 183"/>
                <a:gd name="T42" fmla="*/ 122 w 198"/>
                <a:gd name="T43" fmla="*/ 176 h 183"/>
                <a:gd name="T44" fmla="*/ 118 w 198"/>
                <a:gd name="T45" fmla="*/ 183 h 183"/>
                <a:gd name="T46" fmla="*/ 111 w 198"/>
                <a:gd name="T47" fmla="*/ 179 h 183"/>
                <a:gd name="T48" fmla="*/ 103 w 198"/>
                <a:gd name="T49" fmla="*/ 176 h 183"/>
                <a:gd name="T50" fmla="*/ 96 w 198"/>
                <a:gd name="T51" fmla="*/ 161 h 183"/>
                <a:gd name="T52" fmla="*/ 83 w 198"/>
                <a:gd name="T53" fmla="*/ 150 h 183"/>
                <a:gd name="T54" fmla="*/ 72 w 198"/>
                <a:gd name="T55" fmla="*/ 152 h 183"/>
                <a:gd name="T56" fmla="*/ 63 w 198"/>
                <a:gd name="T57" fmla="*/ 157 h 183"/>
                <a:gd name="T58" fmla="*/ 55 w 198"/>
                <a:gd name="T59" fmla="*/ 141 h 183"/>
                <a:gd name="T60" fmla="*/ 50 w 198"/>
                <a:gd name="T61" fmla="*/ 126 h 183"/>
                <a:gd name="T62" fmla="*/ 41 w 198"/>
                <a:gd name="T63" fmla="*/ 126 h 183"/>
                <a:gd name="T64" fmla="*/ 29 w 198"/>
                <a:gd name="T65" fmla="*/ 126 h 183"/>
                <a:gd name="T66" fmla="*/ 24 w 198"/>
                <a:gd name="T67" fmla="*/ 118 h 183"/>
                <a:gd name="T68" fmla="*/ 24 w 198"/>
                <a:gd name="T69" fmla="*/ 107 h 183"/>
                <a:gd name="T70" fmla="*/ 24 w 198"/>
                <a:gd name="T71" fmla="*/ 102 h 183"/>
                <a:gd name="T72" fmla="*/ 11 w 198"/>
                <a:gd name="T73" fmla="*/ 92 h 183"/>
                <a:gd name="T74" fmla="*/ 2 w 198"/>
                <a:gd name="T75" fmla="*/ 80 h 183"/>
                <a:gd name="T76" fmla="*/ 2 w 198"/>
                <a:gd name="T77" fmla="*/ 59 h 183"/>
                <a:gd name="T78" fmla="*/ 2 w 198"/>
                <a:gd name="T79" fmla="*/ 59 h 183"/>
                <a:gd name="T80" fmla="*/ 13 w 198"/>
                <a:gd name="T81" fmla="*/ 48 h 183"/>
                <a:gd name="T82" fmla="*/ 31 w 198"/>
                <a:gd name="T83" fmla="*/ 9 h 18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98"/>
                <a:gd name="T127" fmla="*/ 0 h 183"/>
                <a:gd name="T128" fmla="*/ 198 w 198"/>
                <a:gd name="T129" fmla="*/ 183 h 18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98" h="183">
                  <a:moveTo>
                    <a:pt x="31" y="9"/>
                  </a:moveTo>
                  <a:lnTo>
                    <a:pt x="41" y="17"/>
                  </a:lnTo>
                  <a:lnTo>
                    <a:pt x="52" y="19"/>
                  </a:lnTo>
                  <a:lnTo>
                    <a:pt x="57" y="9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4" y="2"/>
                  </a:lnTo>
                  <a:lnTo>
                    <a:pt x="78" y="6"/>
                  </a:lnTo>
                  <a:lnTo>
                    <a:pt x="83" y="9"/>
                  </a:lnTo>
                  <a:lnTo>
                    <a:pt x="87" y="13"/>
                  </a:lnTo>
                  <a:lnTo>
                    <a:pt x="94" y="15"/>
                  </a:lnTo>
                  <a:lnTo>
                    <a:pt x="102" y="19"/>
                  </a:lnTo>
                  <a:lnTo>
                    <a:pt x="114" y="19"/>
                  </a:lnTo>
                  <a:lnTo>
                    <a:pt x="126" y="15"/>
                  </a:lnTo>
                  <a:lnTo>
                    <a:pt x="135" y="11"/>
                  </a:lnTo>
                  <a:lnTo>
                    <a:pt x="142" y="13"/>
                  </a:lnTo>
                  <a:lnTo>
                    <a:pt x="150" y="17"/>
                  </a:lnTo>
                  <a:lnTo>
                    <a:pt x="157" y="22"/>
                  </a:lnTo>
                  <a:lnTo>
                    <a:pt x="163" y="30"/>
                  </a:lnTo>
                  <a:lnTo>
                    <a:pt x="164" y="39"/>
                  </a:lnTo>
                  <a:lnTo>
                    <a:pt x="166" y="50"/>
                  </a:lnTo>
                  <a:lnTo>
                    <a:pt x="175" y="65"/>
                  </a:lnTo>
                  <a:lnTo>
                    <a:pt x="185" y="80"/>
                  </a:lnTo>
                  <a:lnTo>
                    <a:pt x="188" y="92"/>
                  </a:lnTo>
                  <a:lnTo>
                    <a:pt x="190" y="105"/>
                  </a:lnTo>
                  <a:lnTo>
                    <a:pt x="196" y="111"/>
                  </a:lnTo>
                  <a:lnTo>
                    <a:pt x="198" y="115"/>
                  </a:lnTo>
                  <a:lnTo>
                    <a:pt x="194" y="120"/>
                  </a:lnTo>
                  <a:lnTo>
                    <a:pt x="190" y="124"/>
                  </a:lnTo>
                  <a:lnTo>
                    <a:pt x="188" y="128"/>
                  </a:lnTo>
                  <a:lnTo>
                    <a:pt x="188" y="131"/>
                  </a:lnTo>
                  <a:lnTo>
                    <a:pt x="187" y="131"/>
                  </a:lnTo>
                  <a:lnTo>
                    <a:pt x="179" y="139"/>
                  </a:lnTo>
                  <a:lnTo>
                    <a:pt x="174" y="148"/>
                  </a:lnTo>
                  <a:lnTo>
                    <a:pt x="168" y="155"/>
                  </a:lnTo>
                  <a:lnTo>
                    <a:pt x="161" y="163"/>
                  </a:lnTo>
                  <a:lnTo>
                    <a:pt x="155" y="165"/>
                  </a:lnTo>
                  <a:lnTo>
                    <a:pt x="151" y="166"/>
                  </a:lnTo>
                  <a:lnTo>
                    <a:pt x="148" y="172"/>
                  </a:lnTo>
                  <a:lnTo>
                    <a:pt x="146" y="177"/>
                  </a:lnTo>
                  <a:lnTo>
                    <a:pt x="137" y="174"/>
                  </a:lnTo>
                  <a:lnTo>
                    <a:pt x="127" y="170"/>
                  </a:lnTo>
                  <a:lnTo>
                    <a:pt x="122" y="176"/>
                  </a:lnTo>
                  <a:lnTo>
                    <a:pt x="118" y="181"/>
                  </a:lnTo>
                  <a:lnTo>
                    <a:pt x="118" y="183"/>
                  </a:lnTo>
                  <a:lnTo>
                    <a:pt x="116" y="183"/>
                  </a:lnTo>
                  <a:lnTo>
                    <a:pt x="111" y="179"/>
                  </a:lnTo>
                  <a:lnTo>
                    <a:pt x="103" y="176"/>
                  </a:lnTo>
                  <a:lnTo>
                    <a:pt x="96" y="161"/>
                  </a:lnTo>
                  <a:lnTo>
                    <a:pt x="90" y="152"/>
                  </a:lnTo>
                  <a:lnTo>
                    <a:pt x="83" y="150"/>
                  </a:lnTo>
                  <a:lnTo>
                    <a:pt x="78" y="150"/>
                  </a:lnTo>
                  <a:lnTo>
                    <a:pt x="72" y="152"/>
                  </a:lnTo>
                  <a:lnTo>
                    <a:pt x="66" y="155"/>
                  </a:lnTo>
                  <a:lnTo>
                    <a:pt x="63" y="157"/>
                  </a:lnTo>
                  <a:lnTo>
                    <a:pt x="57" y="155"/>
                  </a:lnTo>
                  <a:lnTo>
                    <a:pt x="55" y="141"/>
                  </a:lnTo>
                  <a:lnTo>
                    <a:pt x="54" y="128"/>
                  </a:lnTo>
                  <a:lnTo>
                    <a:pt x="50" y="126"/>
                  </a:lnTo>
                  <a:lnTo>
                    <a:pt x="46" y="126"/>
                  </a:lnTo>
                  <a:lnTo>
                    <a:pt x="41" y="126"/>
                  </a:lnTo>
                  <a:lnTo>
                    <a:pt x="35" y="128"/>
                  </a:lnTo>
                  <a:lnTo>
                    <a:pt x="29" y="126"/>
                  </a:lnTo>
                  <a:lnTo>
                    <a:pt x="26" y="124"/>
                  </a:lnTo>
                  <a:lnTo>
                    <a:pt x="24" y="118"/>
                  </a:lnTo>
                  <a:lnTo>
                    <a:pt x="24" y="107"/>
                  </a:lnTo>
                  <a:lnTo>
                    <a:pt x="24" y="102"/>
                  </a:lnTo>
                  <a:lnTo>
                    <a:pt x="22" y="98"/>
                  </a:lnTo>
                  <a:lnTo>
                    <a:pt x="11" y="92"/>
                  </a:lnTo>
                  <a:lnTo>
                    <a:pt x="0" y="91"/>
                  </a:lnTo>
                  <a:lnTo>
                    <a:pt x="2" y="80"/>
                  </a:lnTo>
                  <a:lnTo>
                    <a:pt x="2" y="59"/>
                  </a:lnTo>
                  <a:lnTo>
                    <a:pt x="7" y="54"/>
                  </a:lnTo>
                  <a:lnTo>
                    <a:pt x="13" y="48"/>
                  </a:lnTo>
                  <a:lnTo>
                    <a:pt x="24" y="30"/>
                  </a:lnTo>
                  <a:lnTo>
                    <a:pt x="31" y="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77" name="Freeform 97"/>
            <p:cNvSpPr>
              <a:spLocks/>
            </p:cNvSpPr>
            <p:nvPr/>
          </p:nvSpPr>
          <p:spPr bwMode="auto">
            <a:xfrm>
              <a:off x="3953239" y="2059949"/>
              <a:ext cx="103315" cy="96691"/>
            </a:xfrm>
            <a:custGeom>
              <a:avLst/>
              <a:gdLst>
                <a:gd name="T0" fmla="*/ 0 w 198"/>
                <a:gd name="T1" fmla="*/ 146 h 190"/>
                <a:gd name="T2" fmla="*/ 2 w 198"/>
                <a:gd name="T3" fmla="*/ 159 h 190"/>
                <a:gd name="T4" fmla="*/ 11 w 198"/>
                <a:gd name="T5" fmla="*/ 170 h 190"/>
                <a:gd name="T6" fmla="*/ 30 w 198"/>
                <a:gd name="T7" fmla="*/ 181 h 190"/>
                <a:gd name="T8" fmla="*/ 43 w 198"/>
                <a:gd name="T9" fmla="*/ 186 h 190"/>
                <a:gd name="T10" fmla="*/ 54 w 198"/>
                <a:gd name="T11" fmla="*/ 179 h 190"/>
                <a:gd name="T12" fmla="*/ 67 w 198"/>
                <a:gd name="T13" fmla="*/ 177 h 190"/>
                <a:gd name="T14" fmla="*/ 85 w 198"/>
                <a:gd name="T15" fmla="*/ 181 h 190"/>
                <a:gd name="T16" fmla="*/ 109 w 198"/>
                <a:gd name="T17" fmla="*/ 186 h 190"/>
                <a:gd name="T18" fmla="*/ 133 w 198"/>
                <a:gd name="T19" fmla="*/ 181 h 190"/>
                <a:gd name="T20" fmla="*/ 150 w 198"/>
                <a:gd name="T21" fmla="*/ 166 h 190"/>
                <a:gd name="T22" fmla="*/ 163 w 198"/>
                <a:gd name="T23" fmla="*/ 157 h 190"/>
                <a:gd name="T24" fmla="*/ 177 w 198"/>
                <a:gd name="T25" fmla="*/ 149 h 190"/>
                <a:gd name="T26" fmla="*/ 190 w 198"/>
                <a:gd name="T27" fmla="*/ 142 h 190"/>
                <a:gd name="T28" fmla="*/ 192 w 198"/>
                <a:gd name="T29" fmla="*/ 131 h 190"/>
                <a:gd name="T30" fmla="*/ 187 w 198"/>
                <a:gd name="T31" fmla="*/ 122 h 190"/>
                <a:gd name="T32" fmla="*/ 183 w 198"/>
                <a:gd name="T33" fmla="*/ 105 h 190"/>
                <a:gd name="T34" fmla="*/ 185 w 198"/>
                <a:gd name="T35" fmla="*/ 83 h 190"/>
                <a:gd name="T36" fmla="*/ 185 w 198"/>
                <a:gd name="T37" fmla="*/ 63 h 190"/>
                <a:gd name="T38" fmla="*/ 170 w 198"/>
                <a:gd name="T39" fmla="*/ 57 h 190"/>
                <a:gd name="T40" fmla="*/ 144 w 198"/>
                <a:gd name="T41" fmla="*/ 48 h 190"/>
                <a:gd name="T42" fmla="*/ 122 w 198"/>
                <a:gd name="T43" fmla="*/ 33 h 190"/>
                <a:gd name="T44" fmla="*/ 107 w 198"/>
                <a:gd name="T45" fmla="*/ 14 h 190"/>
                <a:gd name="T46" fmla="*/ 102 w 198"/>
                <a:gd name="T47" fmla="*/ 13 h 190"/>
                <a:gd name="T48" fmla="*/ 91 w 198"/>
                <a:gd name="T49" fmla="*/ 29 h 190"/>
                <a:gd name="T50" fmla="*/ 74 w 198"/>
                <a:gd name="T51" fmla="*/ 40 h 190"/>
                <a:gd name="T52" fmla="*/ 61 w 198"/>
                <a:gd name="T53" fmla="*/ 51 h 190"/>
                <a:gd name="T54" fmla="*/ 57 w 198"/>
                <a:gd name="T55" fmla="*/ 61 h 190"/>
                <a:gd name="T56" fmla="*/ 52 w 198"/>
                <a:gd name="T57" fmla="*/ 75 h 190"/>
                <a:gd name="T58" fmla="*/ 43 w 198"/>
                <a:gd name="T59" fmla="*/ 99 h 190"/>
                <a:gd name="T60" fmla="*/ 22 w 198"/>
                <a:gd name="T61" fmla="*/ 127 h 190"/>
                <a:gd name="T62" fmla="*/ 2 w 198"/>
                <a:gd name="T63" fmla="*/ 140 h 19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8"/>
                <a:gd name="T97" fmla="*/ 0 h 190"/>
                <a:gd name="T98" fmla="*/ 198 w 198"/>
                <a:gd name="T99" fmla="*/ 190 h 19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8" h="190">
                  <a:moveTo>
                    <a:pt x="2" y="140"/>
                  </a:moveTo>
                  <a:lnTo>
                    <a:pt x="0" y="146"/>
                  </a:lnTo>
                  <a:lnTo>
                    <a:pt x="0" y="149"/>
                  </a:lnTo>
                  <a:lnTo>
                    <a:pt x="2" y="159"/>
                  </a:lnTo>
                  <a:lnTo>
                    <a:pt x="6" y="164"/>
                  </a:lnTo>
                  <a:lnTo>
                    <a:pt x="11" y="170"/>
                  </a:lnTo>
                  <a:lnTo>
                    <a:pt x="17" y="173"/>
                  </a:lnTo>
                  <a:lnTo>
                    <a:pt x="30" y="181"/>
                  </a:lnTo>
                  <a:lnTo>
                    <a:pt x="39" y="190"/>
                  </a:lnTo>
                  <a:lnTo>
                    <a:pt x="43" y="186"/>
                  </a:lnTo>
                  <a:lnTo>
                    <a:pt x="48" y="181"/>
                  </a:lnTo>
                  <a:lnTo>
                    <a:pt x="54" y="179"/>
                  </a:lnTo>
                  <a:lnTo>
                    <a:pt x="59" y="177"/>
                  </a:lnTo>
                  <a:lnTo>
                    <a:pt x="67" y="177"/>
                  </a:lnTo>
                  <a:lnTo>
                    <a:pt x="76" y="177"/>
                  </a:lnTo>
                  <a:lnTo>
                    <a:pt x="85" y="181"/>
                  </a:lnTo>
                  <a:lnTo>
                    <a:pt x="94" y="186"/>
                  </a:lnTo>
                  <a:lnTo>
                    <a:pt x="109" y="186"/>
                  </a:lnTo>
                  <a:lnTo>
                    <a:pt x="122" y="184"/>
                  </a:lnTo>
                  <a:lnTo>
                    <a:pt x="133" y="181"/>
                  </a:lnTo>
                  <a:lnTo>
                    <a:pt x="142" y="173"/>
                  </a:lnTo>
                  <a:lnTo>
                    <a:pt x="150" y="166"/>
                  </a:lnTo>
                  <a:lnTo>
                    <a:pt x="155" y="160"/>
                  </a:lnTo>
                  <a:lnTo>
                    <a:pt x="163" y="157"/>
                  </a:lnTo>
                  <a:lnTo>
                    <a:pt x="170" y="153"/>
                  </a:lnTo>
                  <a:lnTo>
                    <a:pt x="177" y="149"/>
                  </a:lnTo>
                  <a:lnTo>
                    <a:pt x="185" y="146"/>
                  </a:lnTo>
                  <a:lnTo>
                    <a:pt x="190" y="142"/>
                  </a:lnTo>
                  <a:lnTo>
                    <a:pt x="198" y="135"/>
                  </a:lnTo>
                  <a:lnTo>
                    <a:pt x="192" y="131"/>
                  </a:lnTo>
                  <a:lnTo>
                    <a:pt x="189" y="125"/>
                  </a:lnTo>
                  <a:lnTo>
                    <a:pt x="187" y="122"/>
                  </a:lnTo>
                  <a:lnTo>
                    <a:pt x="185" y="116"/>
                  </a:lnTo>
                  <a:lnTo>
                    <a:pt x="183" y="105"/>
                  </a:lnTo>
                  <a:lnTo>
                    <a:pt x="183" y="94"/>
                  </a:lnTo>
                  <a:lnTo>
                    <a:pt x="185" y="83"/>
                  </a:lnTo>
                  <a:lnTo>
                    <a:pt x="185" y="72"/>
                  </a:lnTo>
                  <a:lnTo>
                    <a:pt x="185" y="63"/>
                  </a:lnTo>
                  <a:lnTo>
                    <a:pt x="179" y="55"/>
                  </a:lnTo>
                  <a:lnTo>
                    <a:pt x="170" y="57"/>
                  </a:lnTo>
                  <a:lnTo>
                    <a:pt x="157" y="59"/>
                  </a:lnTo>
                  <a:lnTo>
                    <a:pt x="144" y="48"/>
                  </a:lnTo>
                  <a:lnTo>
                    <a:pt x="135" y="35"/>
                  </a:lnTo>
                  <a:lnTo>
                    <a:pt x="122" y="33"/>
                  </a:lnTo>
                  <a:lnTo>
                    <a:pt x="107" y="29"/>
                  </a:lnTo>
                  <a:lnTo>
                    <a:pt x="107" y="14"/>
                  </a:lnTo>
                  <a:lnTo>
                    <a:pt x="105" y="0"/>
                  </a:lnTo>
                  <a:lnTo>
                    <a:pt x="102" y="13"/>
                  </a:lnTo>
                  <a:lnTo>
                    <a:pt x="98" y="26"/>
                  </a:lnTo>
                  <a:lnTo>
                    <a:pt x="91" y="29"/>
                  </a:lnTo>
                  <a:lnTo>
                    <a:pt x="85" y="33"/>
                  </a:lnTo>
                  <a:lnTo>
                    <a:pt x="74" y="40"/>
                  </a:lnTo>
                  <a:lnTo>
                    <a:pt x="65" y="46"/>
                  </a:lnTo>
                  <a:lnTo>
                    <a:pt x="61" y="51"/>
                  </a:lnTo>
                  <a:lnTo>
                    <a:pt x="59" y="55"/>
                  </a:lnTo>
                  <a:lnTo>
                    <a:pt x="57" y="61"/>
                  </a:lnTo>
                  <a:lnTo>
                    <a:pt x="56" y="66"/>
                  </a:lnTo>
                  <a:lnTo>
                    <a:pt x="52" y="75"/>
                  </a:lnTo>
                  <a:lnTo>
                    <a:pt x="44" y="87"/>
                  </a:lnTo>
                  <a:lnTo>
                    <a:pt x="43" y="99"/>
                  </a:lnTo>
                  <a:lnTo>
                    <a:pt x="41" y="112"/>
                  </a:lnTo>
                  <a:lnTo>
                    <a:pt x="22" y="127"/>
                  </a:lnTo>
                  <a:lnTo>
                    <a:pt x="4" y="142"/>
                  </a:lnTo>
                  <a:lnTo>
                    <a:pt x="2" y="14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81" name="Freeform 98"/>
            <p:cNvSpPr>
              <a:spLocks/>
            </p:cNvSpPr>
            <p:nvPr/>
          </p:nvSpPr>
          <p:spPr bwMode="auto">
            <a:xfrm>
              <a:off x="3861925" y="2085903"/>
              <a:ext cx="92357" cy="117556"/>
            </a:xfrm>
            <a:custGeom>
              <a:avLst/>
              <a:gdLst>
                <a:gd name="T0" fmla="*/ 159 w 177"/>
                <a:gd name="T1" fmla="*/ 108 h 231"/>
                <a:gd name="T2" fmla="*/ 140 w 177"/>
                <a:gd name="T3" fmla="*/ 128 h 231"/>
                <a:gd name="T4" fmla="*/ 133 w 177"/>
                <a:gd name="T5" fmla="*/ 148 h 231"/>
                <a:gd name="T6" fmla="*/ 129 w 177"/>
                <a:gd name="T7" fmla="*/ 163 h 231"/>
                <a:gd name="T8" fmla="*/ 131 w 177"/>
                <a:gd name="T9" fmla="*/ 180 h 231"/>
                <a:gd name="T10" fmla="*/ 146 w 177"/>
                <a:gd name="T11" fmla="*/ 189 h 231"/>
                <a:gd name="T12" fmla="*/ 157 w 177"/>
                <a:gd name="T13" fmla="*/ 193 h 231"/>
                <a:gd name="T14" fmla="*/ 157 w 177"/>
                <a:gd name="T15" fmla="*/ 213 h 231"/>
                <a:gd name="T16" fmla="*/ 153 w 177"/>
                <a:gd name="T17" fmla="*/ 226 h 231"/>
                <a:gd name="T18" fmla="*/ 140 w 177"/>
                <a:gd name="T19" fmla="*/ 224 h 231"/>
                <a:gd name="T20" fmla="*/ 122 w 177"/>
                <a:gd name="T21" fmla="*/ 226 h 231"/>
                <a:gd name="T22" fmla="*/ 98 w 177"/>
                <a:gd name="T23" fmla="*/ 230 h 231"/>
                <a:gd name="T24" fmla="*/ 83 w 177"/>
                <a:gd name="T25" fmla="*/ 224 h 231"/>
                <a:gd name="T26" fmla="*/ 74 w 177"/>
                <a:gd name="T27" fmla="*/ 217 h 231"/>
                <a:gd name="T28" fmla="*/ 66 w 177"/>
                <a:gd name="T29" fmla="*/ 211 h 231"/>
                <a:gd name="T30" fmla="*/ 53 w 177"/>
                <a:gd name="T31" fmla="*/ 220 h 231"/>
                <a:gd name="T32" fmla="*/ 37 w 177"/>
                <a:gd name="T33" fmla="*/ 228 h 231"/>
                <a:gd name="T34" fmla="*/ 27 w 177"/>
                <a:gd name="T35" fmla="*/ 220 h 231"/>
                <a:gd name="T36" fmla="*/ 33 w 177"/>
                <a:gd name="T37" fmla="*/ 213 h 231"/>
                <a:gd name="T38" fmla="*/ 40 w 177"/>
                <a:gd name="T39" fmla="*/ 198 h 231"/>
                <a:gd name="T40" fmla="*/ 37 w 177"/>
                <a:gd name="T41" fmla="*/ 182 h 231"/>
                <a:gd name="T42" fmla="*/ 24 w 177"/>
                <a:gd name="T43" fmla="*/ 163 h 231"/>
                <a:gd name="T44" fmla="*/ 27 w 177"/>
                <a:gd name="T45" fmla="*/ 133 h 231"/>
                <a:gd name="T46" fmla="*/ 44 w 177"/>
                <a:gd name="T47" fmla="*/ 104 h 231"/>
                <a:gd name="T48" fmla="*/ 40 w 177"/>
                <a:gd name="T49" fmla="*/ 95 h 231"/>
                <a:gd name="T50" fmla="*/ 25 w 177"/>
                <a:gd name="T51" fmla="*/ 84 h 231"/>
                <a:gd name="T52" fmla="*/ 11 w 177"/>
                <a:gd name="T53" fmla="*/ 65 h 231"/>
                <a:gd name="T54" fmla="*/ 5 w 177"/>
                <a:gd name="T55" fmla="*/ 50 h 231"/>
                <a:gd name="T56" fmla="*/ 0 w 177"/>
                <a:gd name="T57" fmla="*/ 41 h 231"/>
                <a:gd name="T58" fmla="*/ 11 w 177"/>
                <a:gd name="T59" fmla="*/ 30 h 231"/>
                <a:gd name="T60" fmla="*/ 25 w 177"/>
                <a:gd name="T61" fmla="*/ 26 h 231"/>
                <a:gd name="T62" fmla="*/ 33 w 177"/>
                <a:gd name="T63" fmla="*/ 23 h 231"/>
                <a:gd name="T64" fmla="*/ 37 w 177"/>
                <a:gd name="T65" fmla="*/ 12 h 231"/>
                <a:gd name="T66" fmla="*/ 48 w 177"/>
                <a:gd name="T67" fmla="*/ 8 h 231"/>
                <a:gd name="T68" fmla="*/ 75 w 177"/>
                <a:gd name="T69" fmla="*/ 4 h 231"/>
                <a:gd name="T70" fmla="*/ 86 w 177"/>
                <a:gd name="T71" fmla="*/ 15 h 231"/>
                <a:gd name="T72" fmla="*/ 92 w 177"/>
                <a:gd name="T73" fmla="*/ 39 h 231"/>
                <a:gd name="T74" fmla="*/ 107 w 177"/>
                <a:gd name="T75" fmla="*/ 41 h 231"/>
                <a:gd name="T76" fmla="*/ 122 w 177"/>
                <a:gd name="T77" fmla="*/ 48 h 231"/>
                <a:gd name="T78" fmla="*/ 149 w 177"/>
                <a:gd name="T79" fmla="*/ 60 h 231"/>
                <a:gd name="T80" fmla="*/ 166 w 177"/>
                <a:gd name="T81" fmla="*/ 65 h 231"/>
                <a:gd name="T82" fmla="*/ 177 w 177"/>
                <a:gd name="T83" fmla="*/ 78 h 231"/>
                <a:gd name="T84" fmla="*/ 175 w 177"/>
                <a:gd name="T85" fmla="*/ 95 h 2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7"/>
                <a:gd name="T130" fmla="*/ 0 h 231"/>
                <a:gd name="T131" fmla="*/ 177 w 177"/>
                <a:gd name="T132" fmla="*/ 231 h 23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7" h="231">
                  <a:moveTo>
                    <a:pt x="175" y="98"/>
                  </a:moveTo>
                  <a:lnTo>
                    <a:pt x="159" y="108"/>
                  </a:lnTo>
                  <a:lnTo>
                    <a:pt x="146" y="117"/>
                  </a:lnTo>
                  <a:lnTo>
                    <a:pt x="140" y="128"/>
                  </a:lnTo>
                  <a:lnTo>
                    <a:pt x="138" y="141"/>
                  </a:lnTo>
                  <a:lnTo>
                    <a:pt x="133" y="148"/>
                  </a:lnTo>
                  <a:lnTo>
                    <a:pt x="129" y="156"/>
                  </a:lnTo>
                  <a:lnTo>
                    <a:pt x="129" y="163"/>
                  </a:lnTo>
                  <a:lnTo>
                    <a:pt x="129" y="172"/>
                  </a:lnTo>
                  <a:lnTo>
                    <a:pt x="131" y="180"/>
                  </a:lnTo>
                  <a:lnTo>
                    <a:pt x="133" y="187"/>
                  </a:lnTo>
                  <a:lnTo>
                    <a:pt x="146" y="189"/>
                  </a:lnTo>
                  <a:lnTo>
                    <a:pt x="155" y="187"/>
                  </a:lnTo>
                  <a:lnTo>
                    <a:pt x="157" y="193"/>
                  </a:lnTo>
                  <a:lnTo>
                    <a:pt x="157" y="207"/>
                  </a:lnTo>
                  <a:lnTo>
                    <a:pt x="157" y="213"/>
                  </a:lnTo>
                  <a:lnTo>
                    <a:pt x="155" y="220"/>
                  </a:lnTo>
                  <a:lnTo>
                    <a:pt x="153" y="226"/>
                  </a:lnTo>
                  <a:lnTo>
                    <a:pt x="149" y="231"/>
                  </a:lnTo>
                  <a:lnTo>
                    <a:pt x="140" y="224"/>
                  </a:lnTo>
                  <a:lnTo>
                    <a:pt x="131" y="222"/>
                  </a:lnTo>
                  <a:lnTo>
                    <a:pt x="122" y="226"/>
                  </a:lnTo>
                  <a:lnTo>
                    <a:pt x="110" y="230"/>
                  </a:lnTo>
                  <a:lnTo>
                    <a:pt x="98" y="230"/>
                  </a:lnTo>
                  <a:lnTo>
                    <a:pt x="90" y="226"/>
                  </a:lnTo>
                  <a:lnTo>
                    <a:pt x="83" y="224"/>
                  </a:lnTo>
                  <a:lnTo>
                    <a:pt x="79" y="220"/>
                  </a:lnTo>
                  <a:lnTo>
                    <a:pt x="74" y="217"/>
                  </a:lnTo>
                  <a:lnTo>
                    <a:pt x="70" y="213"/>
                  </a:lnTo>
                  <a:lnTo>
                    <a:pt x="66" y="211"/>
                  </a:lnTo>
                  <a:lnTo>
                    <a:pt x="61" y="211"/>
                  </a:lnTo>
                  <a:lnTo>
                    <a:pt x="53" y="220"/>
                  </a:lnTo>
                  <a:lnTo>
                    <a:pt x="48" y="230"/>
                  </a:lnTo>
                  <a:lnTo>
                    <a:pt x="37" y="228"/>
                  </a:lnTo>
                  <a:lnTo>
                    <a:pt x="27" y="220"/>
                  </a:lnTo>
                  <a:lnTo>
                    <a:pt x="27" y="218"/>
                  </a:lnTo>
                  <a:lnTo>
                    <a:pt x="33" y="213"/>
                  </a:lnTo>
                  <a:lnTo>
                    <a:pt x="38" y="206"/>
                  </a:lnTo>
                  <a:lnTo>
                    <a:pt x="40" y="198"/>
                  </a:lnTo>
                  <a:lnTo>
                    <a:pt x="42" y="191"/>
                  </a:lnTo>
                  <a:lnTo>
                    <a:pt x="37" y="182"/>
                  </a:lnTo>
                  <a:lnTo>
                    <a:pt x="31" y="172"/>
                  </a:lnTo>
                  <a:lnTo>
                    <a:pt x="24" y="163"/>
                  </a:lnTo>
                  <a:lnTo>
                    <a:pt x="16" y="156"/>
                  </a:lnTo>
                  <a:lnTo>
                    <a:pt x="27" y="133"/>
                  </a:lnTo>
                  <a:lnTo>
                    <a:pt x="44" y="109"/>
                  </a:lnTo>
                  <a:lnTo>
                    <a:pt x="44" y="104"/>
                  </a:lnTo>
                  <a:lnTo>
                    <a:pt x="42" y="98"/>
                  </a:lnTo>
                  <a:lnTo>
                    <a:pt x="40" y="95"/>
                  </a:lnTo>
                  <a:lnTo>
                    <a:pt x="37" y="89"/>
                  </a:lnTo>
                  <a:lnTo>
                    <a:pt x="25" y="84"/>
                  </a:lnTo>
                  <a:lnTo>
                    <a:pt x="13" y="76"/>
                  </a:lnTo>
                  <a:lnTo>
                    <a:pt x="11" y="65"/>
                  </a:lnTo>
                  <a:lnTo>
                    <a:pt x="11" y="54"/>
                  </a:lnTo>
                  <a:lnTo>
                    <a:pt x="5" y="50"/>
                  </a:lnTo>
                  <a:lnTo>
                    <a:pt x="0" y="48"/>
                  </a:lnTo>
                  <a:lnTo>
                    <a:pt x="0" y="41"/>
                  </a:lnTo>
                  <a:lnTo>
                    <a:pt x="3" y="34"/>
                  </a:lnTo>
                  <a:lnTo>
                    <a:pt x="11" y="30"/>
                  </a:lnTo>
                  <a:lnTo>
                    <a:pt x="20" y="28"/>
                  </a:lnTo>
                  <a:lnTo>
                    <a:pt x="25" y="26"/>
                  </a:lnTo>
                  <a:lnTo>
                    <a:pt x="29" y="24"/>
                  </a:lnTo>
                  <a:lnTo>
                    <a:pt x="33" y="23"/>
                  </a:lnTo>
                  <a:lnTo>
                    <a:pt x="35" y="19"/>
                  </a:lnTo>
                  <a:lnTo>
                    <a:pt x="37" y="12"/>
                  </a:lnTo>
                  <a:lnTo>
                    <a:pt x="37" y="0"/>
                  </a:lnTo>
                  <a:lnTo>
                    <a:pt x="48" y="8"/>
                  </a:lnTo>
                  <a:lnTo>
                    <a:pt x="57" y="12"/>
                  </a:lnTo>
                  <a:lnTo>
                    <a:pt x="75" y="4"/>
                  </a:lnTo>
                  <a:lnTo>
                    <a:pt x="85" y="0"/>
                  </a:lnTo>
                  <a:lnTo>
                    <a:pt x="86" y="15"/>
                  </a:lnTo>
                  <a:lnTo>
                    <a:pt x="86" y="36"/>
                  </a:lnTo>
                  <a:lnTo>
                    <a:pt x="92" y="39"/>
                  </a:lnTo>
                  <a:lnTo>
                    <a:pt x="99" y="41"/>
                  </a:lnTo>
                  <a:lnTo>
                    <a:pt x="107" y="41"/>
                  </a:lnTo>
                  <a:lnTo>
                    <a:pt x="112" y="43"/>
                  </a:lnTo>
                  <a:lnTo>
                    <a:pt x="122" y="48"/>
                  </a:lnTo>
                  <a:lnTo>
                    <a:pt x="142" y="54"/>
                  </a:lnTo>
                  <a:lnTo>
                    <a:pt x="149" y="60"/>
                  </a:lnTo>
                  <a:lnTo>
                    <a:pt x="155" y="67"/>
                  </a:lnTo>
                  <a:lnTo>
                    <a:pt x="166" y="65"/>
                  </a:lnTo>
                  <a:lnTo>
                    <a:pt x="175" y="65"/>
                  </a:lnTo>
                  <a:lnTo>
                    <a:pt x="177" y="78"/>
                  </a:lnTo>
                  <a:lnTo>
                    <a:pt x="177" y="89"/>
                  </a:lnTo>
                  <a:lnTo>
                    <a:pt x="175" y="95"/>
                  </a:lnTo>
                  <a:lnTo>
                    <a:pt x="175" y="9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82" name="Freeform 99"/>
            <p:cNvSpPr>
              <a:spLocks/>
            </p:cNvSpPr>
            <p:nvPr/>
          </p:nvSpPr>
          <p:spPr bwMode="auto">
            <a:xfrm>
              <a:off x="3971501" y="2150024"/>
              <a:ext cx="92879" cy="70737"/>
            </a:xfrm>
            <a:custGeom>
              <a:avLst/>
              <a:gdLst>
                <a:gd name="T0" fmla="*/ 82 w 178"/>
                <a:gd name="T1" fmla="*/ 139 h 139"/>
                <a:gd name="T2" fmla="*/ 78 w 178"/>
                <a:gd name="T3" fmla="*/ 133 h 139"/>
                <a:gd name="T4" fmla="*/ 74 w 178"/>
                <a:gd name="T5" fmla="*/ 128 h 139"/>
                <a:gd name="T6" fmla="*/ 67 w 178"/>
                <a:gd name="T7" fmla="*/ 124 h 139"/>
                <a:gd name="T8" fmla="*/ 61 w 178"/>
                <a:gd name="T9" fmla="*/ 120 h 139"/>
                <a:gd name="T10" fmla="*/ 61 w 178"/>
                <a:gd name="T11" fmla="*/ 115 h 139"/>
                <a:gd name="T12" fmla="*/ 61 w 178"/>
                <a:gd name="T13" fmla="*/ 109 h 139"/>
                <a:gd name="T14" fmla="*/ 50 w 178"/>
                <a:gd name="T15" fmla="*/ 105 h 139"/>
                <a:gd name="T16" fmla="*/ 39 w 178"/>
                <a:gd name="T17" fmla="*/ 100 h 139"/>
                <a:gd name="T18" fmla="*/ 41 w 178"/>
                <a:gd name="T19" fmla="*/ 94 h 139"/>
                <a:gd name="T20" fmla="*/ 43 w 178"/>
                <a:gd name="T21" fmla="*/ 91 h 139"/>
                <a:gd name="T22" fmla="*/ 35 w 178"/>
                <a:gd name="T23" fmla="*/ 85 h 139"/>
                <a:gd name="T24" fmla="*/ 30 w 178"/>
                <a:gd name="T25" fmla="*/ 80 h 139"/>
                <a:gd name="T26" fmla="*/ 24 w 178"/>
                <a:gd name="T27" fmla="*/ 63 h 139"/>
                <a:gd name="T28" fmla="*/ 22 w 178"/>
                <a:gd name="T29" fmla="*/ 48 h 139"/>
                <a:gd name="T30" fmla="*/ 11 w 178"/>
                <a:gd name="T31" fmla="*/ 48 h 139"/>
                <a:gd name="T32" fmla="*/ 0 w 178"/>
                <a:gd name="T33" fmla="*/ 44 h 139"/>
                <a:gd name="T34" fmla="*/ 4 w 178"/>
                <a:gd name="T35" fmla="*/ 32 h 139"/>
                <a:gd name="T36" fmla="*/ 4 w 178"/>
                <a:gd name="T37" fmla="*/ 13 h 139"/>
                <a:gd name="T38" fmla="*/ 4 w 178"/>
                <a:gd name="T39" fmla="*/ 13 h 139"/>
                <a:gd name="T40" fmla="*/ 8 w 178"/>
                <a:gd name="T41" fmla="*/ 9 h 139"/>
                <a:gd name="T42" fmla="*/ 15 w 178"/>
                <a:gd name="T43" fmla="*/ 4 h 139"/>
                <a:gd name="T44" fmla="*/ 19 w 178"/>
                <a:gd name="T45" fmla="*/ 2 h 139"/>
                <a:gd name="T46" fmla="*/ 24 w 178"/>
                <a:gd name="T47" fmla="*/ 0 h 139"/>
                <a:gd name="T48" fmla="*/ 32 w 178"/>
                <a:gd name="T49" fmla="*/ 0 h 139"/>
                <a:gd name="T50" fmla="*/ 41 w 178"/>
                <a:gd name="T51" fmla="*/ 0 h 139"/>
                <a:gd name="T52" fmla="*/ 50 w 178"/>
                <a:gd name="T53" fmla="*/ 4 h 139"/>
                <a:gd name="T54" fmla="*/ 59 w 178"/>
                <a:gd name="T55" fmla="*/ 9 h 139"/>
                <a:gd name="T56" fmla="*/ 70 w 178"/>
                <a:gd name="T57" fmla="*/ 15 h 139"/>
                <a:gd name="T58" fmla="*/ 83 w 178"/>
                <a:gd name="T59" fmla="*/ 24 h 139"/>
                <a:gd name="T60" fmla="*/ 94 w 178"/>
                <a:gd name="T61" fmla="*/ 33 h 139"/>
                <a:gd name="T62" fmla="*/ 106 w 178"/>
                <a:gd name="T63" fmla="*/ 43 h 139"/>
                <a:gd name="T64" fmla="*/ 118 w 178"/>
                <a:gd name="T65" fmla="*/ 43 h 139"/>
                <a:gd name="T66" fmla="*/ 130 w 178"/>
                <a:gd name="T67" fmla="*/ 41 h 139"/>
                <a:gd name="T68" fmla="*/ 131 w 178"/>
                <a:gd name="T69" fmla="*/ 48 h 139"/>
                <a:gd name="T70" fmla="*/ 131 w 178"/>
                <a:gd name="T71" fmla="*/ 57 h 139"/>
                <a:gd name="T72" fmla="*/ 144 w 178"/>
                <a:gd name="T73" fmla="*/ 63 h 139"/>
                <a:gd name="T74" fmla="*/ 155 w 178"/>
                <a:gd name="T75" fmla="*/ 70 h 139"/>
                <a:gd name="T76" fmla="*/ 150 w 178"/>
                <a:gd name="T77" fmla="*/ 81 h 139"/>
                <a:gd name="T78" fmla="*/ 146 w 178"/>
                <a:gd name="T79" fmla="*/ 91 h 139"/>
                <a:gd name="T80" fmla="*/ 155 w 178"/>
                <a:gd name="T81" fmla="*/ 89 h 139"/>
                <a:gd name="T82" fmla="*/ 168 w 178"/>
                <a:gd name="T83" fmla="*/ 87 h 139"/>
                <a:gd name="T84" fmla="*/ 176 w 178"/>
                <a:gd name="T85" fmla="*/ 96 h 139"/>
                <a:gd name="T86" fmla="*/ 178 w 178"/>
                <a:gd name="T87" fmla="*/ 107 h 139"/>
                <a:gd name="T88" fmla="*/ 174 w 178"/>
                <a:gd name="T89" fmla="*/ 111 h 139"/>
                <a:gd name="T90" fmla="*/ 168 w 178"/>
                <a:gd name="T91" fmla="*/ 113 h 139"/>
                <a:gd name="T92" fmla="*/ 146 w 178"/>
                <a:gd name="T93" fmla="*/ 118 h 139"/>
                <a:gd name="T94" fmla="*/ 124 w 178"/>
                <a:gd name="T95" fmla="*/ 124 h 139"/>
                <a:gd name="T96" fmla="*/ 113 w 178"/>
                <a:gd name="T97" fmla="*/ 129 h 139"/>
                <a:gd name="T98" fmla="*/ 102 w 178"/>
                <a:gd name="T99" fmla="*/ 135 h 139"/>
                <a:gd name="T100" fmla="*/ 93 w 178"/>
                <a:gd name="T101" fmla="*/ 139 h 139"/>
                <a:gd name="T102" fmla="*/ 82 w 178"/>
                <a:gd name="T103" fmla="*/ 139 h 13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8"/>
                <a:gd name="T157" fmla="*/ 0 h 139"/>
                <a:gd name="T158" fmla="*/ 178 w 178"/>
                <a:gd name="T159" fmla="*/ 139 h 13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8" h="139">
                  <a:moveTo>
                    <a:pt x="82" y="139"/>
                  </a:moveTo>
                  <a:lnTo>
                    <a:pt x="78" y="133"/>
                  </a:lnTo>
                  <a:lnTo>
                    <a:pt x="74" y="128"/>
                  </a:lnTo>
                  <a:lnTo>
                    <a:pt x="67" y="124"/>
                  </a:lnTo>
                  <a:lnTo>
                    <a:pt x="61" y="120"/>
                  </a:lnTo>
                  <a:lnTo>
                    <a:pt x="61" y="115"/>
                  </a:lnTo>
                  <a:lnTo>
                    <a:pt x="61" y="109"/>
                  </a:lnTo>
                  <a:lnTo>
                    <a:pt x="50" y="105"/>
                  </a:lnTo>
                  <a:lnTo>
                    <a:pt x="39" y="100"/>
                  </a:lnTo>
                  <a:lnTo>
                    <a:pt x="41" y="94"/>
                  </a:lnTo>
                  <a:lnTo>
                    <a:pt x="43" y="91"/>
                  </a:lnTo>
                  <a:lnTo>
                    <a:pt x="35" y="85"/>
                  </a:lnTo>
                  <a:lnTo>
                    <a:pt x="30" y="80"/>
                  </a:lnTo>
                  <a:lnTo>
                    <a:pt x="24" y="63"/>
                  </a:lnTo>
                  <a:lnTo>
                    <a:pt x="22" y="48"/>
                  </a:lnTo>
                  <a:lnTo>
                    <a:pt x="11" y="48"/>
                  </a:lnTo>
                  <a:lnTo>
                    <a:pt x="0" y="44"/>
                  </a:lnTo>
                  <a:lnTo>
                    <a:pt x="4" y="32"/>
                  </a:lnTo>
                  <a:lnTo>
                    <a:pt x="4" y="13"/>
                  </a:lnTo>
                  <a:lnTo>
                    <a:pt x="8" y="9"/>
                  </a:lnTo>
                  <a:lnTo>
                    <a:pt x="15" y="4"/>
                  </a:lnTo>
                  <a:lnTo>
                    <a:pt x="19" y="2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41" y="0"/>
                  </a:lnTo>
                  <a:lnTo>
                    <a:pt x="50" y="4"/>
                  </a:lnTo>
                  <a:lnTo>
                    <a:pt x="59" y="9"/>
                  </a:lnTo>
                  <a:lnTo>
                    <a:pt x="70" y="15"/>
                  </a:lnTo>
                  <a:lnTo>
                    <a:pt x="83" y="24"/>
                  </a:lnTo>
                  <a:lnTo>
                    <a:pt x="94" y="33"/>
                  </a:lnTo>
                  <a:lnTo>
                    <a:pt x="106" y="43"/>
                  </a:lnTo>
                  <a:lnTo>
                    <a:pt x="118" y="43"/>
                  </a:lnTo>
                  <a:lnTo>
                    <a:pt x="130" y="41"/>
                  </a:lnTo>
                  <a:lnTo>
                    <a:pt x="131" y="48"/>
                  </a:lnTo>
                  <a:lnTo>
                    <a:pt x="131" y="57"/>
                  </a:lnTo>
                  <a:lnTo>
                    <a:pt x="144" y="63"/>
                  </a:lnTo>
                  <a:lnTo>
                    <a:pt x="155" y="70"/>
                  </a:lnTo>
                  <a:lnTo>
                    <a:pt x="150" y="81"/>
                  </a:lnTo>
                  <a:lnTo>
                    <a:pt x="146" y="91"/>
                  </a:lnTo>
                  <a:lnTo>
                    <a:pt x="155" y="89"/>
                  </a:lnTo>
                  <a:lnTo>
                    <a:pt x="168" y="87"/>
                  </a:lnTo>
                  <a:lnTo>
                    <a:pt x="176" y="96"/>
                  </a:lnTo>
                  <a:lnTo>
                    <a:pt x="178" y="107"/>
                  </a:lnTo>
                  <a:lnTo>
                    <a:pt x="174" y="111"/>
                  </a:lnTo>
                  <a:lnTo>
                    <a:pt x="168" y="113"/>
                  </a:lnTo>
                  <a:lnTo>
                    <a:pt x="146" y="118"/>
                  </a:lnTo>
                  <a:lnTo>
                    <a:pt x="124" y="124"/>
                  </a:lnTo>
                  <a:lnTo>
                    <a:pt x="113" y="129"/>
                  </a:lnTo>
                  <a:lnTo>
                    <a:pt x="102" y="135"/>
                  </a:lnTo>
                  <a:lnTo>
                    <a:pt x="93" y="139"/>
                  </a:lnTo>
                  <a:lnTo>
                    <a:pt x="82" y="139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85" name="Freeform 100"/>
            <p:cNvSpPr>
              <a:spLocks/>
            </p:cNvSpPr>
            <p:nvPr/>
          </p:nvSpPr>
          <p:spPr bwMode="auto">
            <a:xfrm>
              <a:off x="4002287" y="2118981"/>
              <a:ext cx="180540" cy="110941"/>
            </a:xfrm>
            <a:custGeom>
              <a:avLst/>
              <a:gdLst>
                <a:gd name="T0" fmla="*/ 224 w 346"/>
                <a:gd name="T1" fmla="*/ 213 h 218"/>
                <a:gd name="T2" fmla="*/ 202 w 346"/>
                <a:gd name="T3" fmla="*/ 205 h 218"/>
                <a:gd name="T4" fmla="*/ 198 w 346"/>
                <a:gd name="T5" fmla="*/ 194 h 218"/>
                <a:gd name="T6" fmla="*/ 194 w 346"/>
                <a:gd name="T7" fmla="*/ 185 h 218"/>
                <a:gd name="T8" fmla="*/ 187 w 346"/>
                <a:gd name="T9" fmla="*/ 181 h 218"/>
                <a:gd name="T10" fmla="*/ 174 w 346"/>
                <a:gd name="T11" fmla="*/ 183 h 218"/>
                <a:gd name="T12" fmla="*/ 159 w 346"/>
                <a:gd name="T13" fmla="*/ 189 h 218"/>
                <a:gd name="T14" fmla="*/ 139 w 346"/>
                <a:gd name="T15" fmla="*/ 189 h 218"/>
                <a:gd name="T16" fmla="*/ 122 w 346"/>
                <a:gd name="T17" fmla="*/ 178 h 218"/>
                <a:gd name="T18" fmla="*/ 119 w 346"/>
                <a:gd name="T19" fmla="*/ 168 h 218"/>
                <a:gd name="T20" fmla="*/ 119 w 346"/>
                <a:gd name="T21" fmla="*/ 168 h 218"/>
                <a:gd name="T22" fmla="*/ 117 w 346"/>
                <a:gd name="T23" fmla="*/ 157 h 218"/>
                <a:gd name="T24" fmla="*/ 96 w 346"/>
                <a:gd name="T25" fmla="*/ 150 h 218"/>
                <a:gd name="T26" fmla="*/ 91 w 346"/>
                <a:gd name="T27" fmla="*/ 142 h 218"/>
                <a:gd name="T28" fmla="*/ 85 w 346"/>
                <a:gd name="T29" fmla="*/ 124 h 218"/>
                <a:gd name="T30" fmla="*/ 72 w 346"/>
                <a:gd name="T31" fmla="*/ 109 h 218"/>
                <a:gd name="T32" fmla="*/ 59 w 346"/>
                <a:gd name="T33" fmla="*/ 104 h 218"/>
                <a:gd name="T34" fmla="*/ 35 w 346"/>
                <a:gd name="T35" fmla="*/ 94 h 218"/>
                <a:gd name="T36" fmla="*/ 11 w 346"/>
                <a:gd name="T37" fmla="*/ 76 h 218"/>
                <a:gd name="T38" fmla="*/ 15 w 346"/>
                <a:gd name="T39" fmla="*/ 70 h 218"/>
                <a:gd name="T40" fmla="*/ 39 w 346"/>
                <a:gd name="T41" fmla="*/ 65 h 218"/>
                <a:gd name="T42" fmla="*/ 56 w 346"/>
                <a:gd name="T43" fmla="*/ 50 h 218"/>
                <a:gd name="T44" fmla="*/ 69 w 346"/>
                <a:gd name="T45" fmla="*/ 41 h 218"/>
                <a:gd name="T46" fmla="*/ 83 w 346"/>
                <a:gd name="T47" fmla="*/ 33 h 218"/>
                <a:gd name="T48" fmla="*/ 96 w 346"/>
                <a:gd name="T49" fmla="*/ 26 h 218"/>
                <a:gd name="T50" fmla="*/ 104 w 346"/>
                <a:gd name="T51" fmla="*/ 19 h 218"/>
                <a:gd name="T52" fmla="*/ 119 w 346"/>
                <a:gd name="T53" fmla="*/ 11 h 218"/>
                <a:gd name="T54" fmla="*/ 139 w 346"/>
                <a:gd name="T55" fmla="*/ 2 h 218"/>
                <a:gd name="T56" fmla="*/ 150 w 346"/>
                <a:gd name="T57" fmla="*/ 8 h 218"/>
                <a:gd name="T58" fmla="*/ 161 w 346"/>
                <a:gd name="T59" fmla="*/ 15 h 218"/>
                <a:gd name="T60" fmla="*/ 172 w 346"/>
                <a:gd name="T61" fmla="*/ 17 h 218"/>
                <a:gd name="T62" fmla="*/ 183 w 346"/>
                <a:gd name="T63" fmla="*/ 15 h 218"/>
                <a:gd name="T64" fmla="*/ 187 w 346"/>
                <a:gd name="T65" fmla="*/ 17 h 218"/>
                <a:gd name="T66" fmla="*/ 192 w 346"/>
                <a:gd name="T67" fmla="*/ 28 h 218"/>
                <a:gd name="T68" fmla="*/ 207 w 346"/>
                <a:gd name="T69" fmla="*/ 43 h 218"/>
                <a:gd name="T70" fmla="*/ 224 w 346"/>
                <a:gd name="T71" fmla="*/ 70 h 218"/>
                <a:gd name="T72" fmla="*/ 237 w 346"/>
                <a:gd name="T73" fmla="*/ 102 h 218"/>
                <a:gd name="T74" fmla="*/ 253 w 346"/>
                <a:gd name="T75" fmla="*/ 115 h 218"/>
                <a:gd name="T76" fmla="*/ 270 w 346"/>
                <a:gd name="T77" fmla="*/ 129 h 218"/>
                <a:gd name="T78" fmla="*/ 283 w 346"/>
                <a:gd name="T79" fmla="*/ 142 h 218"/>
                <a:gd name="T80" fmla="*/ 294 w 346"/>
                <a:gd name="T81" fmla="*/ 148 h 218"/>
                <a:gd name="T82" fmla="*/ 311 w 346"/>
                <a:gd name="T83" fmla="*/ 146 h 218"/>
                <a:gd name="T84" fmla="*/ 320 w 346"/>
                <a:gd name="T85" fmla="*/ 135 h 218"/>
                <a:gd name="T86" fmla="*/ 327 w 346"/>
                <a:gd name="T87" fmla="*/ 129 h 218"/>
                <a:gd name="T88" fmla="*/ 335 w 346"/>
                <a:gd name="T89" fmla="*/ 141 h 218"/>
                <a:gd name="T90" fmla="*/ 340 w 346"/>
                <a:gd name="T91" fmla="*/ 153 h 218"/>
                <a:gd name="T92" fmla="*/ 346 w 346"/>
                <a:gd name="T93" fmla="*/ 159 h 218"/>
                <a:gd name="T94" fmla="*/ 333 w 346"/>
                <a:gd name="T95" fmla="*/ 168 h 218"/>
                <a:gd name="T96" fmla="*/ 329 w 346"/>
                <a:gd name="T97" fmla="*/ 179 h 218"/>
                <a:gd name="T98" fmla="*/ 329 w 346"/>
                <a:gd name="T99" fmla="*/ 198 h 218"/>
                <a:gd name="T100" fmla="*/ 325 w 346"/>
                <a:gd name="T101" fmla="*/ 205 h 218"/>
                <a:gd name="T102" fmla="*/ 318 w 346"/>
                <a:gd name="T103" fmla="*/ 203 h 218"/>
                <a:gd name="T104" fmla="*/ 303 w 346"/>
                <a:gd name="T105" fmla="*/ 202 h 218"/>
                <a:gd name="T106" fmla="*/ 277 w 346"/>
                <a:gd name="T107" fmla="*/ 207 h 218"/>
                <a:gd name="T108" fmla="*/ 259 w 346"/>
                <a:gd name="T109" fmla="*/ 203 h 218"/>
                <a:gd name="T110" fmla="*/ 250 w 346"/>
                <a:gd name="T111" fmla="*/ 211 h 218"/>
                <a:gd name="T112" fmla="*/ 240 w 346"/>
                <a:gd name="T113" fmla="*/ 218 h 21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6"/>
                <a:gd name="T172" fmla="*/ 0 h 218"/>
                <a:gd name="T173" fmla="*/ 346 w 346"/>
                <a:gd name="T174" fmla="*/ 218 h 21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6" h="218">
                  <a:moveTo>
                    <a:pt x="240" y="218"/>
                  </a:moveTo>
                  <a:lnTo>
                    <a:pt x="224" y="213"/>
                  </a:lnTo>
                  <a:lnTo>
                    <a:pt x="211" y="209"/>
                  </a:lnTo>
                  <a:lnTo>
                    <a:pt x="202" y="205"/>
                  </a:lnTo>
                  <a:lnTo>
                    <a:pt x="198" y="202"/>
                  </a:lnTo>
                  <a:lnTo>
                    <a:pt x="198" y="194"/>
                  </a:lnTo>
                  <a:lnTo>
                    <a:pt x="196" y="190"/>
                  </a:lnTo>
                  <a:lnTo>
                    <a:pt x="194" y="185"/>
                  </a:lnTo>
                  <a:lnTo>
                    <a:pt x="191" y="183"/>
                  </a:lnTo>
                  <a:lnTo>
                    <a:pt x="187" y="181"/>
                  </a:lnTo>
                  <a:lnTo>
                    <a:pt x="181" y="181"/>
                  </a:lnTo>
                  <a:lnTo>
                    <a:pt x="174" y="183"/>
                  </a:lnTo>
                  <a:lnTo>
                    <a:pt x="167" y="187"/>
                  </a:lnTo>
                  <a:lnTo>
                    <a:pt x="159" y="189"/>
                  </a:lnTo>
                  <a:lnTo>
                    <a:pt x="150" y="189"/>
                  </a:lnTo>
                  <a:lnTo>
                    <a:pt x="139" y="189"/>
                  </a:lnTo>
                  <a:lnTo>
                    <a:pt x="126" y="185"/>
                  </a:lnTo>
                  <a:lnTo>
                    <a:pt x="122" y="178"/>
                  </a:lnTo>
                  <a:lnTo>
                    <a:pt x="120" y="168"/>
                  </a:lnTo>
                  <a:lnTo>
                    <a:pt x="119" y="168"/>
                  </a:lnTo>
                  <a:lnTo>
                    <a:pt x="117" y="157"/>
                  </a:lnTo>
                  <a:lnTo>
                    <a:pt x="109" y="148"/>
                  </a:lnTo>
                  <a:lnTo>
                    <a:pt x="96" y="150"/>
                  </a:lnTo>
                  <a:lnTo>
                    <a:pt x="87" y="152"/>
                  </a:lnTo>
                  <a:lnTo>
                    <a:pt x="91" y="142"/>
                  </a:lnTo>
                  <a:lnTo>
                    <a:pt x="96" y="131"/>
                  </a:lnTo>
                  <a:lnTo>
                    <a:pt x="85" y="124"/>
                  </a:lnTo>
                  <a:lnTo>
                    <a:pt x="72" y="118"/>
                  </a:lnTo>
                  <a:lnTo>
                    <a:pt x="72" y="109"/>
                  </a:lnTo>
                  <a:lnTo>
                    <a:pt x="71" y="102"/>
                  </a:lnTo>
                  <a:lnTo>
                    <a:pt x="59" y="104"/>
                  </a:lnTo>
                  <a:lnTo>
                    <a:pt x="47" y="104"/>
                  </a:lnTo>
                  <a:lnTo>
                    <a:pt x="35" y="94"/>
                  </a:lnTo>
                  <a:lnTo>
                    <a:pt x="24" y="85"/>
                  </a:lnTo>
                  <a:lnTo>
                    <a:pt x="11" y="76"/>
                  </a:lnTo>
                  <a:lnTo>
                    <a:pt x="0" y="70"/>
                  </a:lnTo>
                  <a:lnTo>
                    <a:pt x="15" y="70"/>
                  </a:lnTo>
                  <a:lnTo>
                    <a:pt x="28" y="68"/>
                  </a:lnTo>
                  <a:lnTo>
                    <a:pt x="39" y="65"/>
                  </a:lnTo>
                  <a:lnTo>
                    <a:pt x="48" y="57"/>
                  </a:lnTo>
                  <a:lnTo>
                    <a:pt x="56" y="50"/>
                  </a:lnTo>
                  <a:lnTo>
                    <a:pt x="61" y="44"/>
                  </a:lnTo>
                  <a:lnTo>
                    <a:pt x="69" y="41"/>
                  </a:lnTo>
                  <a:lnTo>
                    <a:pt x="76" y="37"/>
                  </a:lnTo>
                  <a:lnTo>
                    <a:pt x="83" y="33"/>
                  </a:lnTo>
                  <a:lnTo>
                    <a:pt x="91" y="30"/>
                  </a:lnTo>
                  <a:lnTo>
                    <a:pt x="96" y="26"/>
                  </a:lnTo>
                  <a:lnTo>
                    <a:pt x="104" y="19"/>
                  </a:lnTo>
                  <a:lnTo>
                    <a:pt x="106" y="20"/>
                  </a:lnTo>
                  <a:lnTo>
                    <a:pt x="119" y="11"/>
                  </a:lnTo>
                  <a:lnTo>
                    <a:pt x="133" y="0"/>
                  </a:lnTo>
                  <a:lnTo>
                    <a:pt x="139" y="2"/>
                  </a:lnTo>
                  <a:lnTo>
                    <a:pt x="144" y="4"/>
                  </a:lnTo>
                  <a:lnTo>
                    <a:pt x="150" y="8"/>
                  </a:lnTo>
                  <a:lnTo>
                    <a:pt x="156" y="11"/>
                  </a:lnTo>
                  <a:lnTo>
                    <a:pt x="161" y="15"/>
                  </a:lnTo>
                  <a:lnTo>
                    <a:pt x="167" y="17"/>
                  </a:lnTo>
                  <a:lnTo>
                    <a:pt x="172" y="17"/>
                  </a:lnTo>
                  <a:lnTo>
                    <a:pt x="181" y="15"/>
                  </a:lnTo>
                  <a:lnTo>
                    <a:pt x="183" y="15"/>
                  </a:lnTo>
                  <a:lnTo>
                    <a:pt x="185" y="15"/>
                  </a:lnTo>
                  <a:lnTo>
                    <a:pt x="187" y="17"/>
                  </a:lnTo>
                  <a:lnTo>
                    <a:pt x="189" y="20"/>
                  </a:lnTo>
                  <a:lnTo>
                    <a:pt x="192" y="28"/>
                  </a:lnTo>
                  <a:lnTo>
                    <a:pt x="198" y="33"/>
                  </a:lnTo>
                  <a:lnTo>
                    <a:pt x="207" y="43"/>
                  </a:lnTo>
                  <a:lnTo>
                    <a:pt x="216" y="54"/>
                  </a:lnTo>
                  <a:lnTo>
                    <a:pt x="224" y="70"/>
                  </a:lnTo>
                  <a:lnTo>
                    <a:pt x="233" y="96"/>
                  </a:lnTo>
                  <a:lnTo>
                    <a:pt x="237" y="102"/>
                  </a:lnTo>
                  <a:lnTo>
                    <a:pt x="244" y="109"/>
                  </a:lnTo>
                  <a:lnTo>
                    <a:pt x="253" y="115"/>
                  </a:lnTo>
                  <a:lnTo>
                    <a:pt x="263" y="120"/>
                  </a:lnTo>
                  <a:lnTo>
                    <a:pt x="270" y="129"/>
                  </a:lnTo>
                  <a:lnTo>
                    <a:pt x="277" y="139"/>
                  </a:lnTo>
                  <a:lnTo>
                    <a:pt x="283" y="142"/>
                  </a:lnTo>
                  <a:lnTo>
                    <a:pt x="289" y="146"/>
                  </a:lnTo>
                  <a:lnTo>
                    <a:pt x="294" y="148"/>
                  </a:lnTo>
                  <a:lnTo>
                    <a:pt x="303" y="148"/>
                  </a:lnTo>
                  <a:lnTo>
                    <a:pt x="311" y="146"/>
                  </a:lnTo>
                  <a:lnTo>
                    <a:pt x="316" y="141"/>
                  </a:lnTo>
                  <a:lnTo>
                    <a:pt x="320" y="135"/>
                  </a:lnTo>
                  <a:lnTo>
                    <a:pt x="324" y="128"/>
                  </a:lnTo>
                  <a:lnTo>
                    <a:pt x="327" y="129"/>
                  </a:lnTo>
                  <a:lnTo>
                    <a:pt x="331" y="133"/>
                  </a:lnTo>
                  <a:lnTo>
                    <a:pt x="335" y="141"/>
                  </a:lnTo>
                  <a:lnTo>
                    <a:pt x="337" y="148"/>
                  </a:lnTo>
                  <a:lnTo>
                    <a:pt x="340" y="153"/>
                  </a:lnTo>
                  <a:lnTo>
                    <a:pt x="346" y="159"/>
                  </a:lnTo>
                  <a:lnTo>
                    <a:pt x="338" y="163"/>
                  </a:lnTo>
                  <a:lnTo>
                    <a:pt x="333" y="168"/>
                  </a:lnTo>
                  <a:lnTo>
                    <a:pt x="329" y="174"/>
                  </a:lnTo>
                  <a:lnTo>
                    <a:pt x="329" y="179"/>
                  </a:lnTo>
                  <a:lnTo>
                    <a:pt x="329" y="189"/>
                  </a:lnTo>
                  <a:lnTo>
                    <a:pt x="329" y="198"/>
                  </a:lnTo>
                  <a:lnTo>
                    <a:pt x="327" y="203"/>
                  </a:lnTo>
                  <a:lnTo>
                    <a:pt x="325" y="205"/>
                  </a:lnTo>
                  <a:lnTo>
                    <a:pt x="324" y="205"/>
                  </a:lnTo>
                  <a:lnTo>
                    <a:pt x="318" y="203"/>
                  </a:lnTo>
                  <a:lnTo>
                    <a:pt x="313" y="203"/>
                  </a:lnTo>
                  <a:lnTo>
                    <a:pt x="303" y="202"/>
                  </a:lnTo>
                  <a:lnTo>
                    <a:pt x="292" y="203"/>
                  </a:lnTo>
                  <a:lnTo>
                    <a:pt x="277" y="207"/>
                  </a:lnTo>
                  <a:lnTo>
                    <a:pt x="266" y="203"/>
                  </a:lnTo>
                  <a:lnTo>
                    <a:pt x="259" y="203"/>
                  </a:lnTo>
                  <a:lnTo>
                    <a:pt x="255" y="207"/>
                  </a:lnTo>
                  <a:lnTo>
                    <a:pt x="250" y="211"/>
                  </a:lnTo>
                  <a:lnTo>
                    <a:pt x="244" y="216"/>
                  </a:lnTo>
                  <a:lnTo>
                    <a:pt x="240" y="218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86" name="Freeform 101"/>
            <p:cNvSpPr>
              <a:spLocks/>
            </p:cNvSpPr>
            <p:nvPr/>
          </p:nvSpPr>
          <p:spPr bwMode="auto">
            <a:xfrm>
              <a:off x="3929236" y="2135775"/>
              <a:ext cx="85574" cy="104325"/>
            </a:xfrm>
            <a:custGeom>
              <a:avLst/>
              <a:gdLst>
                <a:gd name="T0" fmla="*/ 159 w 164"/>
                <a:gd name="T1" fmla="*/ 161 h 205"/>
                <a:gd name="T2" fmla="*/ 148 w 164"/>
                <a:gd name="T3" fmla="*/ 152 h 205"/>
                <a:gd name="T4" fmla="*/ 142 w 164"/>
                <a:gd name="T5" fmla="*/ 143 h 205"/>
                <a:gd name="T6" fmla="*/ 131 w 164"/>
                <a:gd name="T7" fmla="*/ 133 h 205"/>
                <a:gd name="T8" fmla="*/ 122 w 164"/>
                <a:gd name="T9" fmla="*/ 122 h 205"/>
                <a:gd name="T10" fmla="*/ 116 w 164"/>
                <a:gd name="T11" fmla="*/ 113 h 205"/>
                <a:gd name="T12" fmla="*/ 105 w 164"/>
                <a:gd name="T13" fmla="*/ 91 h 205"/>
                <a:gd name="T14" fmla="*/ 92 w 164"/>
                <a:gd name="T15" fmla="*/ 76 h 205"/>
                <a:gd name="T16" fmla="*/ 85 w 164"/>
                <a:gd name="T17" fmla="*/ 60 h 205"/>
                <a:gd name="T18" fmla="*/ 85 w 164"/>
                <a:gd name="T19" fmla="*/ 41 h 205"/>
                <a:gd name="T20" fmla="*/ 76 w 164"/>
                <a:gd name="T21" fmla="*/ 32 h 205"/>
                <a:gd name="T22" fmla="*/ 57 w 164"/>
                <a:gd name="T23" fmla="*/ 21 h 205"/>
                <a:gd name="T24" fmla="*/ 48 w 164"/>
                <a:gd name="T25" fmla="*/ 10 h 205"/>
                <a:gd name="T26" fmla="*/ 46 w 164"/>
                <a:gd name="T27" fmla="*/ 0 h 205"/>
                <a:gd name="T28" fmla="*/ 30 w 164"/>
                <a:gd name="T29" fmla="*/ 10 h 205"/>
                <a:gd name="T30" fmla="*/ 11 w 164"/>
                <a:gd name="T31" fmla="*/ 30 h 205"/>
                <a:gd name="T32" fmla="*/ 4 w 164"/>
                <a:gd name="T33" fmla="*/ 50 h 205"/>
                <a:gd name="T34" fmla="*/ 0 w 164"/>
                <a:gd name="T35" fmla="*/ 65 h 205"/>
                <a:gd name="T36" fmla="*/ 2 w 164"/>
                <a:gd name="T37" fmla="*/ 82 h 205"/>
                <a:gd name="T38" fmla="*/ 17 w 164"/>
                <a:gd name="T39" fmla="*/ 91 h 205"/>
                <a:gd name="T40" fmla="*/ 28 w 164"/>
                <a:gd name="T41" fmla="*/ 95 h 205"/>
                <a:gd name="T42" fmla="*/ 28 w 164"/>
                <a:gd name="T43" fmla="*/ 115 h 205"/>
                <a:gd name="T44" fmla="*/ 24 w 164"/>
                <a:gd name="T45" fmla="*/ 128 h 205"/>
                <a:gd name="T46" fmla="*/ 20 w 164"/>
                <a:gd name="T47" fmla="*/ 133 h 205"/>
                <a:gd name="T48" fmla="*/ 30 w 164"/>
                <a:gd name="T49" fmla="*/ 143 h 205"/>
                <a:gd name="T50" fmla="*/ 33 w 164"/>
                <a:gd name="T51" fmla="*/ 163 h 205"/>
                <a:gd name="T52" fmla="*/ 52 w 164"/>
                <a:gd name="T53" fmla="*/ 193 h 205"/>
                <a:gd name="T54" fmla="*/ 55 w 164"/>
                <a:gd name="T55" fmla="*/ 205 h 205"/>
                <a:gd name="T56" fmla="*/ 78 w 164"/>
                <a:gd name="T57" fmla="*/ 200 h 205"/>
                <a:gd name="T58" fmla="*/ 102 w 164"/>
                <a:gd name="T59" fmla="*/ 198 h 205"/>
                <a:gd name="T60" fmla="*/ 122 w 164"/>
                <a:gd name="T61" fmla="*/ 200 h 205"/>
                <a:gd name="T62" fmla="*/ 144 w 164"/>
                <a:gd name="T63" fmla="*/ 205 h 205"/>
                <a:gd name="T64" fmla="*/ 155 w 164"/>
                <a:gd name="T65" fmla="*/ 205 h 205"/>
                <a:gd name="T66" fmla="*/ 164 w 164"/>
                <a:gd name="T67" fmla="*/ 202 h 205"/>
                <a:gd name="T68" fmla="*/ 155 w 164"/>
                <a:gd name="T69" fmla="*/ 183 h 205"/>
                <a:gd name="T70" fmla="*/ 163 w 164"/>
                <a:gd name="T71" fmla="*/ 167 h 205"/>
                <a:gd name="T72" fmla="*/ 163 w 164"/>
                <a:gd name="T73" fmla="*/ 167 h 20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4"/>
                <a:gd name="T112" fmla="*/ 0 h 205"/>
                <a:gd name="T113" fmla="*/ 164 w 164"/>
                <a:gd name="T114" fmla="*/ 205 h 20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4" h="205">
                  <a:moveTo>
                    <a:pt x="163" y="167"/>
                  </a:moveTo>
                  <a:lnTo>
                    <a:pt x="159" y="161"/>
                  </a:lnTo>
                  <a:lnTo>
                    <a:pt x="155" y="156"/>
                  </a:lnTo>
                  <a:lnTo>
                    <a:pt x="148" y="152"/>
                  </a:lnTo>
                  <a:lnTo>
                    <a:pt x="142" y="148"/>
                  </a:lnTo>
                  <a:lnTo>
                    <a:pt x="142" y="143"/>
                  </a:lnTo>
                  <a:lnTo>
                    <a:pt x="142" y="137"/>
                  </a:lnTo>
                  <a:lnTo>
                    <a:pt x="131" y="133"/>
                  </a:lnTo>
                  <a:lnTo>
                    <a:pt x="120" y="128"/>
                  </a:lnTo>
                  <a:lnTo>
                    <a:pt x="122" y="122"/>
                  </a:lnTo>
                  <a:lnTo>
                    <a:pt x="124" y="119"/>
                  </a:lnTo>
                  <a:lnTo>
                    <a:pt x="116" y="113"/>
                  </a:lnTo>
                  <a:lnTo>
                    <a:pt x="111" y="108"/>
                  </a:lnTo>
                  <a:lnTo>
                    <a:pt x="105" y="91"/>
                  </a:lnTo>
                  <a:lnTo>
                    <a:pt x="103" y="76"/>
                  </a:lnTo>
                  <a:lnTo>
                    <a:pt x="92" y="76"/>
                  </a:lnTo>
                  <a:lnTo>
                    <a:pt x="81" y="72"/>
                  </a:lnTo>
                  <a:lnTo>
                    <a:pt x="85" y="60"/>
                  </a:lnTo>
                  <a:lnTo>
                    <a:pt x="85" y="41"/>
                  </a:lnTo>
                  <a:lnTo>
                    <a:pt x="76" y="32"/>
                  </a:lnTo>
                  <a:lnTo>
                    <a:pt x="63" y="2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8" y="10"/>
                  </a:lnTo>
                  <a:lnTo>
                    <a:pt x="46" y="0"/>
                  </a:lnTo>
                  <a:lnTo>
                    <a:pt x="30" y="10"/>
                  </a:lnTo>
                  <a:lnTo>
                    <a:pt x="17" y="19"/>
                  </a:lnTo>
                  <a:lnTo>
                    <a:pt x="11" y="30"/>
                  </a:lnTo>
                  <a:lnTo>
                    <a:pt x="9" y="43"/>
                  </a:lnTo>
                  <a:lnTo>
                    <a:pt x="4" y="50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0" y="74"/>
                  </a:lnTo>
                  <a:lnTo>
                    <a:pt x="2" y="82"/>
                  </a:lnTo>
                  <a:lnTo>
                    <a:pt x="4" y="89"/>
                  </a:lnTo>
                  <a:lnTo>
                    <a:pt x="17" y="91"/>
                  </a:lnTo>
                  <a:lnTo>
                    <a:pt x="26" y="89"/>
                  </a:lnTo>
                  <a:lnTo>
                    <a:pt x="28" y="95"/>
                  </a:lnTo>
                  <a:lnTo>
                    <a:pt x="28" y="109"/>
                  </a:lnTo>
                  <a:lnTo>
                    <a:pt x="28" y="115"/>
                  </a:lnTo>
                  <a:lnTo>
                    <a:pt x="26" y="122"/>
                  </a:lnTo>
                  <a:lnTo>
                    <a:pt x="24" y="128"/>
                  </a:lnTo>
                  <a:lnTo>
                    <a:pt x="20" y="133"/>
                  </a:lnTo>
                  <a:lnTo>
                    <a:pt x="26" y="137"/>
                  </a:lnTo>
                  <a:lnTo>
                    <a:pt x="30" y="143"/>
                  </a:lnTo>
                  <a:lnTo>
                    <a:pt x="31" y="152"/>
                  </a:lnTo>
                  <a:lnTo>
                    <a:pt x="33" y="163"/>
                  </a:lnTo>
                  <a:lnTo>
                    <a:pt x="42" y="178"/>
                  </a:lnTo>
                  <a:lnTo>
                    <a:pt x="52" y="193"/>
                  </a:lnTo>
                  <a:lnTo>
                    <a:pt x="55" y="200"/>
                  </a:lnTo>
                  <a:lnTo>
                    <a:pt x="55" y="205"/>
                  </a:lnTo>
                  <a:lnTo>
                    <a:pt x="66" y="204"/>
                  </a:lnTo>
                  <a:lnTo>
                    <a:pt x="78" y="200"/>
                  </a:lnTo>
                  <a:lnTo>
                    <a:pt x="89" y="198"/>
                  </a:lnTo>
                  <a:lnTo>
                    <a:pt x="102" y="198"/>
                  </a:lnTo>
                  <a:lnTo>
                    <a:pt x="113" y="198"/>
                  </a:lnTo>
                  <a:lnTo>
                    <a:pt x="122" y="200"/>
                  </a:lnTo>
                  <a:lnTo>
                    <a:pt x="133" y="202"/>
                  </a:lnTo>
                  <a:lnTo>
                    <a:pt x="144" y="205"/>
                  </a:lnTo>
                  <a:lnTo>
                    <a:pt x="150" y="205"/>
                  </a:lnTo>
                  <a:lnTo>
                    <a:pt x="155" y="205"/>
                  </a:lnTo>
                  <a:lnTo>
                    <a:pt x="161" y="204"/>
                  </a:lnTo>
                  <a:lnTo>
                    <a:pt x="164" y="202"/>
                  </a:lnTo>
                  <a:lnTo>
                    <a:pt x="161" y="193"/>
                  </a:lnTo>
                  <a:lnTo>
                    <a:pt x="155" y="183"/>
                  </a:lnTo>
                  <a:lnTo>
                    <a:pt x="157" y="176"/>
                  </a:lnTo>
                  <a:lnTo>
                    <a:pt x="163" y="16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87" name="Freeform 102"/>
            <p:cNvSpPr>
              <a:spLocks/>
            </p:cNvSpPr>
            <p:nvPr/>
          </p:nvSpPr>
          <p:spPr bwMode="auto">
            <a:xfrm>
              <a:off x="3644860" y="1798373"/>
              <a:ext cx="50092" cy="69720"/>
            </a:xfrm>
            <a:custGeom>
              <a:avLst/>
              <a:gdLst>
                <a:gd name="T0" fmla="*/ 6 w 96"/>
                <a:gd name="T1" fmla="*/ 7 h 137"/>
                <a:gd name="T2" fmla="*/ 2 w 96"/>
                <a:gd name="T3" fmla="*/ 17 h 137"/>
                <a:gd name="T4" fmla="*/ 0 w 96"/>
                <a:gd name="T5" fmla="*/ 26 h 137"/>
                <a:gd name="T6" fmla="*/ 7 w 96"/>
                <a:gd name="T7" fmla="*/ 46 h 137"/>
                <a:gd name="T8" fmla="*/ 15 w 96"/>
                <a:gd name="T9" fmla="*/ 67 h 137"/>
                <a:gd name="T10" fmla="*/ 22 w 96"/>
                <a:gd name="T11" fmla="*/ 89 h 137"/>
                <a:gd name="T12" fmla="*/ 30 w 96"/>
                <a:gd name="T13" fmla="*/ 109 h 137"/>
                <a:gd name="T14" fmla="*/ 33 w 96"/>
                <a:gd name="T15" fmla="*/ 118 h 137"/>
                <a:gd name="T16" fmla="*/ 37 w 96"/>
                <a:gd name="T17" fmla="*/ 124 h 137"/>
                <a:gd name="T18" fmla="*/ 42 w 96"/>
                <a:gd name="T19" fmla="*/ 131 h 137"/>
                <a:gd name="T20" fmla="*/ 48 w 96"/>
                <a:gd name="T21" fmla="*/ 137 h 137"/>
                <a:gd name="T22" fmla="*/ 65 w 96"/>
                <a:gd name="T23" fmla="*/ 137 h 137"/>
                <a:gd name="T24" fmla="*/ 85 w 96"/>
                <a:gd name="T25" fmla="*/ 133 h 137"/>
                <a:gd name="T26" fmla="*/ 92 w 96"/>
                <a:gd name="T27" fmla="*/ 124 h 137"/>
                <a:gd name="T28" fmla="*/ 96 w 96"/>
                <a:gd name="T29" fmla="*/ 111 h 137"/>
                <a:gd name="T30" fmla="*/ 92 w 96"/>
                <a:gd name="T31" fmla="*/ 91 h 137"/>
                <a:gd name="T32" fmla="*/ 92 w 96"/>
                <a:gd name="T33" fmla="*/ 70 h 137"/>
                <a:gd name="T34" fmla="*/ 91 w 96"/>
                <a:gd name="T35" fmla="*/ 68 h 137"/>
                <a:gd name="T36" fmla="*/ 85 w 96"/>
                <a:gd name="T37" fmla="*/ 67 h 137"/>
                <a:gd name="T38" fmla="*/ 83 w 96"/>
                <a:gd name="T39" fmla="*/ 65 h 137"/>
                <a:gd name="T40" fmla="*/ 81 w 96"/>
                <a:gd name="T41" fmla="*/ 61 h 137"/>
                <a:gd name="T42" fmla="*/ 81 w 96"/>
                <a:gd name="T43" fmla="*/ 57 h 137"/>
                <a:gd name="T44" fmla="*/ 83 w 96"/>
                <a:gd name="T45" fmla="*/ 50 h 137"/>
                <a:gd name="T46" fmla="*/ 76 w 96"/>
                <a:gd name="T47" fmla="*/ 54 h 137"/>
                <a:gd name="T48" fmla="*/ 70 w 96"/>
                <a:gd name="T49" fmla="*/ 54 h 137"/>
                <a:gd name="T50" fmla="*/ 65 w 96"/>
                <a:gd name="T51" fmla="*/ 54 h 137"/>
                <a:gd name="T52" fmla="*/ 61 w 96"/>
                <a:gd name="T53" fmla="*/ 50 h 137"/>
                <a:gd name="T54" fmla="*/ 59 w 96"/>
                <a:gd name="T55" fmla="*/ 33 h 137"/>
                <a:gd name="T56" fmla="*/ 55 w 96"/>
                <a:gd name="T57" fmla="*/ 20 h 137"/>
                <a:gd name="T58" fmla="*/ 52 w 96"/>
                <a:gd name="T59" fmla="*/ 13 h 137"/>
                <a:gd name="T60" fmla="*/ 48 w 96"/>
                <a:gd name="T61" fmla="*/ 9 h 137"/>
                <a:gd name="T62" fmla="*/ 42 w 96"/>
                <a:gd name="T63" fmla="*/ 4 h 137"/>
                <a:gd name="T64" fmla="*/ 37 w 96"/>
                <a:gd name="T65" fmla="*/ 2 h 137"/>
                <a:gd name="T66" fmla="*/ 35 w 96"/>
                <a:gd name="T67" fmla="*/ 0 h 137"/>
                <a:gd name="T68" fmla="*/ 33 w 96"/>
                <a:gd name="T69" fmla="*/ 2 h 137"/>
                <a:gd name="T70" fmla="*/ 31 w 96"/>
                <a:gd name="T71" fmla="*/ 4 h 137"/>
                <a:gd name="T72" fmla="*/ 30 w 96"/>
                <a:gd name="T73" fmla="*/ 7 h 137"/>
                <a:gd name="T74" fmla="*/ 26 w 96"/>
                <a:gd name="T75" fmla="*/ 17 h 137"/>
                <a:gd name="T76" fmla="*/ 20 w 96"/>
                <a:gd name="T77" fmla="*/ 26 h 137"/>
                <a:gd name="T78" fmla="*/ 15 w 96"/>
                <a:gd name="T79" fmla="*/ 22 h 137"/>
                <a:gd name="T80" fmla="*/ 9 w 96"/>
                <a:gd name="T81" fmla="*/ 18 h 137"/>
                <a:gd name="T82" fmla="*/ 7 w 96"/>
                <a:gd name="T83" fmla="*/ 13 h 137"/>
                <a:gd name="T84" fmla="*/ 6 w 96"/>
                <a:gd name="T85" fmla="*/ 7 h 13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6"/>
                <a:gd name="T130" fmla="*/ 0 h 137"/>
                <a:gd name="T131" fmla="*/ 96 w 96"/>
                <a:gd name="T132" fmla="*/ 137 h 13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6" h="137">
                  <a:moveTo>
                    <a:pt x="6" y="7"/>
                  </a:moveTo>
                  <a:lnTo>
                    <a:pt x="2" y="17"/>
                  </a:lnTo>
                  <a:lnTo>
                    <a:pt x="0" y="26"/>
                  </a:lnTo>
                  <a:lnTo>
                    <a:pt x="7" y="46"/>
                  </a:lnTo>
                  <a:lnTo>
                    <a:pt x="15" y="67"/>
                  </a:lnTo>
                  <a:lnTo>
                    <a:pt x="22" y="89"/>
                  </a:lnTo>
                  <a:lnTo>
                    <a:pt x="30" y="109"/>
                  </a:lnTo>
                  <a:lnTo>
                    <a:pt x="33" y="118"/>
                  </a:lnTo>
                  <a:lnTo>
                    <a:pt x="37" y="124"/>
                  </a:lnTo>
                  <a:lnTo>
                    <a:pt x="42" y="131"/>
                  </a:lnTo>
                  <a:lnTo>
                    <a:pt x="48" y="137"/>
                  </a:lnTo>
                  <a:lnTo>
                    <a:pt x="65" y="137"/>
                  </a:lnTo>
                  <a:lnTo>
                    <a:pt x="85" y="133"/>
                  </a:lnTo>
                  <a:lnTo>
                    <a:pt x="92" y="124"/>
                  </a:lnTo>
                  <a:lnTo>
                    <a:pt x="96" y="111"/>
                  </a:lnTo>
                  <a:lnTo>
                    <a:pt x="92" y="91"/>
                  </a:lnTo>
                  <a:lnTo>
                    <a:pt x="92" y="70"/>
                  </a:lnTo>
                  <a:lnTo>
                    <a:pt x="91" y="68"/>
                  </a:lnTo>
                  <a:lnTo>
                    <a:pt x="85" y="67"/>
                  </a:lnTo>
                  <a:lnTo>
                    <a:pt x="83" y="65"/>
                  </a:lnTo>
                  <a:lnTo>
                    <a:pt x="81" y="61"/>
                  </a:lnTo>
                  <a:lnTo>
                    <a:pt x="81" y="57"/>
                  </a:lnTo>
                  <a:lnTo>
                    <a:pt x="83" y="50"/>
                  </a:lnTo>
                  <a:lnTo>
                    <a:pt x="76" y="54"/>
                  </a:lnTo>
                  <a:lnTo>
                    <a:pt x="70" y="54"/>
                  </a:lnTo>
                  <a:lnTo>
                    <a:pt x="65" y="54"/>
                  </a:lnTo>
                  <a:lnTo>
                    <a:pt x="61" y="50"/>
                  </a:lnTo>
                  <a:lnTo>
                    <a:pt x="59" y="33"/>
                  </a:lnTo>
                  <a:lnTo>
                    <a:pt x="55" y="20"/>
                  </a:lnTo>
                  <a:lnTo>
                    <a:pt x="52" y="13"/>
                  </a:lnTo>
                  <a:lnTo>
                    <a:pt x="48" y="9"/>
                  </a:lnTo>
                  <a:lnTo>
                    <a:pt x="42" y="4"/>
                  </a:lnTo>
                  <a:lnTo>
                    <a:pt x="37" y="2"/>
                  </a:lnTo>
                  <a:lnTo>
                    <a:pt x="35" y="0"/>
                  </a:lnTo>
                  <a:lnTo>
                    <a:pt x="33" y="2"/>
                  </a:lnTo>
                  <a:lnTo>
                    <a:pt x="31" y="4"/>
                  </a:lnTo>
                  <a:lnTo>
                    <a:pt x="30" y="7"/>
                  </a:lnTo>
                  <a:lnTo>
                    <a:pt x="26" y="17"/>
                  </a:lnTo>
                  <a:lnTo>
                    <a:pt x="20" y="26"/>
                  </a:lnTo>
                  <a:lnTo>
                    <a:pt x="15" y="22"/>
                  </a:lnTo>
                  <a:lnTo>
                    <a:pt x="9" y="18"/>
                  </a:lnTo>
                  <a:lnTo>
                    <a:pt x="7" y="13"/>
                  </a:lnTo>
                  <a:lnTo>
                    <a:pt x="6" y="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91" name="Freeform 103"/>
            <p:cNvSpPr>
              <a:spLocks/>
            </p:cNvSpPr>
            <p:nvPr/>
          </p:nvSpPr>
          <p:spPr bwMode="auto">
            <a:xfrm>
              <a:off x="6178160" y="2998365"/>
              <a:ext cx="24002" cy="26972"/>
            </a:xfrm>
            <a:custGeom>
              <a:avLst/>
              <a:gdLst>
                <a:gd name="T0" fmla="*/ 40 w 46"/>
                <a:gd name="T1" fmla="*/ 0 h 53"/>
                <a:gd name="T2" fmla="*/ 26 w 46"/>
                <a:gd name="T3" fmla="*/ 2 h 53"/>
                <a:gd name="T4" fmla="*/ 14 w 46"/>
                <a:gd name="T5" fmla="*/ 5 h 53"/>
                <a:gd name="T6" fmla="*/ 9 w 46"/>
                <a:gd name="T7" fmla="*/ 5 h 53"/>
                <a:gd name="T8" fmla="*/ 5 w 46"/>
                <a:gd name="T9" fmla="*/ 4 h 53"/>
                <a:gd name="T10" fmla="*/ 2 w 46"/>
                <a:gd name="T11" fmla="*/ 11 h 53"/>
                <a:gd name="T12" fmla="*/ 0 w 46"/>
                <a:gd name="T13" fmla="*/ 16 h 53"/>
                <a:gd name="T14" fmla="*/ 5 w 46"/>
                <a:gd name="T15" fmla="*/ 24 h 53"/>
                <a:gd name="T16" fmla="*/ 13 w 46"/>
                <a:gd name="T17" fmla="*/ 29 h 53"/>
                <a:gd name="T18" fmla="*/ 16 w 46"/>
                <a:gd name="T19" fmla="*/ 42 h 53"/>
                <a:gd name="T20" fmla="*/ 24 w 46"/>
                <a:gd name="T21" fmla="*/ 52 h 53"/>
                <a:gd name="T22" fmla="*/ 31 w 46"/>
                <a:gd name="T23" fmla="*/ 53 h 53"/>
                <a:gd name="T24" fmla="*/ 38 w 46"/>
                <a:gd name="T25" fmla="*/ 52 h 53"/>
                <a:gd name="T26" fmla="*/ 42 w 46"/>
                <a:gd name="T27" fmla="*/ 48 h 53"/>
                <a:gd name="T28" fmla="*/ 46 w 46"/>
                <a:gd name="T29" fmla="*/ 42 h 53"/>
                <a:gd name="T30" fmla="*/ 46 w 46"/>
                <a:gd name="T31" fmla="*/ 31 h 53"/>
                <a:gd name="T32" fmla="*/ 44 w 46"/>
                <a:gd name="T33" fmla="*/ 20 h 53"/>
                <a:gd name="T34" fmla="*/ 42 w 46"/>
                <a:gd name="T35" fmla="*/ 11 h 53"/>
                <a:gd name="T36" fmla="*/ 40 w 46"/>
                <a:gd name="T37" fmla="*/ 0 h 5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6"/>
                <a:gd name="T58" fmla="*/ 0 h 53"/>
                <a:gd name="T59" fmla="*/ 46 w 46"/>
                <a:gd name="T60" fmla="*/ 53 h 5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6" h="53">
                  <a:moveTo>
                    <a:pt x="40" y="0"/>
                  </a:moveTo>
                  <a:lnTo>
                    <a:pt x="26" y="2"/>
                  </a:lnTo>
                  <a:lnTo>
                    <a:pt x="14" y="5"/>
                  </a:lnTo>
                  <a:lnTo>
                    <a:pt x="9" y="5"/>
                  </a:lnTo>
                  <a:lnTo>
                    <a:pt x="5" y="4"/>
                  </a:lnTo>
                  <a:lnTo>
                    <a:pt x="2" y="11"/>
                  </a:lnTo>
                  <a:lnTo>
                    <a:pt x="0" y="16"/>
                  </a:lnTo>
                  <a:lnTo>
                    <a:pt x="5" y="24"/>
                  </a:lnTo>
                  <a:lnTo>
                    <a:pt x="13" y="29"/>
                  </a:lnTo>
                  <a:lnTo>
                    <a:pt x="16" y="42"/>
                  </a:lnTo>
                  <a:lnTo>
                    <a:pt x="24" y="52"/>
                  </a:lnTo>
                  <a:lnTo>
                    <a:pt x="31" y="53"/>
                  </a:lnTo>
                  <a:lnTo>
                    <a:pt x="38" y="52"/>
                  </a:lnTo>
                  <a:lnTo>
                    <a:pt x="42" y="48"/>
                  </a:lnTo>
                  <a:lnTo>
                    <a:pt x="46" y="42"/>
                  </a:lnTo>
                  <a:lnTo>
                    <a:pt x="46" y="31"/>
                  </a:lnTo>
                  <a:lnTo>
                    <a:pt x="44" y="20"/>
                  </a:lnTo>
                  <a:lnTo>
                    <a:pt x="42" y="11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414142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92" name="Freeform 186"/>
            <p:cNvSpPr>
              <a:spLocks noEditPoints="1"/>
            </p:cNvSpPr>
            <p:nvPr/>
          </p:nvSpPr>
          <p:spPr bwMode="auto">
            <a:xfrm>
              <a:off x="3884884" y="2118981"/>
              <a:ext cx="65746" cy="14249"/>
            </a:xfrm>
            <a:custGeom>
              <a:avLst/>
              <a:gdLst>
                <a:gd name="T0" fmla="*/ 22 w 126"/>
                <a:gd name="T1" fmla="*/ 6 h 28"/>
                <a:gd name="T2" fmla="*/ 13 w 126"/>
                <a:gd name="T3" fmla="*/ 26 h 28"/>
                <a:gd name="T4" fmla="*/ 2 w 126"/>
                <a:gd name="T5" fmla="*/ 6 h 28"/>
                <a:gd name="T6" fmla="*/ 0 w 126"/>
                <a:gd name="T7" fmla="*/ 0 h 28"/>
                <a:gd name="T8" fmla="*/ 20 w 126"/>
                <a:gd name="T9" fmla="*/ 0 h 28"/>
                <a:gd name="T10" fmla="*/ 37 w 126"/>
                <a:gd name="T11" fmla="*/ 6 h 28"/>
                <a:gd name="T12" fmla="*/ 46 w 126"/>
                <a:gd name="T13" fmla="*/ 11 h 28"/>
                <a:gd name="T14" fmla="*/ 46 w 126"/>
                <a:gd name="T15" fmla="*/ 22 h 28"/>
                <a:gd name="T16" fmla="*/ 37 w 126"/>
                <a:gd name="T17" fmla="*/ 28 h 28"/>
                <a:gd name="T18" fmla="*/ 30 w 126"/>
                <a:gd name="T19" fmla="*/ 22 h 28"/>
                <a:gd name="T20" fmla="*/ 30 w 126"/>
                <a:gd name="T21" fmla="*/ 11 h 28"/>
                <a:gd name="T22" fmla="*/ 37 w 126"/>
                <a:gd name="T23" fmla="*/ 6 h 28"/>
                <a:gd name="T24" fmla="*/ 42 w 126"/>
                <a:gd name="T25" fmla="*/ 22 h 28"/>
                <a:gd name="T26" fmla="*/ 44 w 126"/>
                <a:gd name="T27" fmla="*/ 15 h 28"/>
                <a:gd name="T28" fmla="*/ 41 w 126"/>
                <a:gd name="T29" fmla="*/ 9 h 28"/>
                <a:gd name="T30" fmla="*/ 33 w 126"/>
                <a:gd name="T31" fmla="*/ 11 h 28"/>
                <a:gd name="T32" fmla="*/ 31 w 126"/>
                <a:gd name="T33" fmla="*/ 19 h 28"/>
                <a:gd name="T34" fmla="*/ 35 w 126"/>
                <a:gd name="T35" fmla="*/ 24 h 28"/>
                <a:gd name="T36" fmla="*/ 59 w 126"/>
                <a:gd name="T37" fmla="*/ 9 h 28"/>
                <a:gd name="T38" fmla="*/ 54 w 126"/>
                <a:gd name="T39" fmla="*/ 17 h 28"/>
                <a:gd name="T40" fmla="*/ 59 w 126"/>
                <a:gd name="T41" fmla="*/ 24 h 28"/>
                <a:gd name="T42" fmla="*/ 63 w 126"/>
                <a:gd name="T43" fmla="*/ 20 h 28"/>
                <a:gd name="T44" fmla="*/ 61 w 126"/>
                <a:gd name="T45" fmla="*/ 26 h 28"/>
                <a:gd name="T46" fmla="*/ 52 w 126"/>
                <a:gd name="T47" fmla="*/ 24 h 28"/>
                <a:gd name="T48" fmla="*/ 50 w 126"/>
                <a:gd name="T49" fmla="*/ 15 h 28"/>
                <a:gd name="T50" fmla="*/ 55 w 126"/>
                <a:gd name="T51" fmla="*/ 8 h 28"/>
                <a:gd name="T52" fmla="*/ 65 w 126"/>
                <a:gd name="T53" fmla="*/ 9 h 28"/>
                <a:gd name="T54" fmla="*/ 63 w 126"/>
                <a:gd name="T55" fmla="*/ 13 h 28"/>
                <a:gd name="T56" fmla="*/ 72 w 126"/>
                <a:gd name="T57" fmla="*/ 19 h 28"/>
                <a:gd name="T58" fmla="*/ 72 w 126"/>
                <a:gd name="T59" fmla="*/ 8 h 28"/>
                <a:gd name="T60" fmla="*/ 78 w 126"/>
                <a:gd name="T61" fmla="*/ 15 h 28"/>
                <a:gd name="T62" fmla="*/ 100 w 126"/>
                <a:gd name="T63" fmla="*/ 8 h 28"/>
                <a:gd name="T64" fmla="*/ 103 w 126"/>
                <a:gd name="T65" fmla="*/ 13 h 28"/>
                <a:gd name="T66" fmla="*/ 102 w 126"/>
                <a:gd name="T67" fmla="*/ 17 h 28"/>
                <a:gd name="T68" fmla="*/ 105 w 126"/>
                <a:gd name="T69" fmla="*/ 22 h 28"/>
                <a:gd name="T70" fmla="*/ 100 w 126"/>
                <a:gd name="T71" fmla="*/ 26 h 28"/>
                <a:gd name="T72" fmla="*/ 92 w 126"/>
                <a:gd name="T73" fmla="*/ 15 h 28"/>
                <a:gd name="T74" fmla="*/ 100 w 126"/>
                <a:gd name="T75" fmla="*/ 15 h 28"/>
                <a:gd name="T76" fmla="*/ 100 w 126"/>
                <a:gd name="T77" fmla="*/ 11 h 28"/>
                <a:gd name="T78" fmla="*/ 92 w 126"/>
                <a:gd name="T79" fmla="*/ 9 h 28"/>
                <a:gd name="T80" fmla="*/ 100 w 126"/>
                <a:gd name="T81" fmla="*/ 24 h 28"/>
                <a:gd name="T82" fmla="*/ 102 w 126"/>
                <a:gd name="T83" fmla="*/ 19 h 28"/>
                <a:gd name="T84" fmla="*/ 92 w 126"/>
                <a:gd name="T85" fmla="*/ 19 h 28"/>
                <a:gd name="T86" fmla="*/ 111 w 126"/>
                <a:gd name="T87" fmla="*/ 8 h 28"/>
                <a:gd name="T88" fmla="*/ 120 w 126"/>
                <a:gd name="T89" fmla="*/ 8 h 28"/>
                <a:gd name="T90" fmla="*/ 124 w 126"/>
                <a:gd name="T91" fmla="*/ 11 h 28"/>
                <a:gd name="T92" fmla="*/ 126 w 126"/>
                <a:gd name="T93" fmla="*/ 24 h 28"/>
                <a:gd name="T94" fmla="*/ 126 w 126"/>
                <a:gd name="T95" fmla="*/ 26 h 28"/>
                <a:gd name="T96" fmla="*/ 124 w 126"/>
                <a:gd name="T97" fmla="*/ 28 h 28"/>
                <a:gd name="T98" fmla="*/ 120 w 126"/>
                <a:gd name="T99" fmla="*/ 24 h 28"/>
                <a:gd name="T100" fmla="*/ 115 w 126"/>
                <a:gd name="T101" fmla="*/ 28 h 28"/>
                <a:gd name="T102" fmla="*/ 109 w 126"/>
                <a:gd name="T103" fmla="*/ 24 h 28"/>
                <a:gd name="T104" fmla="*/ 109 w 126"/>
                <a:gd name="T105" fmla="*/ 17 h 28"/>
                <a:gd name="T106" fmla="*/ 120 w 126"/>
                <a:gd name="T107" fmla="*/ 15 h 28"/>
                <a:gd name="T108" fmla="*/ 115 w 126"/>
                <a:gd name="T109" fmla="*/ 9 h 28"/>
                <a:gd name="T110" fmla="*/ 109 w 126"/>
                <a:gd name="T111" fmla="*/ 13 h 28"/>
                <a:gd name="T112" fmla="*/ 118 w 126"/>
                <a:gd name="T113" fmla="*/ 17 h 28"/>
                <a:gd name="T114" fmla="*/ 113 w 126"/>
                <a:gd name="T115" fmla="*/ 19 h 28"/>
                <a:gd name="T116" fmla="*/ 113 w 126"/>
                <a:gd name="T117" fmla="*/ 24 h 28"/>
                <a:gd name="T118" fmla="*/ 118 w 126"/>
                <a:gd name="T119" fmla="*/ 22 h 28"/>
                <a:gd name="T120" fmla="*/ 120 w 126"/>
                <a:gd name="T121" fmla="*/ 17 h 2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6"/>
                <a:gd name="T184" fmla="*/ 0 h 28"/>
                <a:gd name="T185" fmla="*/ 126 w 126"/>
                <a:gd name="T186" fmla="*/ 28 h 2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6" h="28">
                  <a:moveTo>
                    <a:pt x="22" y="26"/>
                  </a:moveTo>
                  <a:lnTo>
                    <a:pt x="22" y="11"/>
                  </a:lnTo>
                  <a:lnTo>
                    <a:pt x="22" y="9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11"/>
                  </a:lnTo>
                  <a:lnTo>
                    <a:pt x="2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4" y="0"/>
                  </a:lnTo>
                  <a:lnTo>
                    <a:pt x="11" y="22"/>
                  </a:lnTo>
                  <a:lnTo>
                    <a:pt x="13" y="22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26"/>
                  </a:lnTo>
                  <a:lnTo>
                    <a:pt x="22" y="26"/>
                  </a:lnTo>
                  <a:close/>
                  <a:moveTo>
                    <a:pt x="37" y="6"/>
                  </a:moveTo>
                  <a:lnTo>
                    <a:pt x="41" y="8"/>
                  </a:lnTo>
                  <a:lnTo>
                    <a:pt x="42" y="8"/>
                  </a:lnTo>
                  <a:lnTo>
                    <a:pt x="44" y="9"/>
                  </a:lnTo>
                  <a:lnTo>
                    <a:pt x="46" y="11"/>
                  </a:lnTo>
                  <a:lnTo>
                    <a:pt x="46" y="15"/>
                  </a:lnTo>
                  <a:lnTo>
                    <a:pt x="46" y="17"/>
                  </a:lnTo>
                  <a:lnTo>
                    <a:pt x="46" y="19"/>
                  </a:lnTo>
                  <a:lnTo>
                    <a:pt x="46" y="22"/>
                  </a:lnTo>
                  <a:lnTo>
                    <a:pt x="44" y="24"/>
                  </a:lnTo>
                  <a:lnTo>
                    <a:pt x="42" y="26"/>
                  </a:lnTo>
                  <a:lnTo>
                    <a:pt x="41" y="26"/>
                  </a:lnTo>
                  <a:lnTo>
                    <a:pt x="37" y="28"/>
                  </a:lnTo>
                  <a:lnTo>
                    <a:pt x="35" y="26"/>
                  </a:lnTo>
                  <a:lnTo>
                    <a:pt x="33" y="26"/>
                  </a:lnTo>
                  <a:lnTo>
                    <a:pt x="31" y="24"/>
                  </a:lnTo>
                  <a:lnTo>
                    <a:pt x="30" y="22"/>
                  </a:lnTo>
                  <a:lnTo>
                    <a:pt x="30" y="19"/>
                  </a:lnTo>
                  <a:lnTo>
                    <a:pt x="30" y="17"/>
                  </a:lnTo>
                  <a:lnTo>
                    <a:pt x="30" y="15"/>
                  </a:lnTo>
                  <a:lnTo>
                    <a:pt x="30" y="11"/>
                  </a:lnTo>
                  <a:lnTo>
                    <a:pt x="31" y="9"/>
                  </a:lnTo>
                  <a:lnTo>
                    <a:pt x="33" y="8"/>
                  </a:lnTo>
                  <a:lnTo>
                    <a:pt x="35" y="8"/>
                  </a:lnTo>
                  <a:lnTo>
                    <a:pt x="37" y="6"/>
                  </a:lnTo>
                  <a:close/>
                  <a:moveTo>
                    <a:pt x="37" y="24"/>
                  </a:moveTo>
                  <a:lnTo>
                    <a:pt x="41" y="24"/>
                  </a:lnTo>
                  <a:lnTo>
                    <a:pt x="41" y="22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4" y="19"/>
                  </a:lnTo>
                  <a:lnTo>
                    <a:pt x="44" y="17"/>
                  </a:lnTo>
                  <a:lnTo>
                    <a:pt x="44" y="15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37" y="9"/>
                  </a:lnTo>
                  <a:lnTo>
                    <a:pt x="35" y="9"/>
                  </a:lnTo>
                  <a:lnTo>
                    <a:pt x="35" y="11"/>
                  </a:lnTo>
                  <a:lnTo>
                    <a:pt x="33" y="11"/>
                  </a:lnTo>
                  <a:lnTo>
                    <a:pt x="33" y="13"/>
                  </a:lnTo>
                  <a:lnTo>
                    <a:pt x="31" y="15"/>
                  </a:lnTo>
                  <a:lnTo>
                    <a:pt x="31" y="17"/>
                  </a:lnTo>
                  <a:lnTo>
                    <a:pt x="31" y="19"/>
                  </a:lnTo>
                  <a:lnTo>
                    <a:pt x="33" y="20"/>
                  </a:lnTo>
                  <a:lnTo>
                    <a:pt x="33" y="22"/>
                  </a:lnTo>
                  <a:lnTo>
                    <a:pt x="35" y="22"/>
                  </a:lnTo>
                  <a:lnTo>
                    <a:pt x="35" y="24"/>
                  </a:lnTo>
                  <a:lnTo>
                    <a:pt x="37" y="24"/>
                  </a:lnTo>
                  <a:close/>
                  <a:moveTo>
                    <a:pt x="63" y="13"/>
                  </a:moveTo>
                  <a:lnTo>
                    <a:pt x="61" y="11"/>
                  </a:lnTo>
                  <a:lnTo>
                    <a:pt x="59" y="9"/>
                  </a:lnTo>
                  <a:lnTo>
                    <a:pt x="55" y="9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7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5" y="24"/>
                  </a:lnTo>
                  <a:lnTo>
                    <a:pt x="59" y="24"/>
                  </a:lnTo>
                  <a:lnTo>
                    <a:pt x="61" y="22"/>
                  </a:lnTo>
                  <a:lnTo>
                    <a:pt x="63" y="22"/>
                  </a:lnTo>
                  <a:lnTo>
                    <a:pt x="63" y="20"/>
                  </a:lnTo>
                  <a:lnTo>
                    <a:pt x="66" y="20"/>
                  </a:lnTo>
                  <a:lnTo>
                    <a:pt x="65" y="22"/>
                  </a:lnTo>
                  <a:lnTo>
                    <a:pt x="65" y="24"/>
                  </a:lnTo>
                  <a:lnTo>
                    <a:pt x="61" y="26"/>
                  </a:lnTo>
                  <a:lnTo>
                    <a:pt x="57" y="28"/>
                  </a:lnTo>
                  <a:lnTo>
                    <a:pt x="55" y="26"/>
                  </a:lnTo>
                  <a:lnTo>
                    <a:pt x="54" y="26"/>
                  </a:lnTo>
                  <a:lnTo>
                    <a:pt x="52" y="24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1"/>
                  </a:lnTo>
                  <a:lnTo>
                    <a:pt x="52" y="9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9" y="6"/>
                  </a:lnTo>
                  <a:lnTo>
                    <a:pt x="61" y="8"/>
                  </a:lnTo>
                  <a:lnTo>
                    <a:pt x="63" y="8"/>
                  </a:lnTo>
                  <a:lnTo>
                    <a:pt x="65" y="9"/>
                  </a:lnTo>
                  <a:lnTo>
                    <a:pt x="66" y="11"/>
                  </a:lnTo>
                  <a:lnTo>
                    <a:pt x="66" y="13"/>
                  </a:lnTo>
                  <a:lnTo>
                    <a:pt x="63" y="13"/>
                  </a:lnTo>
                  <a:close/>
                  <a:moveTo>
                    <a:pt x="85" y="26"/>
                  </a:moveTo>
                  <a:lnTo>
                    <a:pt x="81" y="26"/>
                  </a:lnTo>
                  <a:lnTo>
                    <a:pt x="74" y="17"/>
                  </a:lnTo>
                  <a:lnTo>
                    <a:pt x="72" y="19"/>
                  </a:lnTo>
                  <a:lnTo>
                    <a:pt x="72" y="26"/>
                  </a:lnTo>
                  <a:lnTo>
                    <a:pt x="70" y="26"/>
                  </a:lnTo>
                  <a:lnTo>
                    <a:pt x="70" y="8"/>
                  </a:lnTo>
                  <a:lnTo>
                    <a:pt x="72" y="8"/>
                  </a:lnTo>
                  <a:lnTo>
                    <a:pt x="72" y="15"/>
                  </a:lnTo>
                  <a:lnTo>
                    <a:pt x="81" y="8"/>
                  </a:lnTo>
                  <a:lnTo>
                    <a:pt x="85" y="8"/>
                  </a:lnTo>
                  <a:lnTo>
                    <a:pt x="78" y="15"/>
                  </a:lnTo>
                  <a:lnTo>
                    <a:pt x="85" y="26"/>
                  </a:lnTo>
                  <a:close/>
                  <a:moveTo>
                    <a:pt x="89" y="8"/>
                  </a:moveTo>
                  <a:lnTo>
                    <a:pt x="98" y="8"/>
                  </a:lnTo>
                  <a:lnTo>
                    <a:pt x="100" y="8"/>
                  </a:lnTo>
                  <a:lnTo>
                    <a:pt x="102" y="8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3" y="13"/>
                  </a:lnTo>
                  <a:lnTo>
                    <a:pt x="103" y="15"/>
                  </a:lnTo>
                  <a:lnTo>
                    <a:pt x="102" y="15"/>
                  </a:lnTo>
                  <a:lnTo>
                    <a:pt x="100" y="17"/>
                  </a:lnTo>
                  <a:lnTo>
                    <a:pt x="102" y="17"/>
                  </a:lnTo>
                  <a:lnTo>
                    <a:pt x="103" y="17"/>
                  </a:lnTo>
                  <a:lnTo>
                    <a:pt x="105" y="19"/>
                  </a:lnTo>
                  <a:lnTo>
                    <a:pt x="105" y="20"/>
                  </a:lnTo>
                  <a:lnTo>
                    <a:pt x="105" y="22"/>
                  </a:lnTo>
                  <a:lnTo>
                    <a:pt x="103" y="24"/>
                  </a:lnTo>
                  <a:lnTo>
                    <a:pt x="102" y="26"/>
                  </a:lnTo>
                  <a:lnTo>
                    <a:pt x="100" y="26"/>
                  </a:lnTo>
                  <a:lnTo>
                    <a:pt x="98" y="26"/>
                  </a:lnTo>
                  <a:lnTo>
                    <a:pt x="89" y="26"/>
                  </a:lnTo>
                  <a:lnTo>
                    <a:pt x="89" y="8"/>
                  </a:lnTo>
                  <a:close/>
                  <a:moveTo>
                    <a:pt x="92" y="15"/>
                  </a:moveTo>
                  <a:lnTo>
                    <a:pt x="96" y="15"/>
                  </a:lnTo>
                  <a:lnTo>
                    <a:pt x="98" y="15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9"/>
                  </a:lnTo>
                  <a:lnTo>
                    <a:pt x="98" y="9"/>
                  </a:lnTo>
                  <a:lnTo>
                    <a:pt x="96" y="9"/>
                  </a:lnTo>
                  <a:lnTo>
                    <a:pt x="92" y="9"/>
                  </a:lnTo>
                  <a:lnTo>
                    <a:pt x="92" y="15"/>
                  </a:lnTo>
                  <a:close/>
                  <a:moveTo>
                    <a:pt x="92" y="24"/>
                  </a:moveTo>
                  <a:lnTo>
                    <a:pt x="98" y="24"/>
                  </a:lnTo>
                  <a:lnTo>
                    <a:pt x="100" y="24"/>
                  </a:lnTo>
                  <a:lnTo>
                    <a:pt x="100" y="22"/>
                  </a:lnTo>
                  <a:lnTo>
                    <a:pt x="102" y="22"/>
                  </a:lnTo>
                  <a:lnTo>
                    <a:pt x="102" y="20"/>
                  </a:lnTo>
                  <a:lnTo>
                    <a:pt x="102" y="19"/>
                  </a:lnTo>
                  <a:lnTo>
                    <a:pt x="100" y="19"/>
                  </a:lnTo>
                  <a:lnTo>
                    <a:pt x="96" y="19"/>
                  </a:lnTo>
                  <a:lnTo>
                    <a:pt x="92" y="19"/>
                  </a:lnTo>
                  <a:lnTo>
                    <a:pt x="92" y="24"/>
                  </a:lnTo>
                  <a:close/>
                  <a:moveTo>
                    <a:pt x="109" y="13"/>
                  </a:moveTo>
                  <a:lnTo>
                    <a:pt x="109" y="9"/>
                  </a:lnTo>
                  <a:lnTo>
                    <a:pt x="111" y="8"/>
                  </a:lnTo>
                  <a:lnTo>
                    <a:pt x="113" y="8"/>
                  </a:lnTo>
                  <a:lnTo>
                    <a:pt x="116" y="6"/>
                  </a:lnTo>
                  <a:lnTo>
                    <a:pt x="118" y="6"/>
                  </a:lnTo>
                  <a:lnTo>
                    <a:pt x="120" y="8"/>
                  </a:lnTo>
                  <a:lnTo>
                    <a:pt x="122" y="8"/>
                  </a:lnTo>
                  <a:lnTo>
                    <a:pt x="124" y="9"/>
                  </a:lnTo>
                  <a:lnTo>
                    <a:pt x="124" y="11"/>
                  </a:lnTo>
                  <a:lnTo>
                    <a:pt x="124" y="22"/>
                  </a:lnTo>
                  <a:lnTo>
                    <a:pt x="124" y="24"/>
                  </a:lnTo>
                  <a:lnTo>
                    <a:pt x="126" y="24"/>
                  </a:lnTo>
                  <a:lnTo>
                    <a:pt x="126" y="26"/>
                  </a:lnTo>
                  <a:lnTo>
                    <a:pt x="126" y="28"/>
                  </a:lnTo>
                  <a:lnTo>
                    <a:pt x="124" y="28"/>
                  </a:lnTo>
                  <a:lnTo>
                    <a:pt x="122" y="26"/>
                  </a:lnTo>
                  <a:lnTo>
                    <a:pt x="120" y="24"/>
                  </a:lnTo>
                  <a:lnTo>
                    <a:pt x="120" y="26"/>
                  </a:lnTo>
                  <a:lnTo>
                    <a:pt x="118" y="26"/>
                  </a:lnTo>
                  <a:lnTo>
                    <a:pt x="116" y="28"/>
                  </a:lnTo>
                  <a:lnTo>
                    <a:pt x="115" y="28"/>
                  </a:lnTo>
                  <a:lnTo>
                    <a:pt x="113" y="28"/>
                  </a:lnTo>
                  <a:lnTo>
                    <a:pt x="111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07" y="22"/>
                  </a:lnTo>
                  <a:lnTo>
                    <a:pt x="107" y="20"/>
                  </a:lnTo>
                  <a:lnTo>
                    <a:pt x="109" y="17"/>
                  </a:lnTo>
                  <a:lnTo>
                    <a:pt x="111" y="17"/>
                  </a:lnTo>
                  <a:lnTo>
                    <a:pt x="115" y="15"/>
                  </a:lnTo>
                  <a:lnTo>
                    <a:pt x="118" y="15"/>
                  </a:lnTo>
                  <a:lnTo>
                    <a:pt x="120" y="15"/>
                  </a:lnTo>
                  <a:lnTo>
                    <a:pt x="120" y="13"/>
                  </a:lnTo>
                  <a:lnTo>
                    <a:pt x="120" y="9"/>
                  </a:lnTo>
                  <a:lnTo>
                    <a:pt x="116" y="9"/>
                  </a:lnTo>
                  <a:lnTo>
                    <a:pt x="115" y="9"/>
                  </a:lnTo>
                  <a:lnTo>
                    <a:pt x="113" y="9"/>
                  </a:lnTo>
                  <a:lnTo>
                    <a:pt x="113" y="11"/>
                  </a:lnTo>
                  <a:lnTo>
                    <a:pt x="113" y="13"/>
                  </a:lnTo>
                  <a:lnTo>
                    <a:pt x="109" y="13"/>
                  </a:lnTo>
                  <a:close/>
                  <a:moveTo>
                    <a:pt x="120" y="17"/>
                  </a:moveTo>
                  <a:lnTo>
                    <a:pt x="120" y="17"/>
                  </a:lnTo>
                  <a:lnTo>
                    <a:pt x="118" y="17"/>
                  </a:lnTo>
                  <a:lnTo>
                    <a:pt x="115" y="19"/>
                  </a:lnTo>
                  <a:lnTo>
                    <a:pt x="113" y="19"/>
                  </a:lnTo>
                  <a:lnTo>
                    <a:pt x="111" y="20"/>
                  </a:lnTo>
                  <a:lnTo>
                    <a:pt x="113" y="24"/>
                  </a:lnTo>
                  <a:lnTo>
                    <a:pt x="115" y="24"/>
                  </a:lnTo>
                  <a:lnTo>
                    <a:pt x="116" y="24"/>
                  </a:lnTo>
                  <a:lnTo>
                    <a:pt x="118" y="24"/>
                  </a:lnTo>
                  <a:lnTo>
                    <a:pt x="118" y="22"/>
                  </a:lnTo>
                  <a:lnTo>
                    <a:pt x="120" y="22"/>
                  </a:lnTo>
                  <a:lnTo>
                    <a:pt x="120" y="20"/>
                  </a:lnTo>
                  <a:lnTo>
                    <a:pt x="120" y="17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293" name="Группа 292"/>
            <p:cNvGrpSpPr/>
            <p:nvPr/>
          </p:nvGrpSpPr>
          <p:grpSpPr>
            <a:xfrm rot="2060623">
              <a:off x="3696209" y="2388547"/>
              <a:ext cx="1791557" cy="1764000"/>
              <a:chOff x="7106700" y="3898019"/>
              <a:chExt cx="1791557" cy="1764000"/>
            </a:xfrm>
          </p:grpSpPr>
          <p:sp>
            <p:nvSpPr>
              <p:cNvPr id="307" name="Капля 306"/>
              <p:cNvSpPr/>
              <p:nvPr/>
            </p:nvSpPr>
            <p:spPr>
              <a:xfrm rot="13887461">
                <a:off x="7106700" y="4244943"/>
                <a:ext cx="1081460" cy="1081460"/>
              </a:xfrm>
              <a:prstGeom prst="teardrop">
                <a:avLst>
                  <a:gd name="adj" fmla="val 114200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latin typeface="Arial Narrow" panose="020B0606020202030204" pitchFamily="34" charset="0"/>
                </a:endParaRPr>
              </a:p>
            </p:txBody>
          </p:sp>
          <p:sp>
            <p:nvSpPr>
              <p:cNvPr id="308" name="Овал 307"/>
              <p:cNvSpPr>
                <a:spLocks noChangeAspect="1"/>
              </p:cNvSpPr>
              <p:nvPr/>
            </p:nvSpPr>
            <p:spPr>
              <a:xfrm>
                <a:off x="7134257" y="3898019"/>
                <a:ext cx="1764000" cy="1764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latin typeface="Arial Narrow" panose="020B0606020202030204" pitchFamily="34" charset="0"/>
                </a:endParaRPr>
              </a:p>
            </p:txBody>
          </p:sp>
        </p:grpSp>
        <p:grpSp>
          <p:nvGrpSpPr>
            <p:cNvPr id="294" name="Группа 293"/>
            <p:cNvGrpSpPr>
              <a:grpSpLocks noChangeAspect="1"/>
            </p:cNvGrpSpPr>
            <p:nvPr/>
          </p:nvGrpSpPr>
          <p:grpSpPr>
            <a:xfrm>
              <a:off x="4001631" y="2575976"/>
              <a:ext cx="1319914" cy="1476000"/>
              <a:chOff x="3675682" y="4192505"/>
              <a:chExt cx="380908" cy="425951"/>
            </a:xfrm>
          </p:grpSpPr>
          <p:sp>
            <p:nvSpPr>
              <p:cNvPr id="295" name="Freeform 53"/>
              <p:cNvSpPr>
                <a:spLocks/>
              </p:cNvSpPr>
              <p:nvPr/>
            </p:nvSpPr>
            <p:spPr bwMode="auto">
              <a:xfrm>
                <a:off x="3762299" y="4455098"/>
                <a:ext cx="110098" cy="163358"/>
              </a:xfrm>
              <a:custGeom>
                <a:avLst/>
                <a:gdLst>
                  <a:gd name="T0" fmla="*/ 12 w 211"/>
                  <a:gd name="T1" fmla="*/ 151 h 321"/>
                  <a:gd name="T2" fmla="*/ 2 w 211"/>
                  <a:gd name="T3" fmla="*/ 162 h 321"/>
                  <a:gd name="T4" fmla="*/ 6 w 211"/>
                  <a:gd name="T5" fmla="*/ 186 h 321"/>
                  <a:gd name="T6" fmla="*/ 25 w 211"/>
                  <a:gd name="T7" fmla="*/ 249 h 321"/>
                  <a:gd name="T8" fmla="*/ 26 w 211"/>
                  <a:gd name="T9" fmla="*/ 292 h 321"/>
                  <a:gd name="T10" fmla="*/ 32 w 211"/>
                  <a:gd name="T11" fmla="*/ 307 h 321"/>
                  <a:gd name="T12" fmla="*/ 60 w 211"/>
                  <a:gd name="T13" fmla="*/ 318 h 321"/>
                  <a:gd name="T14" fmla="*/ 113 w 211"/>
                  <a:gd name="T15" fmla="*/ 290 h 321"/>
                  <a:gd name="T16" fmla="*/ 119 w 211"/>
                  <a:gd name="T17" fmla="*/ 251 h 321"/>
                  <a:gd name="T18" fmla="*/ 121 w 211"/>
                  <a:gd name="T19" fmla="*/ 229 h 321"/>
                  <a:gd name="T20" fmla="*/ 124 w 211"/>
                  <a:gd name="T21" fmla="*/ 212 h 321"/>
                  <a:gd name="T22" fmla="*/ 130 w 211"/>
                  <a:gd name="T23" fmla="*/ 192 h 321"/>
                  <a:gd name="T24" fmla="*/ 146 w 211"/>
                  <a:gd name="T25" fmla="*/ 188 h 321"/>
                  <a:gd name="T26" fmla="*/ 159 w 211"/>
                  <a:gd name="T27" fmla="*/ 168 h 321"/>
                  <a:gd name="T28" fmla="*/ 189 w 211"/>
                  <a:gd name="T29" fmla="*/ 155 h 321"/>
                  <a:gd name="T30" fmla="*/ 185 w 211"/>
                  <a:gd name="T31" fmla="*/ 151 h 321"/>
                  <a:gd name="T32" fmla="*/ 159 w 211"/>
                  <a:gd name="T33" fmla="*/ 153 h 321"/>
                  <a:gd name="T34" fmla="*/ 159 w 211"/>
                  <a:gd name="T35" fmla="*/ 150 h 321"/>
                  <a:gd name="T36" fmla="*/ 170 w 211"/>
                  <a:gd name="T37" fmla="*/ 148 h 321"/>
                  <a:gd name="T38" fmla="*/ 187 w 211"/>
                  <a:gd name="T39" fmla="*/ 114 h 321"/>
                  <a:gd name="T40" fmla="*/ 183 w 211"/>
                  <a:gd name="T41" fmla="*/ 90 h 321"/>
                  <a:gd name="T42" fmla="*/ 194 w 211"/>
                  <a:gd name="T43" fmla="*/ 70 h 321"/>
                  <a:gd name="T44" fmla="*/ 209 w 211"/>
                  <a:gd name="T45" fmla="*/ 50 h 321"/>
                  <a:gd name="T46" fmla="*/ 187 w 211"/>
                  <a:gd name="T47" fmla="*/ 15 h 321"/>
                  <a:gd name="T48" fmla="*/ 126 w 211"/>
                  <a:gd name="T49" fmla="*/ 0 h 321"/>
                  <a:gd name="T50" fmla="*/ 122 w 211"/>
                  <a:gd name="T51" fmla="*/ 11 h 321"/>
                  <a:gd name="T52" fmla="*/ 128 w 211"/>
                  <a:gd name="T53" fmla="*/ 24 h 321"/>
                  <a:gd name="T54" fmla="*/ 91 w 211"/>
                  <a:gd name="T55" fmla="*/ 22 h 321"/>
                  <a:gd name="T56" fmla="*/ 102 w 211"/>
                  <a:gd name="T57" fmla="*/ 28 h 321"/>
                  <a:gd name="T58" fmla="*/ 113 w 211"/>
                  <a:gd name="T59" fmla="*/ 39 h 321"/>
                  <a:gd name="T60" fmla="*/ 100 w 211"/>
                  <a:gd name="T61" fmla="*/ 50 h 321"/>
                  <a:gd name="T62" fmla="*/ 115 w 211"/>
                  <a:gd name="T63" fmla="*/ 72 h 321"/>
                  <a:gd name="T64" fmla="*/ 111 w 211"/>
                  <a:gd name="T65" fmla="*/ 79 h 321"/>
                  <a:gd name="T66" fmla="*/ 130 w 211"/>
                  <a:gd name="T67" fmla="*/ 85 h 321"/>
                  <a:gd name="T68" fmla="*/ 143 w 211"/>
                  <a:gd name="T69" fmla="*/ 94 h 321"/>
                  <a:gd name="T70" fmla="*/ 137 w 211"/>
                  <a:gd name="T71" fmla="*/ 105 h 321"/>
                  <a:gd name="T72" fmla="*/ 119 w 211"/>
                  <a:gd name="T73" fmla="*/ 114 h 321"/>
                  <a:gd name="T74" fmla="*/ 95 w 211"/>
                  <a:gd name="T75" fmla="*/ 124 h 321"/>
                  <a:gd name="T76" fmla="*/ 87 w 211"/>
                  <a:gd name="T77" fmla="*/ 146 h 321"/>
                  <a:gd name="T78" fmla="*/ 78 w 211"/>
                  <a:gd name="T79" fmla="*/ 153 h 321"/>
                  <a:gd name="T80" fmla="*/ 54 w 211"/>
                  <a:gd name="T81" fmla="*/ 144 h 321"/>
                  <a:gd name="T82" fmla="*/ 39 w 211"/>
                  <a:gd name="T83" fmla="*/ 151 h 321"/>
                  <a:gd name="T84" fmla="*/ 21 w 211"/>
                  <a:gd name="T85" fmla="*/ 146 h 321"/>
                  <a:gd name="T86" fmla="*/ 4 w 211"/>
                  <a:gd name="T87" fmla="*/ 129 h 32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1"/>
                  <a:gd name="T133" fmla="*/ 0 h 321"/>
                  <a:gd name="T134" fmla="*/ 211 w 211"/>
                  <a:gd name="T135" fmla="*/ 321 h 321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1" h="321">
                    <a:moveTo>
                      <a:pt x="4" y="129"/>
                    </a:moveTo>
                    <a:lnTo>
                      <a:pt x="8" y="142"/>
                    </a:lnTo>
                    <a:lnTo>
                      <a:pt x="12" y="151"/>
                    </a:lnTo>
                    <a:lnTo>
                      <a:pt x="6" y="155"/>
                    </a:lnTo>
                    <a:lnTo>
                      <a:pt x="4" y="159"/>
                    </a:lnTo>
                    <a:lnTo>
                      <a:pt x="2" y="162"/>
                    </a:lnTo>
                    <a:lnTo>
                      <a:pt x="0" y="166"/>
                    </a:lnTo>
                    <a:lnTo>
                      <a:pt x="2" y="175"/>
                    </a:lnTo>
                    <a:lnTo>
                      <a:pt x="6" y="186"/>
                    </a:lnTo>
                    <a:lnTo>
                      <a:pt x="15" y="207"/>
                    </a:lnTo>
                    <a:lnTo>
                      <a:pt x="23" y="233"/>
                    </a:lnTo>
                    <a:lnTo>
                      <a:pt x="25" y="249"/>
                    </a:lnTo>
                    <a:lnTo>
                      <a:pt x="25" y="262"/>
                    </a:lnTo>
                    <a:lnTo>
                      <a:pt x="25" y="275"/>
                    </a:lnTo>
                    <a:lnTo>
                      <a:pt x="26" y="292"/>
                    </a:lnTo>
                    <a:lnTo>
                      <a:pt x="26" y="297"/>
                    </a:lnTo>
                    <a:lnTo>
                      <a:pt x="28" y="303"/>
                    </a:lnTo>
                    <a:lnTo>
                      <a:pt x="32" y="307"/>
                    </a:lnTo>
                    <a:lnTo>
                      <a:pt x="36" y="310"/>
                    </a:lnTo>
                    <a:lnTo>
                      <a:pt x="47" y="314"/>
                    </a:lnTo>
                    <a:lnTo>
                      <a:pt x="60" y="318"/>
                    </a:lnTo>
                    <a:lnTo>
                      <a:pt x="85" y="320"/>
                    </a:lnTo>
                    <a:lnTo>
                      <a:pt x="111" y="321"/>
                    </a:lnTo>
                    <a:lnTo>
                      <a:pt x="113" y="290"/>
                    </a:lnTo>
                    <a:lnTo>
                      <a:pt x="115" y="268"/>
                    </a:lnTo>
                    <a:lnTo>
                      <a:pt x="117" y="259"/>
                    </a:lnTo>
                    <a:lnTo>
                      <a:pt x="119" y="251"/>
                    </a:lnTo>
                    <a:lnTo>
                      <a:pt x="119" y="244"/>
                    </a:lnTo>
                    <a:lnTo>
                      <a:pt x="117" y="235"/>
                    </a:lnTo>
                    <a:lnTo>
                      <a:pt x="121" y="229"/>
                    </a:lnTo>
                    <a:lnTo>
                      <a:pt x="124" y="223"/>
                    </a:lnTo>
                    <a:lnTo>
                      <a:pt x="124" y="218"/>
                    </a:lnTo>
                    <a:lnTo>
                      <a:pt x="124" y="212"/>
                    </a:lnTo>
                    <a:lnTo>
                      <a:pt x="122" y="205"/>
                    </a:lnTo>
                    <a:lnTo>
                      <a:pt x="124" y="196"/>
                    </a:lnTo>
                    <a:lnTo>
                      <a:pt x="130" y="192"/>
                    </a:lnTo>
                    <a:lnTo>
                      <a:pt x="135" y="190"/>
                    </a:lnTo>
                    <a:lnTo>
                      <a:pt x="141" y="188"/>
                    </a:lnTo>
                    <a:lnTo>
                      <a:pt x="146" y="188"/>
                    </a:lnTo>
                    <a:lnTo>
                      <a:pt x="152" y="181"/>
                    </a:lnTo>
                    <a:lnTo>
                      <a:pt x="156" y="172"/>
                    </a:lnTo>
                    <a:lnTo>
                      <a:pt x="159" y="168"/>
                    </a:lnTo>
                    <a:lnTo>
                      <a:pt x="165" y="162"/>
                    </a:lnTo>
                    <a:lnTo>
                      <a:pt x="174" y="159"/>
                    </a:lnTo>
                    <a:lnTo>
                      <a:pt x="189" y="155"/>
                    </a:lnTo>
                    <a:lnTo>
                      <a:pt x="189" y="153"/>
                    </a:lnTo>
                    <a:lnTo>
                      <a:pt x="187" y="151"/>
                    </a:lnTo>
                    <a:lnTo>
                      <a:pt x="185" y="151"/>
                    </a:lnTo>
                    <a:lnTo>
                      <a:pt x="182" y="151"/>
                    </a:lnTo>
                    <a:lnTo>
                      <a:pt x="170" y="151"/>
                    </a:lnTo>
                    <a:lnTo>
                      <a:pt x="159" y="153"/>
                    </a:lnTo>
                    <a:lnTo>
                      <a:pt x="158" y="151"/>
                    </a:lnTo>
                    <a:lnTo>
                      <a:pt x="158" y="150"/>
                    </a:lnTo>
                    <a:lnTo>
                      <a:pt x="159" y="150"/>
                    </a:lnTo>
                    <a:lnTo>
                      <a:pt x="161" y="148"/>
                    </a:lnTo>
                    <a:lnTo>
                      <a:pt x="167" y="148"/>
                    </a:lnTo>
                    <a:lnTo>
                      <a:pt x="170" y="148"/>
                    </a:lnTo>
                    <a:lnTo>
                      <a:pt x="178" y="137"/>
                    </a:lnTo>
                    <a:lnTo>
                      <a:pt x="183" y="125"/>
                    </a:lnTo>
                    <a:lnTo>
                      <a:pt x="187" y="114"/>
                    </a:lnTo>
                    <a:lnTo>
                      <a:pt x="189" y="105"/>
                    </a:lnTo>
                    <a:lnTo>
                      <a:pt x="185" y="98"/>
                    </a:lnTo>
                    <a:lnTo>
                      <a:pt x="183" y="90"/>
                    </a:lnTo>
                    <a:lnTo>
                      <a:pt x="180" y="81"/>
                    </a:lnTo>
                    <a:lnTo>
                      <a:pt x="182" y="70"/>
                    </a:lnTo>
                    <a:lnTo>
                      <a:pt x="194" y="70"/>
                    </a:lnTo>
                    <a:lnTo>
                      <a:pt x="211" y="68"/>
                    </a:lnTo>
                    <a:lnTo>
                      <a:pt x="211" y="59"/>
                    </a:lnTo>
                    <a:lnTo>
                      <a:pt x="209" y="50"/>
                    </a:lnTo>
                    <a:lnTo>
                      <a:pt x="204" y="40"/>
                    </a:lnTo>
                    <a:lnTo>
                      <a:pt x="198" y="31"/>
                    </a:lnTo>
                    <a:lnTo>
                      <a:pt x="187" y="15"/>
                    </a:lnTo>
                    <a:lnTo>
                      <a:pt x="174" y="4"/>
                    </a:lnTo>
                    <a:lnTo>
                      <a:pt x="146" y="4"/>
                    </a:lnTo>
                    <a:lnTo>
                      <a:pt x="126" y="0"/>
                    </a:lnTo>
                    <a:lnTo>
                      <a:pt x="122" y="4"/>
                    </a:lnTo>
                    <a:lnTo>
                      <a:pt x="122" y="7"/>
                    </a:lnTo>
                    <a:lnTo>
                      <a:pt x="122" y="11"/>
                    </a:lnTo>
                    <a:lnTo>
                      <a:pt x="124" y="15"/>
                    </a:lnTo>
                    <a:lnTo>
                      <a:pt x="130" y="20"/>
                    </a:lnTo>
                    <a:lnTo>
                      <a:pt x="128" y="24"/>
                    </a:lnTo>
                    <a:lnTo>
                      <a:pt x="109" y="20"/>
                    </a:lnTo>
                    <a:lnTo>
                      <a:pt x="91" y="18"/>
                    </a:lnTo>
                    <a:lnTo>
                      <a:pt x="91" y="22"/>
                    </a:lnTo>
                    <a:lnTo>
                      <a:pt x="93" y="24"/>
                    </a:lnTo>
                    <a:lnTo>
                      <a:pt x="97" y="26"/>
                    </a:lnTo>
                    <a:lnTo>
                      <a:pt x="102" y="28"/>
                    </a:lnTo>
                    <a:lnTo>
                      <a:pt x="106" y="29"/>
                    </a:lnTo>
                    <a:lnTo>
                      <a:pt x="111" y="33"/>
                    </a:lnTo>
                    <a:lnTo>
                      <a:pt x="113" y="39"/>
                    </a:lnTo>
                    <a:lnTo>
                      <a:pt x="115" y="44"/>
                    </a:lnTo>
                    <a:lnTo>
                      <a:pt x="108" y="48"/>
                    </a:lnTo>
                    <a:lnTo>
                      <a:pt x="100" y="50"/>
                    </a:lnTo>
                    <a:lnTo>
                      <a:pt x="109" y="59"/>
                    </a:lnTo>
                    <a:lnTo>
                      <a:pt x="117" y="65"/>
                    </a:lnTo>
                    <a:lnTo>
                      <a:pt x="115" y="72"/>
                    </a:lnTo>
                    <a:lnTo>
                      <a:pt x="111" y="76"/>
                    </a:lnTo>
                    <a:lnTo>
                      <a:pt x="109" y="77"/>
                    </a:lnTo>
                    <a:lnTo>
                      <a:pt x="111" y="79"/>
                    </a:lnTo>
                    <a:lnTo>
                      <a:pt x="113" y="83"/>
                    </a:lnTo>
                    <a:lnTo>
                      <a:pt x="121" y="89"/>
                    </a:lnTo>
                    <a:lnTo>
                      <a:pt x="130" y="85"/>
                    </a:lnTo>
                    <a:lnTo>
                      <a:pt x="137" y="85"/>
                    </a:lnTo>
                    <a:lnTo>
                      <a:pt x="141" y="89"/>
                    </a:lnTo>
                    <a:lnTo>
                      <a:pt x="143" y="94"/>
                    </a:lnTo>
                    <a:lnTo>
                      <a:pt x="143" y="98"/>
                    </a:lnTo>
                    <a:lnTo>
                      <a:pt x="141" y="101"/>
                    </a:lnTo>
                    <a:lnTo>
                      <a:pt x="137" y="105"/>
                    </a:lnTo>
                    <a:lnTo>
                      <a:pt x="132" y="109"/>
                    </a:lnTo>
                    <a:lnTo>
                      <a:pt x="126" y="111"/>
                    </a:lnTo>
                    <a:lnTo>
                      <a:pt x="119" y="114"/>
                    </a:lnTo>
                    <a:lnTo>
                      <a:pt x="111" y="116"/>
                    </a:lnTo>
                    <a:lnTo>
                      <a:pt x="102" y="116"/>
                    </a:lnTo>
                    <a:lnTo>
                      <a:pt x="95" y="124"/>
                    </a:lnTo>
                    <a:lnTo>
                      <a:pt x="91" y="133"/>
                    </a:lnTo>
                    <a:lnTo>
                      <a:pt x="87" y="142"/>
                    </a:lnTo>
                    <a:lnTo>
                      <a:pt x="87" y="146"/>
                    </a:lnTo>
                    <a:lnTo>
                      <a:pt x="84" y="150"/>
                    </a:lnTo>
                    <a:lnTo>
                      <a:pt x="82" y="151"/>
                    </a:lnTo>
                    <a:lnTo>
                      <a:pt x="78" y="153"/>
                    </a:lnTo>
                    <a:lnTo>
                      <a:pt x="69" y="148"/>
                    </a:lnTo>
                    <a:lnTo>
                      <a:pt x="61" y="140"/>
                    </a:lnTo>
                    <a:lnTo>
                      <a:pt x="54" y="144"/>
                    </a:lnTo>
                    <a:lnTo>
                      <a:pt x="47" y="148"/>
                    </a:lnTo>
                    <a:lnTo>
                      <a:pt x="43" y="150"/>
                    </a:lnTo>
                    <a:lnTo>
                      <a:pt x="39" y="151"/>
                    </a:lnTo>
                    <a:lnTo>
                      <a:pt x="34" y="151"/>
                    </a:lnTo>
                    <a:lnTo>
                      <a:pt x="30" y="150"/>
                    </a:lnTo>
                    <a:lnTo>
                      <a:pt x="21" y="146"/>
                    </a:lnTo>
                    <a:lnTo>
                      <a:pt x="13" y="140"/>
                    </a:lnTo>
                    <a:lnTo>
                      <a:pt x="10" y="135"/>
                    </a:lnTo>
                    <a:lnTo>
                      <a:pt x="4" y="129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96" name="Freeform 54"/>
              <p:cNvSpPr>
                <a:spLocks/>
              </p:cNvSpPr>
              <p:nvPr/>
            </p:nvSpPr>
            <p:spPr bwMode="auto">
              <a:xfrm>
                <a:off x="3733601" y="4451027"/>
                <a:ext cx="71486" cy="48346"/>
              </a:xfrm>
              <a:custGeom>
                <a:avLst/>
                <a:gdLst>
                  <a:gd name="T0" fmla="*/ 0 w 137"/>
                  <a:gd name="T1" fmla="*/ 23 h 95"/>
                  <a:gd name="T2" fmla="*/ 0 w 137"/>
                  <a:gd name="T3" fmla="*/ 34 h 95"/>
                  <a:gd name="T4" fmla="*/ 2 w 137"/>
                  <a:gd name="T5" fmla="*/ 45 h 95"/>
                  <a:gd name="T6" fmla="*/ 4 w 137"/>
                  <a:gd name="T7" fmla="*/ 54 h 95"/>
                  <a:gd name="T8" fmla="*/ 6 w 137"/>
                  <a:gd name="T9" fmla="*/ 61 h 95"/>
                  <a:gd name="T10" fmla="*/ 11 w 137"/>
                  <a:gd name="T11" fmla="*/ 69 h 95"/>
                  <a:gd name="T12" fmla="*/ 20 w 137"/>
                  <a:gd name="T13" fmla="*/ 76 h 95"/>
                  <a:gd name="T14" fmla="*/ 31 w 137"/>
                  <a:gd name="T15" fmla="*/ 82 h 95"/>
                  <a:gd name="T16" fmla="*/ 48 w 137"/>
                  <a:gd name="T17" fmla="*/ 85 h 95"/>
                  <a:gd name="T18" fmla="*/ 52 w 137"/>
                  <a:gd name="T19" fmla="*/ 87 h 95"/>
                  <a:gd name="T20" fmla="*/ 54 w 137"/>
                  <a:gd name="T21" fmla="*/ 93 h 95"/>
                  <a:gd name="T22" fmla="*/ 57 w 137"/>
                  <a:gd name="T23" fmla="*/ 95 h 95"/>
                  <a:gd name="T24" fmla="*/ 61 w 137"/>
                  <a:gd name="T25" fmla="*/ 95 h 95"/>
                  <a:gd name="T26" fmla="*/ 67 w 137"/>
                  <a:gd name="T27" fmla="*/ 95 h 95"/>
                  <a:gd name="T28" fmla="*/ 70 w 137"/>
                  <a:gd name="T29" fmla="*/ 93 h 95"/>
                  <a:gd name="T30" fmla="*/ 74 w 137"/>
                  <a:gd name="T31" fmla="*/ 89 h 95"/>
                  <a:gd name="T32" fmla="*/ 76 w 137"/>
                  <a:gd name="T33" fmla="*/ 82 h 95"/>
                  <a:gd name="T34" fmla="*/ 78 w 137"/>
                  <a:gd name="T35" fmla="*/ 73 h 95"/>
                  <a:gd name="T36" fmla="*/ 78 w 137"/>
                  <a:gd name="T37" fmla="*/ 65 h 95"/>
                  <a:gd name="T38" fmla="*/ 78 w 137"/>
                  <a:gd name="T39" fmla="*/ 56 h 95"/>
                  <a:gd name="T40" fmla="*/ 80 w 137"/>
                  <a:gd name="T41" fmla="*/ 48 h 95"/>
                  <a:gd name="T42" fmla="*/ 81 w 137"/>
                  <a:gd name="T43" fmla="*/ 43 h 95"/>
                  <a:gd name="T44" fmla="*/ 87 w 137"/>
                  <a:gd name="T45" fmla="*/ 37 h 95"/>
                  <a:gd name="T46" fmla="*/ 104 w 137"/>
                  <a:gd name="T47" fmla="*/ 48 h 95"/>
                  <a:gd name="T48" fmla="*/ 116 w 137"/>
                  <a:gd name="T49" fmla="*/ 58 h 95"/>
                  <a:gd name="T50" fmla="*/ 126 w 137"/>
                  <a:gd name="T51" fmla="*/ 48 h 95"/>
                  <a:gd name="T52" fmla="*/ 137 w 137"/>
                  <a:gd name="T53" fmla="*/ 41 h 95"/>
                  <a:gd name="T54" fmla="*/ 128 w 137"/>
                  <a:gd name="T55" fmla="*/ 36 h 95"/>
                  <a:gd name="T56" fmla="*/ 118 w 137"/>
                  <a:gd name="T57" fmla="*/ 32 h 95"/>
                  <a:gd name="T58" fmla="*/ 111 w 137"/>
                  <a:gd name="T59" fmla="*/ 15 h 95"/>
                  <a:gd name="T60" fmla="*/ 104 w 137"/>
                  <a:gd name="T61" fmla="*/ 0 h 95"/>
                  <a:gd name="T62" fmla="*/ 96 w 137"/>
                  <a:gd name="T63" fmla="*/ 10 h 95"/>
                  <a:gd name="T64" fmla="*/ 91 w 137"/>
                  <a:gd name="T65" fmla="*/ 19 h 95"/>
                  <a:gd name="T66" fmla="*/ 78 w 137"/>
                  <a:gd name="T67" fmla="*/ 24 h 95"/>
                  <a:gd name="T68" fmla="*/ 65 w 137"/>
                  <a:gd name="T69" fmla="*/ 28 h 95"/>
                  <a:gd name="T70" fmla="*/ 52 w 137"/>
                  <a:gd name="T71" fmla="*/ 21 h 95"/>
                  <a:gd name="T72" fmla="*/ 39 w 137"/>
                  <a:gd name="T73" fmla="*/ 17 h 95"/>
                  <a:gd name="T74" fmla="*/ 31 w 137"/>
                  <a:gd name="T75" fmla="*/ 21 h 95"/>
                  <a:gd name="T76" fmla="*/ 24 w 137"/>
                  <a:gd name="T77" fmla="*/ 24 h 95"/>
                  <a:gd name="T78" fmla="*/ 19 w 137"/>
                  <a:gd name="T79" fmla="*/ 26 h 95"/>
                  <a:gd name="T80" fmla="*/ 13 w 137"/>
                  <a:gd name="T81" fmla="*/ 26 h 95"/>
                  <a:gd name="T82" fmla="*/ 7 w 137"/>
                  <a:gd name="T83" fmla="*/ 24 h 95"/>
                  <a:gd name="T84" fmla="*/ 0 w 137"/>
                  <a:gd name="T85" fmla="*/ 23 h 9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37"/>
                  <a:gd name="T130" fmla="*/ 0 h 95"/>
                  <a:gd name="T131" fmla="*/ 137 w 137"/>
                  <a:gd name="T132" fmla="*/ 95 h 9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37" h="95">
                    <a:moveTo>
                      <a:pt x="0" y="23"/>
                    </a:moveTo>
                    <a:lnTo>
                      <a:pt x="0" y="34"/>
                    </a:lnTo>
                    <a:lnTo>
                      <a:pt x="2" y="45"/>
                    </a:lnTo>
                    <a:lnTo>
                      <a:pt x="4" y="54"/>
                    </a:lnTo>
                    <a:lnTo>
                      <a:pt x="6" y="61"/>
                    </a:lnTo>
                    <a:lnTo>
                      <a:pt x="11" y="69"/>
                    </a:lnTo>
                    <a:lnTo>
                      <a:pt x="20" y="76"/>
                    </a:lnTo>
                    <a:lnTo>
                      <a:pt x="31" y="82"/>
                    </a:lnTo>
                    <a:lnTo>
                      <a:pt x="48" y="85"/>
                    </a:lnTo>
                    <a:lnTo>
                      <a:pt x="52" y="87"/>
                    </a:lnTo>
                    <a:lnTo>
                      <a:pt x="54" y="93"/>
                    </a:lnTo>
                    <a:lnTo>
                      <a:pt x="57" y="95"/>
                    </a:lnTo>
                    <a:lnTo>
                      <a:pt x="61" y="95"/>
                    </a:lnTo>
                    <a:lnTo>
                      <a:pt x="67" y="95"/>
                    </a:lnTo>
                    <a:lnTo>
                      <a:pt x="70" y="93"/>
                    </a:lnTo>
                    <a:lnTo>
                      <a:pt x="74" y="89"/>
                    </a:lnTo>
                    <a:lnTo>
                      <a:pt x="76" y="82"/>
                    </a:lnTo>
                    <a:lnTo>
                      <a:pt x="78" y="73"/>
                    </a:lnTo>
                    <a:lnTo>
                      <a:pt x="78" y="65"/>
                    </a:lnTo>
                    <a:lnTo>
                      <a:pt x="78" y="56"/>
                    </a:lnTo>
                    <a:lnTo>
                      <a:pt x="80" y="48"/>
                    </a:lnTo>
                    <a:lnTo>
                      <a:pt x="81" y="43"/>
                    </a:lnTo>
                    <a:lnTo>
                      <a:pt x="87" y="37"/>
                    </a:lnTo>
                    <a:lnTo>
                      <a:pt x="104" y="48"/>
                    </a:lnTo>
                    <a:lnTo>
                      <a:pt x="116" y="58"/>
                    </a:lnTo>
                    <a:lnTo>
                      <a:pt x="126" y="48"/>
                    </a:lnTo>
                    <a:lnTo>
                      <a:pt x="137" y="41"/>
                    </a:lnTo>
                    <a:lnTo>
                      <a:pt x="128" y="36"/>
                    </a:lnTo>
                    <a:lnTo>
                      <a:pt x="118" y="32"/>
                    </a:lnTo>
                    <a:lnTo>
                      <a:pt x="111" y="15"/>
                    </a:lnTo>
                    <a:lnTo>
                      <a:pt x="104" y="0"/>
                    </a:lnTo>
                    <a:lnTo>
                      <a:pt x="96" y="10"/>
                    </a:lnTo>
                    <a:lnTo>
                      <a:pt x="91" y="19"/>
                    </a:lnTo>
                    <a:lnTo>
                      <a:pt x="78" y="24"/>
                    </a:lnTo>
                    <a:lnTo>
                      <a:pt x="65" y="28"/>
                    </a:lnTo>
                    <a:lnTo>
                      <a:pt x="52" y="21"/>
                    </a:lnTo>
                    <a:lnTo>
                      <a:pt x="39" y="17"/>
                    </a:lnTo>
                    <a:lnTo>
                      <a:pt x="31" y="21"/>
                    </a:lnTo>
                    <a:lnTo>
                      <a:pt x="24" y="24"/>
                    </a:lnTo>
                    <a:lnTo>
                      <a:pt x="19" y="26"/>
                    </a:lnTo>
                    <a:lnTo>
                      <a:pt x="13" y="26"/>
                    </a:lnTo>
                    <a:lnTo>
                      <a:pt x="7" y="24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97" name="Freeform 55"/>
              <p:cNvSpPr>
                <a:spLocks/>
              </p:cNvSpPr>
              <p:nvPr/>
            </p:nvSpPr>
            <p:spPr bwMode="auto">
              <a:xfrm>
                <a:off x="3761778" y="4469857"/>
                <a:ext cx="75138" cy="63104"/>
              </a:xfrm>
              <a:custGeom>
                <a:avLst/>
                <a:gdLst>
                  <a:gd name="T0" fmla="*/ 3 w 144"/>
                  <a:gd name="T1" fmla="*/ 76 h 124"/>
                  <a:gd name="T2" fmla="*/ 11 w 144"/>
                  <a:gd name="T3" fmla="*/ 106 h 124"/>
                  <a:gd name="T4" fmla="*/ 22 w 144"/>
                  <a:gd name="T5" fmla="*/ 117 h 124"/>
                  <a:gd name="T6" fmla="*/ 35 w 144"/>
                  <a:gd name="T7" fmla="*/ 122 h 124"/>
                  <a:gd name="T8" fmla="*/ 44 w 144"/>
                  <a:gd name="T9" fmla="*/ 121 h 124"/>
                  <a:gd name="T10" fmla="*/ 55 w 144"/>
                  <a:gd name="T11" fmla="*/ 115 h 124"/>
                  <a:gd name="T12" fmla="*/ 70 w 144"/>
                  <a:gd name="T13" fmla="*/ 119 h 124"/>
                  <a:gd name="T14" fmla="*/ 83 w 144"/>
                  <a:gd name="T15" fmla="*/ 122 h 124"/>
                  <a:gd name="T16" fmla="*/ 88 w 144"/>
                  <a:gd name="T17" fmla="*/ 117 h 124"/>
                  <a:gd name="T18" fmla="*/ 92 w 144"/>
                  <a:gd name="T19" fmla="*/ 104 h 124"/>
                  <a:gd name="T20" fmla="*/ 103 w 144"/>
                  <a:gd name="T21" fmla="*/ 87 h 124"/>
                  <a:gd name="T22" fmla="*/ 120 w 144"/>
                  <a:gd name="T23" fmla="*/ 85 h 124"/>
                  <a:gd name="T24" fmla="*/ 133 w 144"/>
                  <a:gd name="T25" fmla="*/ 80 h 124"/>
                  <a:gd name="T26" fmla="*/ 142 w 144"/>
                  <a:gd name="T27" fmla="*/ 72 h 124"/>
                  <a:gd name="T28" fmla="*/ 144 w 144"/>
                  <a:gd name="T29" fmla="*/ 65 h 124"/>
                  <a:gd name="T30" fmla="*/ 138 w 144"/>
                  <a:gd name="T31" fmla="*/ 56 h 124"/>
                  <a:gd name="T32" fmla="*/ 122 w 144"/>
                  <a:gd name="T33" fmla="*/ 60 h 124"/>
                  <a:gd name="T34" fmla="*/ 112 w 144"/>
                  <a:gd name="T35" fmla="*/ 50 h 124"/>
                  <a:gd name="T36" fmla="*/ 112 w 144"/>
                  <a:gd name="T37" fmla="*/ 47 h 124"/>
                  <a:gd name="T38" fmla="*/ 118 w 144"/>
                  <a:gd name="T39" fmla="*/ 36 h 124"/>
                  <a:gd name="T40" fmla="*/ 101 w 144"/>
                  <a:gd name="T41" fmla="*/ 21 h 124"/>
                  <a:gd name="T42" fmla="*/ 96 w 144"/>
                  <a:gd name="T43" fmla="*/ 21 h 124"/>
                  <a:gd name="T44" fmla="*/ 88 w 144"/>
                  <a:gd name="T45" fmla="*/ 11 h 124"/>
                  <a:gd name="T46" fmla="*/ 83 w 144"/>
                  <a:gd name="T47" fmla="*/ 4 h 124"/>
                  <a:gd name="T48" fmla="*/ 72 w 144"/>
                  <a:gd name="T49" fmla="*/ 11 h 124"/>
                  <a:gd name="T50" fmla="*/ 50 w 144"/>
                  <a:gd name="T51" fmla="*/ 11 h 124"/>
                  <a:gd name="T52" fmla="*/ 27 w 144"/>
                  <a:gd name="T53" fmla="*/ 6 h 124"/>
                  <a:gd name="T54" fmla="*/ 24 w 144"/>
                  <a:gd name="T55" fmla="*/ 19 h 124"/>
                  <a:gd name="T56" fmla="*/ 24 w 144"/>
                  <a:gd name="T57" fmla="*/ 36 h 124"/>
                  <a:gd name="T58" fmla="*/ 20 w 144"/>
                  <a:gd name="T59" fmla="*/ 52 h 124"/>
                  <a:gd name="T60" fmla="*/ 13 w 144"/>
                  <a:gd name="T61" fmla="*/ 58 h 124"/>
                  <a:gd name="T62" fmla="*/ 3 w 144"/>
                  <a:gd name="T63" fmla="*/ 58 h 12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44"/>
                  <a:gd name="T97" fmla="*/ 0 h 124"/>
                  <a:gd name="T98" fmla="*/ 144 w 144"/>
                  <a:gd name="T99" fmla="*/ 124 h 12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44" h="124">
                    <a:moveTo>
                      <a:pt x="0" y="56"/>
                    </a:moveTo>
                    <a:lnTo>
                      <a:pt x="3" y="76"/>
                    </a:lnTo>
                    <a:lnTo>
                      <a:pt x="5" y="100"/>
                    </a:lnTo>
                    <a:lnTo>
                      <a:pt x="11" y="106"/>
                    </a:lnTo>
                    <a:lnTo>
                      <a:pt x="14" y="111"/>
                    </a:lnTo>
                    <a:lnTo>
                      <a:pt x="22" y="117"/>
                    </a:lnTo>
                    <a:lnTo>
                      <a:pt x="31" y="121"/>
                    </a:lnTo>
                    <a:lnTo>
                      <a:pt x="35" y="122"/>
                    </a:lnTo>
                    <a:lnTo>
                      <a:pt x="40" y="122"/>
                    </a:lnTo>
                    <a:lnTo>
                      <a:pt x="44" y="121"/>
                    </a:lnTo>
                    <a:lnTo>
                      <a:pt x="48" y="119"/>
                    </a:lnTo>
                    <a:lnTo>
                      <a:pt x="55" y="115"/>
                    </a:lnTo>
                    <a:lnTo>
                      <a:pt x="62" y="111"/>
                    </a:lnTo>
                    <a:lnTo>
                      <a:pt x="70" y="119"/>
                    </a:lnTo>
                    <a:lnTo>
                      <a:pt x="79" y="124"/>
                    </a:lnTo>
                    <a:lnTo>
                      <a:pt x="83" y="122"/>
                    </a:lnTo>
                    <a:lnTo>
                      <a:pt x="85" y="121"/>
                    </a:lnTo>
                    <a:lnTo>
                      <a:pt x="88" y="117"/>
                    </a:lnTo>
                    <a:lnTo>
                      <a:pt x="88" y="113"/>
                    </a:lnTo>
                    <a:lnTo>
                      <a:pt x="92" y="104"/>
                    </a:lnTo>
                    <a:lnTo>
                      <a:pt x="96" y="95"/>
                    </a:lnTo>
                    <a:lnTo>
                      <a:pt x="103" y="87"/>
                    </a:lnTo>
                    <a:lnTo>
                      <a:pt x="112" y="87"/>
                    </a:lnTo>
                    <a:lnTo>
                      <a:pt x="120" y="85"/>
                    </a:lnTo>
                    <a:lnTo>
                      <a:pt x="127" y="82"/>
                    </a:lnTo>
                    <a:lnTo>
                      <a:pt x="133" y="80"/>
                    </a:lnTo>
                    <a:lnTo>
                      <a:pt x="138" y="76"/>
                    </a:lnTo>
                    <a:lnTo>
                      <a:pt x="142" y="72"/>
                    </a:lnTo>
                    <a:lnTo>
                      <a:pt x="144" y="69"/>
                    </a:lnTo>
                    <a:lnTo>
                      <a:pt x="144" y="65"/>
                    </a:lnTo>
                    <a:lnTo>
                      <a:pt x="142" y="60"/>
                    </a:lnTo>
                    <a:lnTo>
                      <a:pt x="138" y="56"/>
                    </a:lnTo>
                    <a:lnTo>
                      <a:pt x="131" y="56"/>
                    </a:lnTo>
                    <a:lnTo>
                      <a:pt x="122" y="60"/>
                    </a:lnTo>
                    <a:lnTo>
                      <a:pt x="114" y="54"/>
                    </a:lnTo>
                    <a:lnTo>
                      <a:pt x="112" y="50"/>
                    </a:lnTo>
                    <a:lnTo>
                      <a:pt x="110" y="48"/>
                    </a:lnTo>
                    <a:lnTo>
                      <a:pt x="112" y="47"/>
                    </a:lnTo>
                    <a:lnTo>
                      <a:pt x="116" y="43"/>
                    </a:lnTo>
                    <a:lnTo>
                      <a:pt x="118" y="36"/>
                    </a:lnTo>
                    <a:lnTo>
                      <a:pt x="110" y="30"/>
                    </a:lnTo>
                    <a:lnTo>
                      <a:pt x="101" y="21"/>
                    </a:lnTo>
                    <a:lnTo>
                      <a:pt x="96" y="21"/>
                    </a:lnTo>
                    <a:lnTo>
                      <a:pt x="90" y="19"/>
                    </a:lnTo>
                    <a:lnTo>
                      <a:pt x="88" y="11"/>
                    </a:lnTo>
                    <a:lnTo>
                      <a:pt x="83" y="4"/>
                    </a:lnTo>
                    <a:lnTo>
                      <a:pt x="72" y="11"/>
                    </a:lnTo>
                    <a:lnTo>
                      <a:pt x="62" y="21"/>
                    </a:lnTo>
                    <a:lnTo>
                      <a:pt x="50" y="11"/>
                    </a:lnTo>
                    <a:lnTo>
                      <a:pt x="33" y="0"/>
                    </a:lnTo>
                    <a:lnTo>
                      <a:pt x="27" y="6"/>
                    </a:lnTo>
                    <a:lnTo>
                      <a:pt x="26" y="11"/>
                    </a:lnTo>
                    <a:lnTo>
                      <a:pt x="24" y="19"/>
                    </a:lnTo>
                    <a:lnTo>
                      <a:pt x="24" y="28"/>
                    </a:lnTo>
                    <a:lnTo>
                      <a:pt x="24" y="36"/>
                    </a:lnTo>
                    <a:lnTo>
                      <a:pt x="22" y="45"/>
                    </a:lnTo>
                    <a:lnTo>
                      <a:pt x="20" y="52"/>
                    </a:lnTo>
                    <a:lnTo>
                      <a:pt x="16" y="56"/>
                    </a:lnTo>
                    <a:lnTo>
                      <a:pt x="13" y="58"/>
                    </a:lnTo>
                    <a:lnTo>
                      <a:pt x="7" y="58"/>
                    </a:lnTo>
                    <a:lnTo>
                      <a:pt x="3" y="58"/>
                    </a:lnTo>
                    <a:lnTo>
                      <a:pt x="0" y="56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98" name="Freeform 56"/>
              <p:cNvSpPr>
                <a:spLocks/>
              </p:cNvSpPr>
              <p:nvPr/>
            </p:nvSpPr>
            <p:spPr bwMode="auto">
              <a:xfrm>
                <a:off x="3899531" y="4337542"/>
                <a:ext cx="89748" cy="156233"/>
              </a:xfrm>
              <a:custGeom>
                <a:avLst/>
                <a:gdLst>
                  <a:gd name="T0" fmla="*/ 140 w 172"/>
                  <a:gd name="T1" fmla="*/ 281 h 307"/>
                  <a:gd name="T2" fmla="*/ 125 w 172"/>
                  <a:gd name="T3" fmla="*/ 257 h 307"/>
                  <a:gd name="T4" fmla="*/ 127 w 172"/>
                  <a:gd name="T5" fmla="*/ 242 h 307"/>
                  <a:gd name="T6" fmla="*/ 135 w 172"/>
                  <a:gd name="T7" fmla="*/ 240 h 307"/>
                  <a:gd name="T8" fmla="*/ 148 w 172"/>
                  <a:gd name="T9" fmla="*/ 249 h 307"/>
                  <a:gd name="T10" fmla="*/ 157 w 172"/>
                  <a:gd name="T11" fmla="*/ 235 h 307"/>
                  <a:gd name="T12" fmla="*/ 164 w 172"/>
                  <a:gd name="T13" fmla="*/ 194 h 307"/>
                  <a:gd name="T14" fmla="*/ 170 w 172"/>
                  <a:gd name="T15" fmla="*/ 168 h 307"/>
                  <a:gd name="T16" fmla="*/ 159 w 172"/>
                  <a:gd name="T17" fmla="*/ 153 h 307"/>
                  <a:gd name="T18" fmla="*/ 135 w 172"/>
                  <a:gd name="T19" fmla="*/ 135 h 307"/>
                  <a:gd name="T20" fmla="*/ 142 w 172"/>
                  <a:gd name="T21" fmla="*/ 116 h 307"/>
                  <a:gd name="T22" fmla="*/ 153 w 172"/>
                  <a:gd name="T23" fmla="*/ 101 h 307"/>
                  <a:gd name="T24" fmla="*/ 149 w 172"/>
                  <a:gd name="T25" fmla="*/ 90 h 307"/>
                  <a:gd name="T26" fmla="*/ 144 w 172"/>
                  <a:gd name="T27" fmla="*/ 79 h 307"/>
                  <a:gd name="T28" fmla="*/ 142 w 172"/>
                  <a:gd name="T29" fmla="*/ 68 h 307"/>
                  <a:gd name="T30" fmla="*/ 149 w 172"/>
                  <a:gd name="T31" fmla="*/ 59 h 307"/>
                  <a:gd name="T32" fmla="*/ 161 w 172"/>
                  <a:gd name="T33" fmla="*/ 48 h 307"/>
                  <a:gd name="T34" fmla="*/ 157 w 172"/>
                  <a:gd name="T35" fmla="*/ 35 h 307"/>
                  <a:gd name="T36" fmla="*/ 151 w 172"/>
                  <a:gd name="T37" fmla="*/ 24 h 307"/>
                  <a:gd name="T38" fmla="*/ 144 w 172"/>
                  <a:gd name="T39" fmla="*/ 22 h 307"/>
                  <a:gd name="T40" fmla="*/ 129 w 172"/>
                  <a:gd name="T41" fmla="*/ 15 h 307"/>
                  <a:gd name="T42" fmla="*/ 114 w 172"/>
                  <a:gd name="T43" fmla="*/ 9 h 307"/>
                  <a:gd name="T44" fmla="*/ 107 w 172"/>
                  <a:gd name="T45" fmla="*/ 7 h 307"/>
                  <a:gd name="T46" fmla="*/ 100 w 172"/>
                  <a:gd name="T47" fmla="*/ 2 h 307"/>
                  <a:gd name="T48" fmla="*/ 88 w 172"/>
                  <a:gd name="T49" fmla="*/ 0 h 307"/>
                  <a:gd name="T50" fmla="*/ 81 w 172"/>
                  <a:gd name="T51" fmla="*/ 4 h 307"/>
                  <a:gd name="T52" fmla="*/ 81 w 172"/>
                  <a:gd name="T53" fmla="*/ 15 h 307"/>
                  <a:gd name="T54" fmla="*/ 81 w 172"/>
                  <a:gd name="T55" fmla="*/ 31 h 307"/>
                  <a:gd name="T56" fmla="*/ 85 w 172"/>
                  <a:gd name="T57" fmla="*/ 42 h 307"/>
                  <a:gd name="T58" fmla="*/ 92 w 172"/>
                  <a:gd name="T59" fmla="*/ 46 h 307"/>
                  <a:gd name="T60" fmla="*/ 81 w 172"/>
                  <a:gd name="T61" fmla="*/ 63 h 307"/>
                  <a:gd name="T62" fmla="*/ 70 w 172"/>
                  <a:gd name="T63" fmla="*/ 101 h 307"/>
                  <a:gd name="T64" fmla="*/ 72 w 172"/>
                  <a:gd name="T65" fmla="*/ 142 h 307"/>
                  <a:gd name="T66" fmla="*/ 74 w 172"/>
                  <a:gd name="T67" fmla="*/ 175 h 307"/>
                  <a:gd name="T68" fmla="*/ 70 w 172"/>
                  <a:gd name="T69" fmla="*/ 190 h 307"/>
                  <a:gd name="T70" fmla="*/ 57 w 172"/>
                  <a:gd name="T71" fmla="*/ 194 h 307"/>
                  <a:gd name="T72" fmla="*/ 35 w 172"/>
                  <a:gd name="T73" fmla="*/ 188 h 307"/>
                  <a:gd name="T74" fmla="*/ 24 w 172"/>
                  <a:gd name="T75" fmla="*/ 179 h 307"/>
                  <a:gd name="T76" fmla="*/ 20 w 172"/>
                  <a:gd name="T77" fmla="*/ 186 h 307"/>
                  <a:gd name="T78" fmla="*/ 22 w 172"/>
                  <a:gd name="T79" fmla="*/ 203 h 307"/>
                  <a:gd name="T80" fmla="*/ 24 w 172"/>
                  <a:gd name="T81" fmla="*/ 214 h 307"/>
                  <a:gd name="T82" fmla="*/ 16 w 172"/>
                  <a:gd name="T83" fmla="*/ 225 h 307"/>
                  <a:gd name="T84" fmla="*/ 0 w 172"/>
                  <a:gd name="T85" fmla="*/ 236 h 307"/>
                  <a:gd name="T86" fmla="*/ 4 w 172"/>
                  <a:gd name="T87" fmla="*/ 244 h 307"/>
                  <a:gd name="T88" fmla="*/ 15 w 172"/>
                  <a:gd name="T89" fmla="*/ 251 h 307"/>
                  <a:gd name="T90" fmla="*/ 22 w 172"/>
                  <a:gd name="T91" fmla="*/ 270 h 307"/>
                  <a:gd name="T92" fmla="*/ 33 w 172"/>
                  <a:gd name="T93" fmla="*/ 284 h 307"/>
                  <a:gd name="T94" fmla="*/ 53 w 172"/>
                  <a:gd name="T95" fmla="*/ 288 h 307"/>
                  <a:gd name="T96" fmla="*/ 87 w 172"/>
                  <a:gd name="T97" fmla="*/ 299 h 307"/>
                  <a:gd name="T98" fmla="*/ 105 w 172"/>
                  <a:gd name="T99" fmla="*/ 307 h 307"/>
                  <a:gd name="T100" fmla="*/ 129 w 172"/>
                  <a:gd name="T101" fmla="*/ 305 h 307"/>
                  <a:gd name="T102" fmla="*/ 144 w 172"/>
                  <a:gd name="T103" fmla="*/ 303 h 307"/>
                  <a:gd name="T104" fmla="*/ 151 w 172"/>
                  <a:gd name="T105" fmla="*/ 297 h 30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72"/>
                  <a:gd name="T160" fmla="*/ 0 h 307"/>
                  <a:gd name="T161" fmla="*/ 172 w 172"/>
                  <a:gd name="T162" fmla="*/ 307 h 307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72" h="307">
                    <a:moveTo>
                      <a:pt x="153" y="294"/>
                    </a:moveTo>
                    <a:lnTo>
                      <a:pt x="140" y="281"/>
                    </a:lnTo>
                    <a:lnTo>
                      <a:pt x="131" y="268"/>
                    </a:lnTo>
                    <a:lnTo>
                      <a:pt x="125" y="257"/>
                    </a:lnTo>
                    <a:lnTo>
                      <a:pt x="124" y="247"/>
                    </a:lnTo>
                    <a:lnTo>
                      <a:pt x="127" y="242"/>
                    </a:lnTo>
                    <a:lnTo>
                      <a:pt x="129" y="240"/>
                    </a:lnTo>
                    <a:lnTo>
                      <a:pt x="135" y="240"/>
                    </a:lnTo>
                    <a:lnTo>
                      <a:pt x="140" y="242"/>
                    </a:lnTo>
                    <a:lnTo>
                      <a:pt x="148" y="249"/>
                    </a:lnTo>
                    <a:lnTo>
                      <a:pt x="153" y="253"/>
                    </a:lnTo>
                    <a:lnTo>
                      <a:pt x="157" y="235"/>
                    </a:lnTo>
                    <a:lnTo>
                      <a:pt x="159" y="214"/>
                    </a:lnTo>
                    <a:lnTo>
                      <a:pt x="164" y="194"/>
                    </a:lnTo>
                    <a:lnTo>
                      <a:pt x="172" y="175"/>
                    </a:lnTo>
                    <a:lnTo>
                      <a:pt x="170" y="168"/>
                    </a:lnTo>
                    <a:lnTo>
                      <a:pt x="166" y="161"/>
                    </a:lnTo>
                    <a:lnTo>
                      <a:pt x="159" y="153"/>
                    </a:lnTo>
                    <a:lnTo>
                      <a:pt x="149" y="146"/>
                    </a:lnTo>
                    <a:lnTo>
                      <a:pt x="135" y="135"/>
                    </a:lnTo>
                    <a:lnTo>
                      <a:pt x="129" y="127"/>
                    </a:lnTo>
                    <a:lnTo>
                      <a:pt x="142" y="116"/>
                    </a:lnTo>
                    <a:lnTo>
                      <a:pt x="153" y="107"/>
                    </a:lnTo>
                    <a:lnTo>
                      <a:pt x="153" y="101"/>
                    </a:lnTo>
                    <a:lnTo>
                      <a:pt x="153" y="96"/>
                    </a:lnTo>
                    <a:lnTo>
                      <a:pt x="149" y="90"/>
                    </a:lnTo>
                    <a:lnTo>
                      <a:pt x="146" y="85"/>
                    </a:lnTo>
                    <a:lnTo>
                      <a:pt x="144" y="79"/>
                    </a:lnTo>
                    <a:lnTo>
                      <a:pt x="142" y="74"/>
                    </a:lnTo>
                    <a:lnTo>
                      <a:pt x="142" y="68"/>
                    </a:lnTo>
                    <a:lnTo>
                      <a:pt x="144" y="63"/>
                    </a:lnTo>
                    <a:lnTo>
                      <a:pt x="149" y="59"/>
                    </a:lnTo>
                    <a:lnTo>
                      <a:pt x="161" y="57"/>
                    </a:lnTo>
                    <a:lnTo>
                      <a:pt x="161" y="48"/>
                    </a:lnTo>
                    <a:lnTo>
                      <a:pt x="159" y="41"/>
                    </a:lnTo>
                    <a:lnTo>
                      <a:pt x="157" y="35"/>
                    </a:lnTo>
                    <a:lnTo>
                      <a:pt x="155" y="28"/>
                    </a:lnTo>
                    <a:lnTo>
                      <a:pt x="151" y="24"/>
                    </a:lnTo>
                    <a:lnTo>
                      <a:pt x="148" y="24"/>
                    </a:lnTo>
                    <a:lnTo>
                      <a:pt x="144" y="22"/>
                    </a:lnTo>
                    <a:lnTo>
                      <a:pt x="138" y="22"/>
                    </a:lnTo>
                    <a:lnTo>
                      <a:pt x="129" y="15"/>
                    </a:lnTo>
                    <a:lnTo>
                      <a:pt x="120" y="7"/>
                    </a:lnTo>
                    <a:lnTo>
                      <a:pt x="114" y="9"/>
                    </a:lnTo>
                    <a:lnTo>
                      <a:pt x="109" y="9"/>
                    </a:lnTo>
                    <a:lnTo>
                      <a:pt x="107" y="7"/>
                    </a:lnTo>
                    <a:lnTo>
                      <a:pt x="103" y="5"/>
                    </a:lnTo>
                    <a:lnTo>
                      <a:pt x="100" y="2"/>
                    </a:lnTo>
                    <a:lnTo>
                      <a:pt x="96" y="0"/>
                    </a:lnTo>
                    <a:lnTo>
                      <a:pt x="88" y="0"/>
                    </a:lnTo>
                    <a:lnTo>
                      <a:pt x="85" y="2"/>
                    </a:lnTo>
                    <a:lnTo>
                      <a:pt x="81" y="4"/>
                    </a:lnTo>
                    <a:lnTo>
                      <a:pt x="77" y="7"/>
                    </a:lnTo>
                    <a:lnTo>
                      <a:pt x="81" y="15"/>
                    </a:lnTo>
                    <a:lnTo>
                      <a:pt x="81" y="24"/>
                    </a:lnTo>
                    <a:lnTo>
                      <a:pt x="81" y="31"/>
                    </a:lnTo>
                    <a:lnTo>
                      <a:pt x="81" y="42"/>
                    </a:lnTo>
                    <a:lnTo>
                      <a:pt x="85" y="42"/>
                    </a:lnTo>
                    <a:lnTo>
                      <a:pt x="88" y="44"/>
                    </a:lnTo>
                    <a:lnTo>
                      <a:pt x="92" y="46"/>
                    </a:lnTo>
                    <a:lnTo>
                      <a:pt x="92" y="52"/>
                    </a:lnTo>
                    <a:lnTo>
                      <a:pt x="81" y="63"/>
                    </a:lnTo>
                    <a:lnTo>
                      <a:pt x="70" y="81"/>
                    </a:lnTo>
                    <a:lnTo>
                      <a:pt x="70" y="101"/>
                    </a:lnTo>
                    <a:lnTo>
                      <a:pt x="74" y="124"/>
                    </a:lnTo>
                    <a:lnTo>
                      <a:pt x="72" y="142"/>
                    </a:lnTo>
                    <a:lnTo>
                      <a:pt x="74" y="164"/>
                    </a:lnTo>
                    <a:lnTo>
                      <a:pt x="74" y="175"/>
                    </a:lnTo>
                    <a:lnTo>
                      <a:pt x="72" y="183"/>
                    </a:lnTo>
                    <a:lnTo>
                      <a:pt x="70" y="190"/>
                    </a:lnTo>
                    <a:lnTo>
                      <a:pt x="68" y="194"/>
                    </a:lnTo>
                    <a:lnTo>
                      <a:pt x="57" y="194"/>
                    </a:lnTo>
                    <a:lnTo>
                      <a:pt x="42" y="194"/>
                    </a:lnTo>
                    <a:lnTo>
                      <a:pt x="35" y="188"/>
                    </a:lnTo>
                    <a:lnTo>
                      <a:pt x="29" y="183"/>
                    </a:lnTo>
                    <a:lnTo>
                      <a:pt x="24" y="179"/>
                    </a:lnTo>
                    <a:lnTo>
                      <a:pt x="16" y="177"/>
                    </a:lnTo>
                    <a:lnTo>
                      <a:pt x="20" y="186"/>
                    </a:lnTo>
                    <a:lnTo>
                      <a:pt x="24" y="199"/>
                    </a:lnTo>
                    <a:lnTo>
                      <a:pt x="22" y="203"/>
                    </a:lnTo>
                    <a:lnTo>
                      <a:pt x="18" y="209"/>
                    </a:lnTo>
                    <a:lnTo>
                      <a:pt x="24" y="214"/>
                    </a:lnTo>
                    <a:lnTo>
                      <a:pt x="29" y="218"/>
                    </a:lnTo>
                    <a:lnTo>
                      <a:pt x="16" y="225"/>
                    </a:lnTo>
                    <a:lnTo>
                      <a:pt x="2" y="233"/>
                    </a:lnTo>
                    <a:lnTo>
                      <a:pt x="0" y="236"/>
                    </a:lnTo>
                    <a:lnTo>
                      <a:pt x="2" y="240"/>
                    </a:lnTo>
                    <a:lnTo>
                      <a:pt x="4" y="244"/>
                    </a:lnTo>
                    <a:lnTo>
                      <a:pt x="7" y="246"/>
                    </a:lnTo>
                    <a:lnTo>
                      <a:pt x="15" y="251"/>
                    </a:lnTo>
                    <a:lnTo>
                      <a:pt x="20" y="257"/>
                    </a:lnTo>
                    <a:lnTo>
                      <a:pt x="22" y="270"/>
                    </a:lnTo>
                    <a:lnTo>
                      <a:pt x="26" y="281"/>
                    </a:lnTo>
                    <a:lnTo>
                      <a:pt x="33" y="284"/>
                    </a:lnTo>
                    <a:lnTo>
                      <a:pt x="42" y="288"/>
                    </a:lnTo>
                    <a:lnTo>
                      <a:pt x="53" y="288"/>
                    </a:lnTo>
                    <a:lnTo>
                      <a:pt x="64" y="286"/>
                    </a:lnTo>
                    <a:lnTo>
                      <a:pt x="87" y="299"/>
                    </a:lnTo>
                    <a:lnTo>
                      <a:pt x="98" y="307"/>
                    </a:lnTo>
                    <a:lnTo>
                      <a:pt x="105" y="307"/>
                    </a:lnTo>
                    <a:lnTo>
                      <a:pt x="116" y="303"/>
                    </a:lnTo>
                    <a:lnTo>
                      <a:pt x="129" y="305"/>
                    </a:lnTo>
                    <a:lnTo>
                      <a:pt x="138" y="305"/>
                    </a:lnTo>
                    <a:lnTo>
                      <a:pt x="144" y="303"/>
                    </a:lnTo>
                    <a:lnTo>
                      <a:pt x="148" y="301"/>
                    </a:lnTo>
                    <a:lnTo>
                      <a:pt x="151" y="297"/>
                    </a:lnTo>
                    <a:lnTo>
                      <a:pt x="153" y="294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299" name="Freeform 57"/>
              <p:cNvSpPr>
                <a:spLocks/>
              </p:cNvSpPr>
              <p:nvPr/>
            </p:nvSpPr>
            <p:spPr bwMode="auto">
              <a:xfrm>
                <a:off x="3724209" y="4419984"/>
                <a:ext cx="63659" cy="45292"/>
              </a:xfrm>
              <a:custGeom>
                <a:avLst/>
                <a:gdLst>
                  <a:gd name="T0" fmla="*/ 0 w 122"/>
                  <a:gd name="T1" fmla="*/ 23 h 89"/>
                  <a:gd name="T2" fmla="*/ 1 w 122"/>
                  <a:gd name="T3" fmla="*/ 24 h 89"/>
                  <a:gd name="T4" fmla="*/ 3 w 122"/>
                  <a:gd name="T5" fmla="*/ 24 h 89"/>
                  <a:gd name="T6" fmla="*/ 11 w 122"/>
                  <a:gd name="T7" fmla="*/ 41 h 89"/>
                  <a:gd name="T8" fmla="*/ 14 w 122"/>
                  <a:gd name="T9" fmla="*/ 56 h 89"/>
                  <a:gd name="T10" fmla="*/ 18 w 122"/>
                  <a:gd name="T11" fmla="*/ 71 h 89"/>
                  <a:gd name="T12" fmla="*/ 18 w 122"/>
                  <a:gd name="T13" fmla="*/ 85 h 89"/>
                  <a:gd name="T14" fmla="*/ 18 w 122"/>
                  <a:gd name="T15" fmla="*/ 84 h 89"/>
                  <a:gd name="T16" fmla="*/ 18 w 122"/>
                  <a:gd name="T17" fmla="*/ 84 h 89"/>
                  <a:gd name="T18" fmla="*/ 25 w 122"/>
                  <a:gd name="T19" fmla="*/ 85 h 89"/>
                  <a:gd name="T20" fmla="*/ 31 w 122"/>
                  <a:gd name="T21" fmla="*/ 87 h 89"/>
                  <a:gd name="T22" fmla="*/ 37 w 122"/>
                  <a:gd name="T23" fmla="*/ 87 h 89"/>
                  <a:gd name="T24" fmla="*/ 42 w 122"/>
                  <a:gd name="T25" fmla="*/ 85 h 89"/>
                  <a:gd name="T26" fmla="*/ 49 w 122"/>
                  <a:gd name="T27" fmla="*/ 82 h 89"/>
                  <a:gd name="T28" fmla="*/ 57 w 122"/>
                  <a:gd name="T29" fmla="*/ 78 h 89"/>
                  <a:gd name="T30" fmla="*/ 70 w 122"/>
                  <a:gd name="T31" fmla="*/ 82 h 89"/>
                  <a:gd name="T32" fmla="*/ 83 w 122"/>
                  <a:gd name="T33" fmla="*/ 89 h 89"/>
                  <a:gd name="T34" fmla="*/ 96 w 122"/>
                  <a:gd name="T35" fmla="*/ 85 h 89"/>
                  <a:gd name="T36" fmla="*/ 109 w 122"/>
                  <a:gd name="T37" fmla="*/ 80 h 89"/>
                  <a:gd name="T38" fmla="*/ 112 w 122"/>
                  <a:gd name="T39" fmla="*/ 78 h 89"/>
                  <a:gd name="T40" fmla="*/ 114 w 122"/>
                  <a:gd name="T41" fmla="*/ 71 h 89"/>
                  <a:gd name="T42" fmla="*/ 118 w 122"/>
                  <a:gd name="T43" fmla="*/ 65 h 89"/>
                  <a:gd name="T44" fmla="*/ 122 w 122"/>
                  <a:gd name="T45" fmla="*/ 61 h 89"/>
                  <a:gd name="T46" fmla="*/ 120 w 122"/>
                  <a:gd name="T47" fmla="*/ 56 h 89"/>
                  <a:gd name="T48" fmla="*/ 114 w 122"/>
                  <a:gd name="T49" fmla="*/ 52 h 89"/>
                  <a:gd name="T50" fmla="*/ 107 w 122"/>
                  <a:gd name="T51" fmla="*/ 50 h 89"/>
                  <a:gd name="T52" fmla="*/ 98 w 122"/>
                  <a:gd name="T53" fmla="*/ 50 h 89"/>
                  <a:gd name="T54" fmla="*/ 92 w 122"/>
                  <a:gd name="T55" fmla="*/ 49 h 89"/>
                  <a:gd name="T56" fmla="*/ 88 w 122"/>
                  <a:gd name="T57" fmla="*/ 47 h 89"/>
                  <a:gd name="T58" fmla="*/ 83 w 122"/>
                  <a:gd name="T59" fmla="*/ 45 h 89"/>
                  <a:gd name="T60" fmla="*/ 77 w 122"/>
                  <a:gd name="T61" fmla="*/ 39 h 89"/>
                  <a:gd name="T62" fmla="*/ 72 w 122"/>
                  <a:gd name="T63" fmla="*/ 21 h 89"/>
                  <a:gd name="T64" fmla="*/ 70 w 122"/>
                  <a:gd name="T65" fmla="*/ 2 h 89"/>
                  <a:gd name="T66" fmla="*/ 55 w 122"/>
                  <a:gd name="T67" fmla="*/ 0 h 89"/>
                  <a:gd name="T68" fmla="*/ 40 w 122"/>
                  <a:gd name="T69" fmla="*/ 0 h 89"/>
                  <a:gd name="T70" fmla="*/ 27 w 122"/>
                  <a:gd name="T71" fmla="*/ 2 h 89"/>
                  <a:gd name="T72" fmla="*/ 16 w 122"/>
                  <a:gd name="T73" fmla="*/ 8 h 89"/>
                  <a:gd name="T74" fmla="*/ 7 w 122"/>
                  <a:gd name="T75" fmla="*/ 15 h 89"/>
                  <a:gd name="T76" fmla="*/ 0 w 122"/>
                  <a:gd name="T77" fmla="*/ 23 h 89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22"/>
                  <a:gd name="T118" fmla="*/ 0 h 89"/>
                  <a:gd name="T119" fmla="*/ 122 w 122"/>
                  <a:gd name="T120" fmla="*/ 89 h 89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22" h="89">
                    <a:moveTo>
                      <a:pt x="0" y="23"/>
                    </a:moveTo>
                    <a:lnTo>
                      <a:pt x="1" y="24"/>
                    </a:lnTo>
                    <a:lnTo>
                      <a:pt x="3" y="24"/>
                    </a:lnTo>
                    <a:lnTo>
                      <a:pt x="11" y="41"/>
                    </a:lnTo>
                    <a:lnTo>
                      <a:pt x="14" y="56"/>
                    </a:lnTo>
                    <a:lnTo>
                      <a:pt x="18" y="71"/>
                    </a:lnTo>
                    <a:lnTo>
                      <a:pt x="18" y="85"/>
                    </a:lnTo>
                    <a:lnTo>
                      <a:pt x="18" y="84"/>
                    </a:lnTo>
                    <a:lnTo>
                      <a:pt x="25" y="85"/>
                    </a:lnTo>
                    <a:lnTo>
                      <a:pt x="31" y="87"/>
                    </a:lnTo>
                    <a:lnTo>
                      <a:pt x="37" y="87"/>
                    </a:lnTo>
                    <a:lnTo>
                      <a:pt x="42" y="85"/>
                    </a:lnTo>
                    <a:lnTo>
                      <a:pt x="49" y="82"/>
                    </a:lnTo>
                    <a:lnTo>
                      <a:pt x="57" y="78"/>
                    </a:lnTo>
                    <a:lnTo>
                      <a:pt x="70" y="82"/>
                    </a:lnTo>
                    <a:lnTo>
                      <a:pt x="83" y="89"/>
                    </a:lnTo>
                    <a:lnTo>
                      <a:pt x="96" y="85"/>
                    </a:lnTo>
                    <a:lnTo>
                      <a:pt x="109" y="80"/>
                    </a:lnTo>
                    <a:lnTo>
                      <a:pt x="112" y="78"/>
                    </a:lnTo>
                    <a:lnTo>
                      <a:pt x="114" y="71"/>
                    </a:lnTo>
                    <a:lnTo>
                      <a:pt x="118" y="65"/>
                    </a:lnTo>
                    <a:lnTo>
                      <a:pt x="122" y="61"/>
                    </a:lnTo>
                    <a:lnTo>
                      <a:pt x="120" y="56"/>
                    </a:lnTo>
                    <a:lnTo>
                      <a:pt x="114" y="52"/>
                    </a:lnTo>
                    <a:lnTo>
                      <a:pt x="107" y="50"/>
                    </a:lnTo>
                    <a:lnTo>
                      <a:pt x="98" y="50"/>
                    </a:lnTo>
                    <a:lnTo>
                      <a:pt x="92" y="49"/>
                    </a:lnTo>
                    <a:lnTo>
                      <a:pt x="88" y="47"/>
                    </a:lnTo>
                    <a:lnTo>
                      <a:pt x="83" y="45"/>
                    </a:lnTo>
                    <a:lnTo>
                      <a:pt x="77" y="39"/>
                    </a:lnTo>
                    <a:lnTo>
                      <a:pt x="72" y="21"/>
                    </a:lnTo>
                    <a:lnTo>
                      <a:pt x="70" y="2"/>
                    </a:lnTo>
                    <a:lnTo>
                      <a:pt x="55" y="0"/>
                    </a:lnTo>
                    <a:lnTo>
                      <a:pt x="40" y="0"/>
                    </a:lnTo>
                    <a:lnTo>
                      <a:pt x="27" y="2"/>
                    </a:lnTo>
                    <a:lnTo>
                      <a:pt x="16" y="8"/>
                    </a:lnTo>
                    <a:lnTo>
                      <a:pt x="7" y="15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00" name="Freeform 58"/>
              <p:cNvSpPr>
                <a:spLocks/>
              </p:cNvSpPr>
              <p:nvPr/>
            </p:nvSpPr>
            <p:spPr bwMode="auto">
              <a:xfrm>
                <a:off x="3698119" y="4365531"/>
                <a:ext cx="64180" cy="66157"/>
              </a:xfrm>
              <a:custGeom>
                <a:avLst/>
                <a:gdLst>
                  <a:gd name="T0" fmla="*/ 0 w 123"/>
                  <a:gd name="T1" fmla="*/ 35 h 130"/>
                  <a:gd name="T2" fmla="*/ 7 w 123"/>
                  <a:gd name="T3" fmla="*/ 54 h 130"/>
                  <a:gd name="T4" fmla="*/ 11 w 123"/>
                  <a:gd name="T5" fmla="*/ 69 h 130"/>
                  <a:gd name="T6" fmla="*/ 16 w 123"/>
                  <a:gd name="T7" fmla="*/ 83 h 130"/>
                  <a:gd name="T8" fmla="*/ 20 w 123"/>
                  <a:gd name="T9" fmla="*/ 95 h 130"/>
                  <a:gd name="T10" fmla="*/ 35 w 123"/>
                  <a:gd name="T11" fmla="*/ 111 h 130"/>
                  <a:gd name="T12" fmla="*/ 50 w 123"/>
                  <a:gd name="T13" fmla="*/ 130 h 130"/>
                  <a:gd name="T14" fmla="*/ 57 w 123"/>
                  <a:gd name="T15" fmla="*/ 122 h 130"/>
                  <a:gd name="T16" fmla="*/ 66 w 123"/>
                  <a:gd name="T17" fmla="*/ 115 h 130"/>
                  <a:gd name="T18" fmla="*/ 77 w 123"/>
                  <a:gd name="T19" fmla="*/ 109 h 130"/>
                  <a:gd name="T20" fmla="*/ 90 w 123"/>
                  <a:gd name="T21" fmla="*/ 107 h 130"/>
                  <a:gd name="T22" fmla="*/ 96 w 123"/>
                  <a:gd name="T23" fmla="*/ 107 h 130"/>
                  <a:gd name="T24" fmla="*/ 103 w 123"/>
                  <a:gd name="T25" fmla="*/ 107 h 130"/>
                  <a:gd name="T26" fmla="*/ 103 w 123"/>
                  <a:gd name="T27" fmla="*/ 95 h 130"/>
                  <a:gd name="T28" fmla="*/ 105 w 123"/>
                  <a:gd name="T29" fmla="*/ 85 h 130"/>
                  <a:gd name="T30" fmla="*/ 107 w 123"/>
                  <a:gd name="T31" fmla="*/ 82 h 130"/>
                  <a:gd name="T32" fmla="*/ 111 w 123"/>
                  <a:gd name="T33" fmla="*/ 78 h 130"/>
                  <a:gd name="T34" fmla="*/ 116 w 123"/>
                  <a:gd name="T35" fmla="*/ 76 h 130"/>
                  <a:gd name="T36" fmla="*/ 123 w 123"/>
                  <a:gd name="T37" fmla="*/ 72 h 130"/>
                  <a:gd name="T38" fmla="*/ 109 w 123"/>
                  <a:gd name="T39" fmla="*/ 50 h 130"/>
                  <a:gd name="T40" fmla="*/ 92 w 123"/>
                  <a:gd name="T41" fmla="*/ 22 h 130"/>
                  <a:gd name="T42" fmla="*/ 87 w 123"/>
                  <a:gd name="T43" fmla="*/ 28 h 130"/>
                  <a:gd name="T44" fmla="*/ 81 w 123"/>
                  <a:gd name="T45" fmla="*/ 35 h 130"/>
                  <a:gd name="T46" fmla="*/ 74 w 123"/>
                  <a:gd name="T47" fmla="*/ 39 h 130"/>
                  <a:gd name="T48" fmla="*/ 64 w 123"/>
                  <a:gd name="T49" fmla="*/ 43 h 130"/>
                  <a:gd name="T50" fmla="*/ 59 w 123"/>
                  <a:gd name="T51" fmla="*/ 39 h 130"/>
                  <a:gd name="T52" fmla="*/ 55 w 123"/>
                  <a:gd name="T53" fmla="*/ 35 h 130"/>
                  <a:gd name="T54" fmla="*/ 55 w 123"/>
                  <a:gd name="T55" fmla="*/ 30 h 130"/>
                  <a:gd name="T56" fmla="*/ 55 w 123"/>
                  <a:gd name="T57" fmla="*/ 22 h 130"/>
                  <a:gd name="T58" fmla="*/ 55 w 123"/>
                  <a:gd name="T59" fmla="*/ 17 h 130"/>
                  <a:gd name="T60" fmla="*/ 55 w 123"/>
                  <a:gd name="T61" fmla="*/ 11 h 130"/>
                  <a:gd name="T62" fmla="*/ 53 w 123"/>
                  <a:gd name="T63" fmla="*/ 6 h 130"/>
                  <a:gd name="T64" fmla="*/ 50 w 123"/>
                  <a:gd name="T65" fmla="*/ 0 h 130"/>
                  <a:gd name="T66" fmla="*/ 44 w 123"/>
                  <a:gd name="T67" fmla="*/ 0 h 130"/>
                  <a:gd name="T68" fmla="*/ 40 w 123"/>
                  <a:gd name="T69" fmla="*/ 0 h 130"/>
                  <a:gd name="T70" fmla="*/ 39 w 123"/>
                  <a:gd name="T71" fmla="*/ 4 h 130"/>
                  <a:gd name="T72" fmla="*/ 35 w 123"/>
                  <a:gd name="T73" fmla="*/ 6 h 130"/>
                  <a:gd name="T74" fmla="*/ 24 w 123"/>
                  <a:gd name="T75" fmla="*/ 10 h 130"/>
                  <a:gd name="T76" fmla="*/ 15 w 123"/>
                  <a:gd name="T77" fmla="*/ 13 h 130"/>
                  <a:gd name="T78" fmla="*/ 11 w 123"/>
                  <a:gd name="T79" fmla="*/ 15 h 130"/>
                  <a:gd name="T80" fmla="*/ 7 w 123"/>
                  <a:gd name="T81" fmla="*/ 21 h 130"/>
                  <a:gd name="T82" fmla="*/ 3 w 123"/>
                  <a:gd name="T83" fmla="*/ 28 h 130"/>
                  <a:gd name="T84" fmla="*/ 0 w 123"/>
                  <a:gd name="T85" fmla="*/ 35 h 13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23"/>
                  <a:gd name="T130" fmla="*/ 0 h 130"/>
                  <a:gd name="T131" fmla="*/ 123 w 123"/>
                  <a:gd name="T132" fmla="*/ 130 h 13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23" h="130">
                    <a:moveTo>
                      <a:pt x="0" y="35"/>
                    </a:moveTo>
                    <a:lnTo>
                      <a:pt x="7" y="54"/>
                    </a:lnTo>
                    <a:lnTo>
                      <a:pt x="11" y="69"/>
                    </a:lnTo>
                    <a:lnTo>
                      <a:pt x="16" y="83"/>
                    </a:lnTo>
                    <a:lnTo>
                      <a:pt x="20" y="95"/>
                    </a:lnTo>
                    <a:lnTo>
                      <a:pt x="35" y="111"/>
                    </a:lnTo>
                    <a:lnTo>
                      <a:pt x="50" y="130"/>
                    </a:lnTo>
                    <a:lnTo>
                      <a:pt x="57" y="122"/>
                    </a:lnTo>
                    <a:lnTo>
                      <a:pt x="66" y="115"/>
                    </a:lnTo>
                    <a:lnTo>
                      <a:pt x="77" y="109"/>
                    </a:lnTo>
                    <a:lnTo>
                      <a:pt x="90" y="107"/>
                    </a:lnTo>
                    <a:lnTo>
                      <a:pt x="96" y="107"/>
                    </a:lnTo>
                    <a:lnTo>
                      <a:pt x="103" y="107"/>
                    </a:lnTo>
                    <a:lnTo>
                      <a:pt x="103" y="95"/>
                    </a:lnTo>
                    <a:lnTo>
                      <a:pt x="105" y="85"/>
                    </a:lnTo>
                    <a:lnTo>
                      <a:pt x="107" y="82"/>
                    </a:lnTo>
                    <a:lnTo>
                      <a:pt x="111" y="78"/>
                    </a:lnTo>
                    <a:lnTo>
                      <a:pt x="116" y="76"/>
                    </a:lnTo>
                    <a:lnTo>
                      <a:pt x="123" y="72"/>
                    </a:lnTo>
                    <a:lnTo>
                      <a:pt x="109" y="50"/>
                    </a:lnTo>
                    <a:lnTo>
                      <a:pt x="92" y="22"/>
                    </a:lnTo>
                    <a:lnTo>
                      <a:pt x="87" y="28"/>
                    </a:lnTo>
                    <a:lnTo>
                      <a:pt x="81" y="35"/>
                    </a:lnTo>
                    <a:lnTo>
                      <a:pt x="74" y="39"/>
                    </a:lnTo>
                    <a:lnTo>
                      <a:pt x="64" y="43"/>
                    </a:lnTo>
                    <a:lnTo>
                      <a:pt x="59" y="39"/>
                    </a:lnTo>
                    <a:lnTo>
                      <a:pt x="55" y="35"/>
                    </a:lnTo>
                    <a:lnTo>
                      <a:pt x="55" y="30"/>
                    </a:lnTo>
                    <a:lnTo>
                      <a:pt x="55" y="22"/>
                    </a:lnTo>
                    <a:lnTo>
                      <a:pt x="55" y="17"/>
                    </a:lnTo>
                    <a:lnTo>
                      <a:pt x="55" y="11"/>
                    </a:lnTo>
                    <a:lnTo>
                      <a:pt x="53" y="6"/>
                    </a:lnTo>
                    <a:lnTo>
                      <a:pt x="50" y="0"/>
                    </a:lnTo>
                    <a:lnTo>
                      <a:pt x="44" y="0"/>
                    </a:lnTo>
                    <a:lnTo>
                      <a:pt x="40" y="0"/>
                    </a:lnTo>
                    <a:lnTo>
                      <a:pt x="39" y="4"/>
                    </a:lnTo>
                    <a:lnTo>
                      <a:pt x="35" y="6"/>
                    </a:lnTo>
                    <a:lnTo>
                      <a:pt x="24" y="10"/>
                    </a:lnTo>
                    <a:lnTo>
                      <a:pt x="15" y="13"/>
                    </a:lnTo>
                    <a:lnTo>
                      <a:pt x="11" y="15"/>
                    </a:lnTo>
                    <a:lnTo>
                      <a:pt x="7" y="21"/>
                    </a:lnTo>
                    <a:lnTo>
                      <a:pt x="3" y="28"/>
                    </a:lnTo>
                    <a:lnTo>
                      <a:pt x="0" y="35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01" name="Freeform 59"/>
              <p:cNvSpPr>
                <a:spLocks/>
              </p:cNvSpPr>
              <p:nvPr/>
            </p:nvSpPr>
            <p:spPr bwMode="auto">
              <a:xfrm>
                <a:off x="3675682" y="4227619"/>
                <a:ext cx="119490" cy="159795"/>
              </a:xfrm>
              <a:custGeom>
                <a:avLst/>
                <a:gdLst>
                  <a:gd name="T0" fmla="*/ 183 w 229"/>
                  <a:gd name="T1" fmla="*/ 29 h 314"/>
                  <a:gd name="T2" fmla="*/ 174 w 229"/>
                  <a:gd name="T3" fmla="*/ 27 h 314"/>
                  <a:gd name="T4" fmla="*/ 155 w 229"/>
                  <a:gd name="T5" fmla="*/ 14 h 314"/>
                  <a:gd name="T6" fmla="*/ 139 w 229"/>
                  <a:gd name="T7" fmla="*/ 5 h 314"/>
                  <a:gd name="T8" fmla="*/ 130 w 229"/>
                  <a:gd name="T9" fmla="*/ 22 h 314"/>
                  <a:gd name="T10" fmla="*/ 131 w 229"/>
                  <a:gd name="T11" fmla="*/ 29 h 314"/>
                  <a:gd name="T12" fmla="*/ 131 w 229"/>
                  <a:gd name="T13" fmla="*/ 48 h 314"/>
                  <a:gd name="T14" fmla="*/ 124 w 229"/>
                  <a:gd name="T15" fmla="*/ 57 h 314"/>
                  <a:gd name="T16" fmla="*/ 111 w 229"/>
                  <a:gd name="T17" fmla="*/ 50 h 314"/>
                  <a:gd name="T18" fmla="*/ 106 w 229"/>
                  <a:gd name="T19" fmla="*/ 46 h 314"/>
                  <a:gd name="T20" fmla="*/ 94 w 229"/>
                  <a:gd name="T21" fmla="*/ 44 h 314"/>
                  <a:gd name="T22" fmla="*/ 80 w 229"/>
                  <a:gd name="T23" fmla="*/ 48 h 314"/>
                  <a:gd name="T24" fmla="*/ 67 w 229"/>
                  <a:gd name="T25" fmla="*/ 57 h 314"/>
                  <a:gd name="T26" fmla="*/ 48 w 229"/>
                  <a:gd name="T27" fmla="*/ 57 h 314"/>
                  <a:gd name="T28" fmla="*/ 35 w 229"/>
                  <a:gd name="T29" fmla="*/ 48 h 314"/>
                  <a:gd name="T30" fmla="*/ 22 w 229"/>
                  <a:gd name="T31" fmla="*/ 42 h 314"/>
                  <a:gd name="T32" fmla="*/ 24 w 229"/>
                  <a:gd name="T33" fmla="*/ 29 h 314"/>
                  <a:gd name="T34" fmla="*/ 24 w 229"/>
                  <a:gd name="T35" fmla="*/ 18 h 314"/>
                  <a:gd name="T36" fmla="*/ 15 w 229"/>
                  <a:gd name="T37" fmla="*/ 14 h 314"/>
                  <a:gd name="T38" fmla="*/ 4 w 229"/>
                  <a:gd name="T39" fmla="*/ 18 h 314"/>
                  <a:gd name="T40" fmla="*/ 0 w 229"/>
                  <a:gd name="T41" fmla="*/ 33 h 314"/>
                  <a:gd name="T42" fmla="*/ 0 w 229"/>
                  <a:gd name="T43" fmla="*/ 74 h 314"/>
                  <a:gd name="T44" fmla="*/ 2 w 229"/>
                  <a:gd name="T45" fmla="*/ 127 h 314"/>
                  <a:gd name="T46" fmla="*/ 8 w 229"/>
                  <a:gd name="T47" fmla="*/ 186 h 314"/>
                  <a:gd name="T48" fmla="*/ 8 w 229"/>
                  <a:gd name="T49" fmla="*/ 229 h 314"/>
                  <a:gd name="T50" fmla="*/ 4 w 229"/>
                  <a:gd name="T51" fmla="*/ 255 h 314"/>
                  <a:gd name="T52" fmla="*/ 11 w 229"/>
                  <a:gd name="T53" fmla="*/ 268 h 314"/>
                  <a:gd name="T54" fmla="*/ 22 w 229"/>
                  <a:gd name="T55" fmla="*/ 271 h 314"/>
                  <a:gd name="T56" fmla="*/ 35 w 229"/>
                  <a:gd name="T57" fmla="*/ 290 h 314"/>
                  <a:gd name="T58" fmla="*/ 46 w 229"/>
                  <a:gd name="T59" fmla="*/ 299 h 314"/>
                  <a:gd name="T60" fmla="*/ 54 w 229"/>
                  <a:gd name="T61" fmla="*/ 286 h 314"/>
                  <a:gd name="T62" fmla="*/ 67 w 229"/>
                  <a:gd name="T63" fmla="*/ 281 h 314"/>
                  <a:gd name="T64" fmla="*/ 82 w 229"/>
                  <a:gd name="T65" fmla="*/ 275 h 314"/>
                  <a:gd name="T66" fmla="*/ 87 w 229"/>
                  <a:gd name="T67" fmla="*/ 271 h 314"/>
                  <a:gd name="T68" fmla="*/ 96 w 229"/>
                  <a:gd name="T69" fmla="*/ 277 h 314"/>
                  <a:gd name="T70" fmla="*/ 98 w 229"/>
                  <a:gd name="T71" fmla="*/ 288 h 314"/>
                  <a:gd name="T72" fmla="*/ 98 w 229"/>
                  <a:gd name="T73" fmla="*/ 301 h 314"/>
                  <a:gd name="T74" fmla="*/ 102 w 229"/>
                  <a:gd name="T75" fmla="*/ 310 h 314"/>
                  <a:gd name="T76" fmla="*/ 117 w 229"/>
                  <a:gd name="T77" fmla="*/ 310 h 314"/>
                  <a:gd name="T78" fmla="*/ 130 w 229"/>
                  <a:gd name="T79" fmla="*/ 299 h 314"/>
                  <a:gd name="T80" fmla="*/ 141 w 229"/>
                  <a:gd name="T81" fmla="*/ 281 h 314"/>
                  <a:gd name="T82" fmla="*/ 154 w 229"/>
                  <a:gd name="T83" fmla="*/ 269 h 314"/>
                  <a:gd name="T84" fmla="*/ 165 w 229"/>
                  <a:gd name="T85" fmla="*/ 262 h 314"/>
                  <a:gd name="T86" fmla="*/ 174 w 229"/>
                  <a:gd name="T87" fmla="*/ 242 h 314"/>
                  <a:gd name="T88" fmla="*/ 179 w 229"/>
                  <a:gd name="T89" fmla="*/ 218 h 314"/>
                  <a:gd name="T90" fmla="*/ 178 w 229"/>
                  <a:gd name="T91" fmla="*/ 201 h 314"/>
                  <a:gd name="T92" fmla="*/ 181 w 229"/>
                  <a:gd name="T93" fmla="*/ 192 h 314"/>
                  <a:gd name="T94" fmla="*/ 198 w 229"/>
                  <a:gd name="T95" fmla="*/ 196 h 314"/>
                  <a:gd name="T96" fmla="*/ 211 w 229"/>
                  <a:gd name="T97" fmla="*/ 201 h 314"/>
                  <a:gd name="T98" fmla="*/ 211 w 229"/>
                  <a:gd name="T99" fmla="*/ 196 h 314"/>
                  <a:gd name="T100" fmla="*/ 215 w 229"/>
                  <a:gd name="T101" fmla="*/ 192 h 314"/>
                  <a:gd name="T102" fmla="*/ 222 w 229"/>
                  <a:gd name="T103" fmla="*/ 186 h 314"/>
                  <a:gd name="T104" fmla="*/ 229 w 229"/>
                  <a:gd name="T105" fmla="*/ 172 h 314"/>
                  <a:gd name="T106" fmla="*/ 218 w 229"/>
                  <a:gd name="T107" fmla="*/ 157 h 314"/>
                  <a:gd name="T108" fmla="*/ 209 w 229"/>
                  <a:gd name="T109" fmla="*/ 131 h 314"/>
                  <a:gd name="T110" fmla="*/ 224 w 229"/>
                  <a:gd name="T111" fmla="*/ 112 h 314"/>
                  <a:gd name="T112" fmla="*/ 227 w 229"/>
                  <a:gd name="T113" fmla="*/ 98 h 314"/>
                  <a:gd name="T114" fmla="*/ 222 w 229"/>
                  <a:gd name="T115" fmla="*/ 87 h 314"/>
                  <a:gd name="T116" fmla="*/ 200 w 229"/>
                  <a:gd name="T117" fmla="*/ 74 h 314"/>
                  <a:gd name="T118" fmla="*/ 189 w 229"/>
                  <a:gd name="T119" fmla="*/ 61 h 314"/>
                  <a:gd name="T120" fmla="*/ 192 w 229"/>
                  <a:gd name="T121" fmla="*/ 46 h 31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29"/>
                  <a:gd name="T184" fmla="*/ 0 h 314"/>
                  <a:gd name="T185" fmla="*/ 229 w 229"/>
                  <a:gd name="T186" fmla="*/ 314 h 31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29" h="314">
                    <a:moveTo>
                      <a:pt x="187" y="33"/>
                    </a:moveTo>
                    <a:lnTo>
                      <a:pt x="183" y="29"/>
                    </a:lnTo>
                    <a:lnTo>
                      <a:pt x="178" y="24"/>
                    </a:lnTo>
                    <a:lnTo>
                      <a:pt x="174" y="27"/>
                    </a:lnTo>
                    <a:lnTo>
                      <a:pt x="166" y="29"/>
                    </a:lnTo>
                    <a:lnTo>
                      <a:pt x="155" y="14"/>
                    </a:lnTo>
                    <a:lnTo>
                      <a:pt x="142" y="0"/>
                    </a:lnTo>
                    <a:lnTo>
                      <a:pt x="139" y="5"/>
                    </a:lnTo>
                    <a:lnTo>
                      <a:pt x="133" y="16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1" y="29"/>
                    </a:lnTo>
                    <a:lnTo>
                      <a:pt x="135" y="31"/>
                    </a:lnTo>
                    <a:lnTo>
                      <a:pt x="131" y="48"/>
                    </a:lnTo>
                    <a:lnTo>
                      <a:pt x="130" y="66"/>
                    </a:lnTo>
                    <a:lnTo>
                      <a:pt x="124" y="57"/>
                    </a:lnTo>
                    <a:lnTo>
                      <a:pt x="118" y="48"/>
                    </a:lnTo>
                    <a:lnTo>
                      <a:pt x="111" y="50"/>
                    </a:lnTo>
                    <a:lnTo>
                      <a:pt x="109" y="53"/>
                    </a:lnTo>
                    <a:lnTo>
                      <a:pt x="106" y="46"/>
                    </a:lnTo>
                    <a:lnTo>
                      <a:pt x="102" y="40"/>
                    </a:lnTo>
                    <a:lnTo>
                      <a:pt x="94" y="44"/>
                    </a:lnTo>
                    <a:lnTo>
                      <a:pt x="87" y="50"/>
                    </a:lnTo>
                    <a:lnTo>
                      <a:pt x="80" y="48"/>
                    </a:lnTo>
                    <a:lnTo>
                      <a:pt x="74" y="48"/>
                    </a:lnTo>
                    <a:lnTo>
                      <a:pt x="67" y="57"/>
                    </a:lnTo>
                    <a:lnTo>
                      <a:pt x="54" y="66"/>
                    </a:lnTo>
                    <a:lnTo>
                      <a:pt x="48" y="57"/>
                    </a:lnTo>
                    <a:lnTo>
                      <a:pt x="43" y="51"/>
                    </a:lnTo>
                    <a:lnTo>
                      <a:pt x="35" y="48"/>
                    </a:lnTo>
                    <a:lnTo>
                      <a:pt x="28" y="46"/>
                    </a:lnTo>
                    <a:lnTo>
                      <a:pt x="22" y="42"/>
                    </a:lnTo>
                    <a:lnTo>
                      <a:pt x="21" y="38"/>
                    </a:lnTo>
                    <a:lnTo>
                      <a:pt x="24" y="29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22" y="16"/>
                    </a:lnTo>
                    <a:lnTo>
                      <a:pt x="15" y="14"/>
                    </a:lnTo>
                    <a:lnTo>
                      <a:pt x="8" y="14"/>
                    </a:lnTo>
                    <a:lnTo>
                      <a:pt x="4" y="18"/>
                    </a:lnTo>
                    <a:lnTo>
                      <a:pt x="2" y="22"/>
                    </a:lnTo>
                    <a:lnTo>
                      <a:pt x="0" y="33"/>
                    </a:lnTo>
                    <a:lnTo>
                      <a:pt x="2" y="48"/>
                    </a:lnTo>
                    <a:lnTo>
                      <a:pt x="0" y="74"/>
                    </a:lnTo>
                    <a:lnTo>
                      <a:pt x="0" y="98"/>
                    </a:lnTo>
                    <a:lnTo>
                      <a:pt x="2" y="127"/>
                    </a:lnTo>
                    <a:lnTo>
                      <a:pt x="4" y="157"/>
                    </a:lnTo>
                    <a:lnTo>
                      <a:pt x="8" y="186"/>
                    </a:lnTo>
                    <a:lnTo>
                      <a:pt x="11" y="216"/>
                    </a:lnTo>
                    <a:lnTo>
                      <a:pt x="8" y="229"/>
                    </a:lnTo>
                    <a:lnTo>
                      <a:pt x="6" y="244"/>
                    </a:lnTo>
                    <a:lnTo>
                      <a:pt x="4" y="255"/>
                    </a:lnTo>
                    <a:lnTo>
                      <a:pt x="4" y="268"/>
                    </a:lnTo>
                    <a:lnTo>
                      <a:pt x="11" y="268"/>
                    </a:lnTo>
                    <a:lnTo>
                      <a:pt x="17" y="268"/>
                    </a:lnTo>
                    <a:lnTo>
                      <a:pt x="22" y="271"/>
                    </a:lnTo>
                    <a:lnTo>
                      <a:pt x="28" y="277"/>
                    </a:lnTo>
                    <a:lnTo>
                      <a:pt x="35" y="290"/>
                    </a:lnTo>
                    <a:lnTo>
                      <a:pt x="43" y="306"/>
                    </a:lnTo>
                    <a:lnTo>
                      <a:pt x="46" y="299"/>
                    </a:lnTo>
                    <a:lnTo>
                      <a:pt x="50" y="292"/>
                    </a:lnTo>
                    <a:lnTo>
                      <a:pt x="54" y="286"/>
                    </a:lnTo>
                    <a:lnTo>
                      <a:pt x="58" y="284"/>
                    </a:lnTo>
                    <a:lnTo>
                      <a:pt x="67" y="281"/>
                    </a:lnTo>
                    <a:lnTo>
                      <a:pt x="78" y="277"/>
                    </a:lnTo>
                    <a:lnTo>
                      <a:pt x="82" y="275"/>
                    </a:lnTo>
                    <a:lnTo>
                      <a:pt x="83" y="271"/>
                    </a:lnTo>
                    <a:lnTo>
                      <a:pt x="87" y="271"/>
                    </a:lnTo>
                    <a:lnTo>
                      <a:pt x="93" y="271"/>
                    </a:lnTo>
                    <a:lnTo>
                      <a:pt x="96" y="277"/>
                    </a:lnTo>
                    <a:lnTo>
                      <a:pt x="98" y="282"/>
                    </a:lnTo>
                    <a:lnTo>
                      <a:pt x="98" y="288"/>
                    </a:lnTo>
                    <a:lnTo>
                      <a:pt x="98" y="293"/>
                    </a:lnTo>
                    <a:lnTo>
                      <a:pt x="98" y="301"/>
                    </a:lnTo>
                    <a:lnTo>
                      <a:pt x="98" y="306"/>
                    </a:lnTo>
                    <a:lnTo>
                      <a:pt x="102" y="310"/>
                    </a:lnTo>
                    <a:lnTo>
                      <a:pt x="107" y="314"/>
                    </a:lnTo>
                    <a:lnTo>
                      <a:pt x="117" y="310"/>
                    </a:lnTo>
                    <a:lnTo>
                      <a:pt x="124" y="306"/>
                    </a:lnTo>
                    <a:lnTo>
                      <a:pt x="130" y="299"/>
                    </a:lnTo>
                    <a:lnTo>
                      <a:pt x="135" y="293"/>
                    </a:lnTo>
                    <a:lnTo>
                      <a:pt x="141" y="281"/>
                    </a:lnTo>
                    <a:lnTo>
                      <a:pt x="148" y="269"/>
                    </a:lnTo>
                    <a:lnTo>
                      <a:pt x="154" y="269"/>
                    </a:lnTo>
                    <a:lnTo>
                      <a:pt x="161" y="269"/>
                    </a:lnTo>
                    <a:lnTo>
                      <a:pt x="165" y="262"/>
                    </a:lnTo>
                    <a:lnTo>
                      <a:pt x="166" y="253"/>
                    </a:lnTo>
                    <a:lnTo>
                      <a:pt x="174" y="242"/>
                    </a:lnTo>
                    <a:lnTo>
                      <a:pt x="181" y="231"/>
                    </a:lnTo>
                    <a:lnTo>
                      <a:pt x="179" y="218"/>
                    </a:lnTo>
                    <a:lnTo>
                      <a:pt x="178" y="207"/>
                    </a:lnTo>
                    <a:lnTo>
                      <a:pt x="178" y="201"/>
                    </a:lnTo>
                    <a:lnTo>
                      <a:pt x="179" y="197"/>
                    </a:lnTo>
                    <a:lnTo>
                      <a:pt x="181" y="192"/>
                    </a:lnTo>
                    <a:lnTo>
                      <a:pt x="187" y="188"/>
                    </a:lnTo>
                    <a:lnTo>
                      <a:pt x="198" y="196"/>
                    </a:lnTo>
                    <a:lnTo>
                      <a:pt x="209" y="203"/>
                    </a:lnTo>
                    <a:lnTo>
                      <a:pt x="211" y="201"/>
                    </a:lnTo>
                    <a:lnTo>
                      <a:pt x="211" y="197"/>
                    </a:lnTo>
                    <a:lnTo>
                      <a:pt x="211" y="196"/>
                    </a:lnTo>
                    <a:lnTo>
                      <a:pt x="213" y="194"/>
                    </a:lnTo>
                    <a:lnTo>
                      <a:pt x="215" y="192"/>
                    </a:lnTo>
                    <a:lnTo>
                      <a:pt x="218" y="192"/>
                    </a:lnTo>
                    <a:lnTo>
                      <a:pt x="222" y="186"/>
                    </a:lnTo>
                    <a:lnTo>
                      <a:pt x="226" y="179"/>
                    </a:lnTo>
                    <a:lnTo>
                      <a:pt x="229" y="172"/>
                    </a:lnTo>
                    <a:lnTo>
                      <a:pt x="229" y="166"/>
                    </a:lnTo>
                    <a:lnTo>
                      <a:pt x="218" y="157"/>
                    </a:lnTo>
                    <a:lnTo>
                      <a:pt x="207" y="144"/>
                    </a:lnTo>
                    <a:lnTo>
                      <a:pt x="209" y="131"/>
                    </a:lnTo>
                    <a:lnTo>
                      <a:pt x="215" y="120"/>
                    </a:lnTo>
                    <a:lnTo>
                      <a:pt x="224" y="112"/>
                    </a:lnTo>
                    <a:lnTo>
                      <a:pt x="227" y="103"/>
                    </a:lnTo>
                    <a:lnTo>
                      <a:pt x="227" y="98"/>
                    </a:lnTo>
                    <a:lnTo>
                      <a:pt x="226" y="92"/>
                    </a:lnTo>
                    <a:lnTo>
                      <a:pt x="222" y="87"/>
                    </a:lnTo>
                    <a:lnTo>
                      <a:pt x="218" y="83"/>
                    </a:lnTo>
                    <a:lnTo>
                      <a:pt x="200" y="74"/>
                    </a:lnTo>
                    <a:lnTo>
                      <a:pt x="181" y="68"/>
                    </a:lnTo>
                    <a:lnTo>
                      <a:pt x="189" y="61"/>
                    </a:lnTo>
                    <a:lnTo>
                      <a:pt x="194" y="55"/>
                    </a:lnTo>
                    <a:lnTo>
                      <a:pt x="192" y="46"/>
                    </a:lnTo>
                    <a:lnTo>
                      <a:pt x="187" y="33"/>
                    </a:lnTo>
                    <a:close/>
                  </a:path>
                </a:pathLst>
              </a:custGeom>
              <a:solidFill>
                <a:srgbClr val="C00000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02" name="Freeform 60"/>
              <p:cNvSpPr>
                <a:spLocks/>
              </p:cNvSpPr>
              <p:nvPr/>
            </p:nvSpPr>
            <p:spPr bwMode="auto">
              <a:xfrm>
                <a:off x="3873441" y="4192505"/>
                <a:ext cx="183149" cy="174045"/>
              </a:xfrm>
              <a:custGeom>
                <a:avLst/>
                <a:gdLst>
                  <a:gd name="T0" fmla="*/ 262 w 351"/>
                  <a:gd name="T1" fmla="*/ 318 h 342"/>
                  <a:gd name="T2" fmla="*/ 264 w 351"/>
                  <a:gd name="T3" fmla="*/ 290 h 342"/>
                  <a:gd name="T4" fmla="*/ 283 w 351"/>
                  <a:gd name="T5" fmla="*/ 283 h 342"/>
                  <a:gd name="T6" fmla="*/ 325 w 351"/>
                  <a:gd name="T7" fmla="*/ 279 h 342"/>
                  <a:gd name="T8" fmla="*/ 351 w 351"/>
                  <a:gd name="T9" fmla="*/ 274 h 342"/>
                  <a:gd name="T10" fmla="*/ 332 w 351"/>
                  <a:gd name="T11" fmla="*/ 226 h 342"/>
                  <a:gd name="T12" fmla="*/ 312 w 351"/>
                  <a:gd name="T13" fmla="*/ 220 h 342"/>
                  <a:gd name="T14" fmla="*/ 305 w 351"/>
                  <a:gd name="T15" fmla="*/ 205 h 342"/>
                  <a:gd name="T16" fmla="*/ 294 w 351"/>
                  <a:gd name="T17" fmla="*/ 196 h 342"/>
                  <a:gd name="T18" fmla="*/ 283 w 351"/>
                  <a:gd name="T19" fmla="*/ 183 h 342"/>
                  <a:gd name="T20" fmla="*/ 284 w 351"/>
                  <a:gd name="T21" fmla="*/ 170 h 342"/>
                  <a:gd name="T22" fmla="*/ 312 w 351"/>
                  <a:gd name="T23" fmla="*/ 130 h 342"/>
                  <a:gd name="T24" fmla="*/ 301 w 351"/>
                  <a:gd name="T25" fmla="*/ 107 h 342"/>
                  <a:gd name="T26" fmla="*/ 288 w 351"/>
                  <a:gd name="T27" fmla="*/ 95 h 342"/>
                  <a:gd name="T28" fmla="*/ 273 w 351"/>
                  <a:gd name="T29" fmla="*/ 95 h 342"/>
                  <a:gd name="T30" fmla="*/ 257 w 351"/>
                  <a:gd name="T31" fmla="*/ 80 h 342"/>
                  <a:gd name="T32" fmla="*/ 247 w 351"/>
                  <a:gd name="T33" fmla="*/ 65 h 342"/>
                  <a:gd name="T34" fmla="*/ 240 w 351"/>
                  <a:gd name="T35" fmla="*/ 48 h 342"/>
                  <a:gd name="T36" fmla="*/ 212 w 351"/>
                  <a:gd name="T37" fmla="*/ 35 h 342"/>
                  <a:gd name="T38" fmla="*/ 187 w 351"/>
                  <a:gd name="T39" fmla="*/ 13 h 342"/>
                  <a:gd name="T40" fmla="*/ 170 w 351"/>
                  <a:gd name="T41" fmla="*/ 2 h 342"/>
                  <a:gd name="T42" fmla="*/ 151 w 351"/>
                  <a:gd name="T43" fmla="*/ 13 h 342"/>
                  <a:gd name="T44" fmla="*/ 114 w 351"/>
                  <a:gd name="T45" fmla="*/ 35 h 342"/>
                  <a:gd name="T46" fmla="*/ 122 w 351"/>
                  <a:gd name="T47" fmla="*/ 61 h 342"/>
                  <a:gd name="T48" fmla="*/ 118 w 351"/>
                  <a:gd name="T49" fmla="*/ 85 h 342"/>
                  <a:gd name="T50" fmla="*/ 103 w 351"/>
                  <a:gd name="T51" fmla="*/ 106 h 342"/>
                  <a:gd name="T52" fmla="*/ 79 w 351"/>
                  <a:gd name="T53" fmla="*/ 152 h 342"/>
                  <a:gd name="T54" fmla="*/ 65 w 351"/>
                  <a:gd name="T55" fmla="*/ 172 h 342"/>
                  <a:gd name="T56" fmla="*/ 42 w 351"/>
                  <a:gd name="T57" fmla="*/ 170 h 342"/>
                  <a:gd name="T58" fmla="*/ 20 w 351"/>
                  <a:gd name="T59" fmla="*/ 172 h 342"/>
                  <a:gd name="T60" fmla="*/ 17 w 351"/>
                  <a:gd name="T61" fmla="*/ 185 h 342"/>
                  <a:gd name="T62" fmla="*/ 9 w 351"/>
                  <a:gd name="T63" fmla="*/ 204 h 342"/>
                  <a:gd name="T64" fmla="*/ 0 w 351"/>
                  <a:gd name="T65" fmla="*/ 250 h 342"/>
                  <a:gd name="T66" fmla="*/ 18 w 351"/>
                  <a:gd name="T67" fmla="*/ 276 h 342"/>
                  <a:gd name="T68" fmla="*/ 26 w 351"/>
                  <a:gd name="T69" fmla="*/ 292 h 342"/>
                  <a:gd name="T70" fmla="*/ 41 w 351"/>
                  <a:gd name="T71" fmla="*/ 277 h 342"/>
                  <a:gd name="T72" fmla="*/ 79 w 351"/>
                  <a:gd name="T73" fmla="*/ 290 h 342"/>
                  <a:gd name="T74" fmla="*/ 87 w 351"/>
                  <a:gd name="T75" fmla="*/ 289 h 342"/>
                  <a:gd name="T76" fmla="*/ 92 w 351"/>
                  <a:gd name="T77" fmla="*/ 277 h 342"/>
                  <a:gd name="T78" fmla="*/ 114 w 351"/>
                  <a:gd name="T79" fmla="*/ 300 h 342"/>
                  <a:gd name="T80" fmla="*/ 127 w 351"/>
                  <a:gd name="T81" fmla="*/ 292 h 342"/>
                  <a:gd name="T82" fmla="*/ 127 w 351"/>
                  <a:gd name="T83" fmla="*/ 292 h 342"/>
                  <a:gd name="T84" fmla="*/ 138 w 351"/>
                  <a:gd name="T85" fmla="*/ 285 h 342"/>
                  <a:gd name="T86" fmla="*/ 153 w 351"/>
                  <a:gd name="T87" fmla="*/ 290 h 342"/>
                  <a:gd name="T88" fmla="*/ 164 w 351"/>
                  <a:gd name="T89" fmla="*/ 294 h 342"/>
                  <a:gd name="T90" fmla="*/ 188 w 351"/>
                  <a:gd name="T91" fmla="*/ 307 h 342"/>
                  <a:gd name="T92" fmla="*/ 201 w 351"/>
                  <a:gd name="T93" fmla="*/ 309 h 342"/>
                  <a:gd name="T94" fmla="*/ 209 w 351"/>
                  <a:gd name="T95" fmla="*/ 326 h 342"/>
                  <a:gd name="T96" fmla="*/ 225 w 351"/>
                  <a:gd name="T97" fmla="*/ 340 h 34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351"/>
                  <a:gd name="T148" fmla="*/ 0 h 342"/>
                  <a:gd name="T149" fmla="*/ 351 w 351"/>
                  <a:gd name="T150" fmla="*/ 342 h 34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351" h="342">
                    <a:moveTo>
                      <a:pt x="249" y="333"/>
                    </a:moveTo>
                    <a:lnTo>
                      <a:pt x="257" y="326"/>
                    </a:lnTo>
                    <a:lnTo>
                      <a:pt x="262" y="318"/>
                    </a:lnTo>
                    <a:lnTo>
                      <a:pt x="264" y="309"/>
                    </a:lnTo>
                    <a:lnTo>
                      <a:pt x="264" y="298"/>
                    </a:lnTo>
                    <a:lnTo>
                      <a:pt x="264" y="290"/>
                    </a:lnTo>
                    <a:lnTo>
                      <a:pt x="268" y="287"/>
                    </a:lnTo>
                    <a:lnTo>
                      <a:pt x="273" y="285"/>
                    </a:lnTo>
                    <a:lnTo>
                      <a:pt x="283" y="283"/>
                    </a:lnTo>
                    <a:lnTo>
                      <a:pt x="301" y="283"/>
                    </a:lnTo>
                    <a:lnTo>
                      <a:pt x="320" y="285"/>
                    </a:lnTo>
                    <a:lnTo>
                      <a:pt x="325" y="279"/>
                    </a:lnTo>
                    <a:lnTo>
                      <a:pt x="332" y="276"/>
                    </a:lnTo>
                    <a:lnTo>
                      <a:pt x="340" y="274"/>
                    </a:lnTo>
                    <a:lnTo>
                      <a:pt x="351" y="274"/>
                    </a:lnTo>
                    <a:lnTo>
                      <a:pt x="342" y="257"/>
                    </a:lnTo>
                    <a:lnTo>
                      <a:pt x="334" y="241"/>
                    </a:lnTo>
                    <a:lnTo>
                      <a:pt x="332" y="226"/>
                    </a:lnTo>
                    <a:lnTo>
                      <a:pt x="332" y="218"/>
                    </a:lnTo>
                    <a:lnTo>
                      <a:pt x="321" y="218"/>
                    </a:lnTo>
                    <a:lnTo>
                      <a:pt x="312" y="220"/>
                    </a:lnTo>
                    <a:lnTo>
                      <a:pt x="308" y="215"/>
                    </a:lnTo>
                    <a:lnTo>
                      <a:pt x="307" y="209"/>
                    </a:lnTo>
                    <a:lnTo>
                      <a:pt x="305" y="205"/>
                    </a:lnTo>
                    <a:lnTo>
                      <a:pt x="303" y="202"/>
                    </a:lnTo>
                    <a:lnTo>
                      <a:pt x="299" y="200"/>
                    </a:lnTo>
                    <a:lnTo>
                      <a:pt x="294" y="196"/>
                    </a:lnTo>
                    <a:lnTo>
                      <a:pt x="290" y="192"/>
                    </a:lnTo>
                    <a:lnTo>
                      <a:pt x="284" y="187"/>
                    </a:lnTo>
                    <a:lnTo>
                      <a:pt x="283" y="183"/>
                    </a:lnTo>
                    <a:lnTo>
                      <a:pt x="283" y="180"/>
                    </a:lnTo>
                    <a:lnTo>
                      <a:pt x="283" y="176"/>
                    </a:lnTo>
                    <a:lnTo>
                      <a:pt x="284" y="170"/>
                    </a:lnTo>
                    <a:lnTo>
                      <a:pt x="297" y="154"/>
                    </a:lnTo>
                    <a:lnTo>
                      <a:pt x="312" y="137"/>
                    </a:lnTo>
                    <a:lnTo>
                      <a:pt x="312" y="130"/>
                    </a:lnTo>
                    <a:lnTo>
                      <a:pt x="310" y="122"/>
                    </a:lnTo>
                    <a:lnTo>
                      <a:pt x="307" y="115"/>
                    </a:lnTo>
                    <a:lnTo>
                      <a:pt x="301" y="107"/>
                    </a:lnTo>
                    <a:lnTo>
                      <a:pt x="295" y="100"/>
                    </a:lnTo>
                    <a:lnTo>
                      <a:pt x="292" y="96"/>
                    </a:lnTo>
                    <a:lnTo>
                      <a:pt x="288" y="95"/>
                    </a:lnTo>
                    <a:lnTo>
                      <a:pt x="284" y="95"/>
                    </a:lnTo>
                    <a:lnTo>
                      <a:pt x="279" y="95"/>
                    </a:lnTo>
                    <a:lnTo>
                      <a:pt x="273" y="95"/>
                    </a:lnTo>
                    <a:lnTo>
                      <a:pt x="270" y="85"/>
                    </a:lnTo>
                    <a:lnTo>
                      <a:pt x="266" y="78"/>
                    </a:lnTo>
                    <a:lnTo>
                      <a:pt x="257" y="80"/>
                    </a:lnTo>
                    <a:lnTo>
                      <a:pt x="249" y="80"/>
                    </a:lnTo>
                    <a:lnTo>
                      <a:pt x="247" y="74"/>
                    </a:lnTo>
                    <a:lnTo>
                      <a:pt x="247" y="65"/>
                    </a:lnTo>
                    <a:lnTo>
                      <a:pt x="247" y="61"/>
                    </a:lnTo>
                    <a:lnTo>
                      <a:pt x="246" y="56"/>
                    </a:lnTo>
                    <a:lnTo>
                      <a:pt x="240" y="48"/>
                    </a:lnTo>
                    <a:lnTo>
                      <a:pt x="233" y="43"/>
                    </a:lnTo>
                    <a:lnTo>
                      <a:pt x="223" y="39"/>
                    </a:lnTo>
                    <a:lnTo>
                      <a:pt x="212" y="35"/>
                    </a:lnTo>
                    <a:lnTo>
                      <a:pt x="201" y="30"/>
                    </a:lnTo>
                    <a:lnTo>
                      <a:pt x="194" y="22"/>
                    </a:lnTo>
                    <a:lnTo>
                      <a:pt x="187" y="13"/>
                    </a:lnTo>
                    <a:lnTo>
                      <a:pt x="179" y="6"/>
                    </a:lnTo>
                    <a:lnTo>
                      <a:pt x="174" y="4"/>
                    </a:lnTo>
                    <a:lnTo>
                      <a:pt x="170" y="2"/>
                    </a:lnTo>
                    <a:lnTo>
                      <a:pt x="166" y="0"/>
                    </a:lnTo>
                    <a:lnTo>
                      <a:pt x="161" y="0"/>
                    </a:lnTo>
                    <a:lnTo>
                      <a:pt x="151" y="13"/>
                    </a:lnTo>
                    <a:lnTo>
                      <a:pt x="144" y="28"/>
                    </a:lnTo>
                    <a:lnTo>
                      <a:pt x="131" y="34"/>
                    </a:lnTo>
                    <a:lnTo>
                      <a:pt x="114" y="35"/>
                    </a:lnTo>
                    <a:lnTo>
                      <a:pt x="118" y="45"/>
                    </a:lnTo>
                    <a:lnTo>
                      <a:pt x="120" y="52"/>
                    </a:lnTo>
                    <a:lnTo>
                      <a:pt x="122" y="61"/>
                    </a:lnTo>
                    <a:lnTo>
                      <a:pt x="122" y="69"/>
                    </a:lnTo>
                    <a:lnTo>
                      <a:pt x="120" y="76"/>
                    </a:lnTo>
                    <a:lnTo>
                      <a:pt x="118" y="85"/>
                    </a:lnTo>
                    <a:lnTo>
                      <a:pt x="116" y="91"/>
                    </a:lnTo>
                    <a:lnTo>
                      <a:pt x="113" y="98"/>
                    </a:lnTo>
                    <a:lnTo>
                      <a:pt x="103" y="106"/>
                    </a:lnTo>
                    <a:lnTo>
                      <a:pt x="92" y="111"/>
                    </a:lnTo>
                    <a:lnTo>
                      <a:pt x="87" y="130"/>
                    </a:lnTo>
                    <a:lnTo>
                      <a:pt x="79" y="152"/>
                    </a:lnTo>
                    <a:lnTo>
                      <a:pt x="76" y="161"/>
                    </a:lnTo>
                    <a:lnTo>
                      <a:pt x="70" y="168"/>
                    </a:lnTo>
                    <a:lnTo>
                      <a:pt x="65" y="172"/>
                    </a:lnTo>
                    <a:lnTo>
                      <a:pt x="59" y="174"/>
                    </a:lnTo>
                    <a:lnTo>
                      <a:pt x="50" y="172"/>
                    </a:lnTo>
                    <a:lnTo>
                      <a:pt x="42" y="170"/>
                    </a:lnTo>
                    <a:lnTo>
                      <a:pt x="33" y="168"/>
                    </a:lnTo>
                    <a:lnTo>
                      <a:pt x="26" y="170"/>
                    </a:lnTo>
                    <a:lnTo>
                      <a:pt x="20" y="172"/>
                    </a:lnTo>
                    <a:lnTo>
                      <a:pt x="18" y="176"/>
                    </a:lnTo>
                    <a:lnTo>
                      <a:pt x="18" y="180"/>
                    </a:lnTo>
                    <a:lnTo>
                      <a:pt x="17" y="185"/>
                    </a:lnTo>
                    <a:lnTo>
                      <a:pt x="7" y="191"/>
                    </a:lnTo>
                    <a:lnTo>
                      <a:pt x="2" y="194"/>
                    </a:lnTo>
                    <a:lnTo>
                      <a:pt x="9" y="204"/>
                    </a:lnTo>
                    <a:lnTo>
                      <a:pt x="17" y="220"/>
                    </a:lnTo>
                    <a:lnTo>
                      <a:pt x="9" y="233"/>
                    </a:lnTo>
                    <a:lnTo>
                      <a:pt x="0" y="250"/>
                    </a:lnTo>
                    <a:lnTo>
                      <a:pt x="5" y="257"/>
                    </a:lnTo>
                    <a:lnTo>
                      <a:pt x="15" y="268"/>
                    </a:lnTo>
                    <a:lnTo>
                      <a:pt x="18" y="276"/>
                    </a:lnTo>
                    <a:lnTo>
                      <a:pt x="22" y="281"/>
                    </a:lnTo>
                    <a:lnTo>
                      <a:pt x="26" y="287"/>
                    </a:lnTo>
                    <a:lnTo>
                      <a:pt x="26" y="292"/>
                    </a:lnTo>
                    <a:lnTo>
                      <a:pt x="28" y="290"/>
                    </a:lnTo>
                    <a:lnTo>
                      <a:pt x="33" y="283"/>
                    </a:lnTo>
                    <a:lnTo>
                      <a:pt x="41" y="277"/>
                    </a:lnTo>
                    <a:lnTo>
                      <a:pt x="50" y="276"/>
                    </a:lnTo>
                    <a:lnTo>
                      <a:pt x="66" y="283"/>
                    </a:lnTo>
                    <a:lnTo>
                      <a:pt x="79" y="290"/>
                    </a:lnTo>
                    <a:lnTo>
                      <a:pt x="83" y="290"/>
                    </a:lnTo>
                    <a:lnTo>
                      <a:pt x="85" y="290"/>
                    </a:lnTo>
                    <a:lnTo>
                      <a:pt x="87" y="289"/>
                    </a:lnTo>
                    <a:lnTo>
                      <a:pt x="89" y="285"/>
                    </a:lnTo>
                    <a:lnTo>
                      <a:pt x="90" y="279"/>
                    </a:lnTo>
                    <a:lnTo>
                      <a:pt x="92" y="277"/>
                    </a:lnTo>
                    <a:lnTo>
                      <a:pt x="100" y="287"/>
                    </a:lnTo>
                    <a:lnTo>
                      <a:pt x="107" y="298"/>
                    </a:lnTo>
                    <a:lnTo>
                      <a:pt x="114" y="300"/>
                    </a:lnTo>
                    <a:lnTo>
                      <a:pt x="118" y="298"/>
                    </a:lnTo>
                    <a:lnTo>
                      <a:pt x="124" y="296"/>
                    </a:lnTo>
                    <a:lnTo>
                      <a:pt x="127" y="292"/>
                    </a:lnTo>
                    <a:lnTo>
                      <a:pt x="131" y="289"/>
                    </a:lnTo>
                    <a:lnTo>
                      <a:pt x="135" y="287"/>
                    </a:lnTo>
                    <a:lnTo>
                      <a:pt x="138" y="285"/>
                    </a:lnTo>
                    <a:lnTo>
                      <a:pt x="146" y="285"/>
                    </a:lnTo>
                    <a:lnTo>
                      <a:pt x="150" y="287"/>
                    </a:lnTo>
                    <a:lnTo>
                      <a:pt x="153" y="290"/>
                    </a:lnTo>
                    <a:lnTo>
                      <a:pt x="157" y="292"/>
                    </a:lnTo>
                    <a:lnTo>
                      <a:pt x="159" y="294"/>
                    </a:lnTo>
                    <a:lnTo>
                      <a:pt x="164" y="294"/>
                    </a:lnTo>
                    <a:lnTo>
                      <a:pt x="170" y="292"/>
                    </a:lnTo>
                    <a:lnTo>
                      <a:pt x="179" y="300"/>
                    </a:lnTo>
                    <a:lnTo>
                      <a:pt x="188" y="307"/>
                    </a:lnTo>
                    <a:lnTo>
                      <a:pt x="194" y="307"/>
                    </a:lnTo>
                    <a:lnTo>
                      <a:pt x="198" y="309"/>
                    </a:lnTo>
                    <a:lnTo>
                      <a:pt x="201" y="309"/>
                    </a:lnTo>
                    <a:lnTo>
                      <a:pt x="205" y="313"/>
                    </a:lnTo>
                    <a:lnTo>
                      <a:pt x="207" y="320"/>
                    </a:lnTo>
                    <a:lnTo>
                      <a:pt x="209" y="326"/>
                    </a:lnTo>
                    <a:lnTo>
                      <a:pt x="211" y="333"/>
                    </a:lnTo>
                    <a:lnTo>
                      <a:pt x="211" y="342"/>
                    </a:lnTo>
                    <a:lnTo>
                      <a:pt x="225" y="340"/>
                    </a:lnTo>
                    <a:lnTo>
                      <a:pt x="249" y="333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03" name="Freeform 61"/>
              <p:cNvSpPr>
                <a:spLocks/>
              </p:cNvSpPr>
              <p:nvPr/>
            </p:nvSpPr>
            <p:spPr bwMode="auto">
              <a:xfrm>
                <a:off x="3770126" y="4203192"/>
                <a:ext cx="166973" cy="173536"/>
              </a:xfrm>
              <a:custGeom>
                <a:avLst/>
                <a:gdLst>
                  <a:gd name="T0" fmla="*/ 200 w 320"/>
                  <a:gd name="T1" fmla="*/ 13 h 341"/>
                  <a:gd name="T2" fmla="*/ 178 w 320"/>
                  <a:gd name="T3" fmla="*/ 24 h 341"/>
                  <a:gd name="T4" fmla="*/ 172 w 320"/>
                  <a:gd name="T5" fmla="*/ 38 h 341"/>
                  <a:gd name="T6" fmla="*/ 146 w 320"/>
                  <a:gd name="T7" fmla="*/ 35 h 341"/>
                  <a:gd name="T8" fmla="*/ 133 w 320"/>
                  <a:gd name="T9" fmla="*/ 68 h 341"/>
                  <a:gd name="T10" fmla="*/ 109 w 320"/>
                  <a:gd name="T11" fmla="*/ 70 h 341"/>
                  <a:gd name="T12" fmla="*/ 98 w 320"/>
                  <a:gd name="T13" fmla="*/ 72 h 341"/>
                  <a:gd name="T14" fmla="*/ 83 w 320"/>
                  <a:gd name="T15" fmla="*/ 46 h 341"/>
                  <a:gd name="T16" fmla="*/ 54 w 320"/>
                  <a:gd name="T17" fmla="*/ 46 h 341"/>
                  <a:gd name="T18" fmla="*/ 37 w 320"/>
                  <a:gd name="T19" fmla="*/ 33 h 341"/>
                  <a:gd name="T20" fmla="*/ 17 w 320"/>
                  <a:gd name="T21" fmla="*/ 40 h 341"/>
                  <a:gd name="T22" fmla="*/ 13 w 320"/>
                  <a:gd name="T23" fmla="*/ 59 h 341"/>
                  <a:gd name="T24" fmla="*/ 26 w 320"/>
                  <a:gd name="T25" fmla="*/ 70 h 341"/>
                  <a:gd name="T26" fmla="*/ 39 w 320"/>
                  <a:gd name="T27" fmla="*/ 86 h 341"/>
                  <a:gd name="T28" fmla="*/ 32 w 320"/>
                  <a:gd name="T29" fmla="*/ 99 h 341"/>
                  <a:gd name="T30" fmla="*/ 26 w 320"/>
                  <a:gd name="T31" fmla="*/ 94 h 341"/>
                  <a:gd name="T32" fmla="*/ 6 w 320"/>
                  <a:gd name="T33" fmla="*/ 81 h 341"/>
                  <a:gd name="T34" fmla="*/ 8 w 320"/>
                  <a:gd name="T35" fmla="*/ 109 h 341"/>
                  <a:gd name="T36" fmla="*/ 37 w 320"/>
                  <a:gd name="T37" fmla="*/ 131 h 341"/>
                  <a:gd name="T38" fmla="*/ 46 w 320"/>
                  <a:gd name="T39" fmla="*/ 146 h 341"/>
                  <a:gd name="T40" fmla="*/ 34 w 320"/>
                  <a:gd name="T41" fmla="*/ 168 h 341"/>
                  <a:gd name="T42" fmla="*/ 37 w 320"/>
                  <a:gd name="T43" fmla="*/ 205 h 341"/>
                  <a:gd name="T44" fmla="*/ 45 w 320"/>
                  <a:gd name="T45" fmla="*/ 227 h 341"/>
                  <a:gd name="T46" fmla="*/ 37 w 320"/>
                  <a:gd name="T47" fmla="*/ 240 h 341"/>
                  <a:gd name="T48" fmla="*/ 52 w 320"/>
                  <a:gd name="T49" fmla="*/ 256 h 341"/>
                  <a:gd name="T50" fmla="*/ 76 w 320"/>
                  <a:gd name="T51" fmla="*/ 264 h 341"/>
                  <a:gd name="T52" fmla="*/ 96 w 320"/>
                  <a:gd name="T53" fmla="*/ 266 h 341"/>
                  <a:gd name="T54" fmla="*/ 107 w 320"/>
                  <a:gd name="T55" fmla="*/ 258 h 341"/>
                  <a:gd name="T56" fmla="*/ 118 w 320"/>
                  <a:gd name="T57" fmla="*/ 271 h 341"/>
                  <a:gd name="T58" fmla="*/ 133 w 320"/>
                  <a:gd name="T59" fmla="*/ 290 h 341"/>
                  <a:gd name="T60" fmla="*/ 141 w 320"/>
                  <a:gd name="T61" fmla="*/ 327 h 341"/>
                  <a:gd name="T62" fmla="*/ 159 w 320"/>
                  <a:gd name="T63" fmla="*/ 327 h 341"/>
                  <a:gd name="T64" fmla="*/ 161 w 320"/>
                  <a:gd name="T65" fmla="*/ 341 h 341"/>
                  <a:gd name="T66" fmla="*/ 172 w 320"/>
                  <a:gd name="T67" fmla="*/ 336 h 341"/>
                  <a:gd name="T68" fmla="*/ 194 w 320"/>
                  <a:gd name="T69" fmla="*/ 323 h 341"/>
                  <a:gd name="T70" fmla="*/ 215 w 320"/>
                  <a:gd name="T71" fmla="*/ 319 h 341"/>
                  <a:gd name="T72" fmla="*/ 235 w 320"/>
                  <a:gd name="T73" fmla="*/ 305 h 341"/>
                  <a:gd name="T74" fmla="*/ 246 w 320"/>
                  <a:gd name="T75" fmla="*/ 290 h 341"/>
                  <a:gd name="T76" fmla="*/ 239 w 320"/>
                  <a:gd name="T77" fmla="*/ 282 h 341"/>
                  <a:gd name="T78" fmla="*/ 227 w 320"/>
                  <a:gd name="T79" fmla="*/ 284 h 341"/>
                  <a:gd name="T80" fmla="*/ 220 w 320"/>
                  <a:gd name="T81" fmla="*/ 277 h 341"/>
                  <a:gd name="T82" fmla="*/ 220 w 320"/>
                  <a:gd name="T83" fmla="*/ 260 h 341"/>
                  <a:gd name="T84" fmla="*/ 202 w 320"/>
                  <a:gd name="T85" fmla="*/ 236 h 341"/>
                  <a:gd name="T86" fmla="*/ 215 w 320"/>
                  <a:gd name="T87" fmla="*/ 199 h 341"/>
                  <a:gd name="T88" fmla="*/ 205 w 320"/>
                  <a:gd name="T89" fmla="*/ 170 h 341"/>
                  <a:gd name="T90" fmla="*/ 216 w 320"/>
                  <a:gd name="T91" fmla="*/ 155 h 341"/>
                  <a:gd name="T92" fmla="*/ 231 w 320"/>
                  <a:gd name="T93" fmla="*/ 147 h 341"/>
                  <a:gd name="T94" fmla="*/ 257 w 320"/>
                  <a:gd name="T95" fmla="*/ 153 h 341"/>
                  <a:gd name="T96" fmla="*/ 274 w 320"/>
                  <a:gd name="T97" fmla="*/ 140 h 341"/>
                  <a:gd name="T98" fmla="*/ 290 w 320"/>
                  <a:gd name="T99" fmla="*/ 90 h 341"/>
                  <a:gd name="T100" fmla="*/ 314 w 320"/>
                  <a:gd name="T101" fmla="*/ 70 h 341"/>
                  <a:gd name="T102" fmla="*/ 320 w 320"/>
                  <a:gd name="T103" fmla="*/ 48 h 341"/>
                  <a:gd name="T104" fmla="*/ 316 w 320"/>
                  <a:gd name="T105" fmla="*/ 24 h 341"/>
                  <a:gd name="T106" fmla="*/ 312 w 320"/>
                  <a:gd name="T107" fmla="*/ 14 h 341"/>
                  <a:gd name="T108" fmla="*/ 279 w 320"/>
                  <a:gd name="T109" fmla="*/ 25 h 341"/>
                  <a:gd name="T110" fmla="*/ 242 w 320"/>
                  <a:gd name="T111" fmla="*/ 14 h 341"/>
                  <a:gd name="T112" fmla="*/ 218 w 320"/>
                  <a:gd name="T113" fmla="*/ 0 h 34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20"/>
                  <a:gd name="T172" fmla="*/ 0 h 341"/>
                  <a:gd name="T173" fmla="*/ 320 w 320"/>
                  <a:gd name="T174" fmla="*/ 341 h 34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20" h="341">
                    <a:moveTo>
                      <a:pt x="218" y="0"/>
                    </a:moveTo>
                    <a:lnTo>
                      <a:pt x="209" y="7"/>
                    </a:lnTo>
                    <a:lnTo>
                      <a:pt x="200" y="13"/>
                    </a:lnTo>
                    <a:lnTo>
                      <a:pt x="189" y="16"/>
                    </a:lnTo>
                    <a:lnTo>
                      <a:pt x="178" y="16"/>
                    </a:lnTo>
                    <a:lnTo>
                      <a:pt x="178" y="24"/>
                    </a:lnTo>
                    <a:lnTo>
                      <a:pt x="178" y="29"/>
                    </a:lnTo>
                    <a:lnTo>
                      <a:pt x="176" y="35"/>
                    </a:lnTo>
                    <a:lnTo>
                      <a:pt x="172" y="38"/>
                    </a:lnTo>
                    <a:lnTo>
                      <a:pt x="165" y="33"/>
                    </a:lnTo>
                    <a:lnTo>
                      <a:pt x="155" y="27"/>
                    </a:lnTo>
                    <a:lnTo>
                      <a:pt x="146" y="35"/>
                    </a:lnTo>
                    <a:lnTo>
                      <a:pt x="143" y="38"/>
                    </a:lnTo>
                    <a:lnTo>
                      <a:pt x="139" y="48"/>
                    </a:lnTo>
                    <a:lnTo>
                      <a:pt x="133" y="68"/>
                    </a:lnTo>
                    <a:lnTo>
                      <a:pt x="124" y="64"/>
                    </a:lnTo>
                    <a:lnTo>
                      <a:pt x="117" y="64"/>
                    </a:lnTo>
                    <a:lnTo>
                      <a:pt x="109" y="70"/>
                    </a:lnTo>
                    <a:lnTo>
                      <a:pt x="106" y="74"/>
                    </a:lnTo>
                    <a:lnTo>
                      <a:pt x="100" y="74"/>
                    </a:lnTo>
                    <a:lnTo>
                      <a:pt x="98" y="72"/>
                    </a:lnTo>
                    <a:lnTo>
                      <a:pt x="94" y="61"/>
                    </a:lnTo>
                    <a:lnTo>
                      <a:pt x="89" y="51"/>
                    </a:lnTo>
                    <a:lnTo>
                      <a:pt x="83" y="46"/>
                    </a:lnTo>
                    <a:lnTo>
                      <a:pt x="78" y="42"/>
                    </a:lnTo>
                    <a:lnTo>
                      <a:pt x="69" y="44"/>
                    </a:lnTo>
                    <a:lnTo>
                      <a:pt x="54" y="46"/>
                    </a:lnTo>
                    <a:lnTo>
                      <a:pt x="48" y="38"/>
                    </a:lnTo>
                    <a:lnTo>
                      <a:pt x="43" y="35"/>
                    </a:lnTo>
                    <a:lnTo>
                      <a:pt x="37" y="33"/>
                    </a:lnTo>
                    <a:lnTo>
                      <a:pt x="30" y="33"/>
                    </a:lnTo>
                    <a:lnTo>
                      <a:pt x="24" y="37"/>
                    </a:lnTo>
                    <a:lnTo>
                      <a:pt x="17" y="40"/>
                    </a:lnTo>
                    <a:lnTo>
                      <a:pt x="13" y="46"/>
                    </a:lnTo>
                    <a:lnTo>
                      <a:pt x="8" y="51"/>
                    </a:lnTo>
                    <a:lnTo>
                      <a:pt x="13" y="59"/>
                    </a:lnTo>
                    <a:lnTo>
                      <a:pt x="17" y="64"/>
                    </a:lnTo>
                    <a:lnTo>
                      <a:pt x="22" y="68"/>
                    </a:lnTo>
                    <a:lnTo>
                      <a:pt x="26" y="70"/>
                    </a:lnTo>
                    <a:lnTo>
                      <a:pt x="35" y="74"/>
                    </a:lnTo>
                    <a:lnTo>
                      <a:pt x="39" y="79"/>
                    </a:lnTo>
                    <a:lnTo>
                      <a:pt x="39" y="86"/>
                    </a:lnTo>
                    <a:lnTo>
                      <a:pt x="37" y="96"/>
                    </a:lnTo>
                    <a:lnTo>
                      <a:pt x="35" y="98"/>
                    </a:lnTo>
                    <a:lnTo>
                      <a:pt x="32" y="99"/>
                    </a:lnTo>
                    <a:lnTo>
                      <a:pt x="30" y="98"/>
                    </a:lnTo>
                    <a:lnTo>
                      <a:pt x="26" y="94"/>
                    </a:lnTo>
                    <a:lnTo>
                      <a:pt x="21" y="90"/>
                    </a:lnTo>
                    <a:lnTo>
                      <a:pt x="13" y="85"/>
                    </a:lnTo>
                    <a:lnTo>
                      <a:pt x="6" y="81"/>
                    </a:lnTo>
                    <a:lnTo>
                      <a:pt x="11" y="94"/>
                    </a:lnTo>
                    <a:lnTo>
                      <a:pt x="13" y="103"/>
                    </a:lnTo>
                    <a:lnTo>
                      <a:pt x="8" y="109"/>
                    </a:lnTo>
                    <a:lnTo>
                      <a:pt x="0" y="116"/>
                    </a:lnTo>
                    <a:lnTo>
                      <a:pt x="19" y="122"/>
                    </a:lnTo>
                    <a:lnTo>
                      <a:pt x="37" y="131"/>
                    </a:lnTo>
                    <a:lnTo>
                      <a:pt x="41" y="135"/>
                    </a:lnTo>
                    <a:lnTo>
                      <a:pt x="45" y="140"/>
                    </a:lnTo>
                    <a:lnTo>
                      <a:pt x="46" y="146"/>
                    </a:lnTo>
                    <a:lnTo>
                      <a:pt x="46" y="151"/>
                    </a:lnTo>
                    <a:lnTo>
                      <a:pt x="43" y="160"/>
                    </a:lnTo>
                    <a:lnTo>
                      <a:pt x="34" y="168"/>
                    </a:lnTo>
                    <a:lnTo>
                      <a:pt x="28" y="179"/>
                    </a:lnTo>
                    <a:lnTo>
                      <a:pt x="26" y="192"/>
                    </a:lnTo>
                    <a:lnTo>
                      <a:pt x="37" y="205"/>
                    </a:lnTo>
                    <a:lnTo>
                      <a:pt x="48" y="214"/>
                    </a:lnTo>
                    <a:lnTo>
                      <a:pt x="48" y="220"/>
                    </a:lnTo>
                    <a:lnTo>
                      <a:pt x="45" y="227"/>
                    </a:lnTo>
                    <a:lnTo>
                      <a:pt x="41" y="234"/>
                    </a:lnTo>
                    <a:lnTo>
                      <a:pt x="37" y="240"/>
                    </a:lnTo>
                    <a:lnTo>
                      <a:pt x="41" y="245"/>
                    </a:lnTo>
                    <a:lnTo>
                      <a:pt x="46" y="251"/>
                    </a:lnTo>
                    <a:lnTo>
                      <a:pt x="52" y="256"/>
                    </a:lnTo>
                    <a:lnTo>
                      <a:pt x="59" y="260"/>
                    </a:lnTo>
                    <a:lnTo>
                      <a:pt x="67" y="262"/>
                    </a:lnTo>
                    <a:lnTo>
                      <a:pt x="76" y="264"/>
                    </a:lnTo>
                    <a:lnTo>
                      <a:pt x="83" y="264"/>
                    </a:lnTo>
                    <a:lnTo>
                      <a:pt x="91" y="264"/>
                    </a:lnTo>
                    <a:lnTo>
                      <a:pt x="96" y="266"/>
                    </a:lnTo>
                    <a:lnTo>
                      <a:pt x="100" y="264"/>
                    </a:lnTo>
                    <a:lnTo>
                      <a:pt x="106" y="262"/>
                    </a:lnTo>
                    <a:lnTo>
                      <a:pt x="107" y="258"/>
                    </a:lnTo>
                    <a:lnTo>
                      <a:pt x="113" y="260"/>
                    </a:lnTo>
                    <a:lnTo>
                      <a:pt x="118" y="264"/>
                    </a:lnTo>
                    <a:lnTo>
                      <a:pt x="118" y="271"/>
                    </a:lnTo>
                    <a:lnTo>
                      <a:pt x="120" y="280"/>
                    </a:lnTo>
                    <a:lnTo>
                      <a:pt x="126" y="286"/>
                    </a:lnTo>
                    <a:lnTo>
                      <a:pt x="133" y="290"/>
                    </a:lnTo>
                    <a:lnTo>
                      <a:pt x="135" y="306"/>
                    </a:lnTo>
                    <a:lnTo>
                      <a:pt x="137" y="323"/>
                    </a:lnTo>
                    <a:lnTo>
                      <a:pt x="141" y="327"/>
                    </a:lnTo>
                    <a:lnTo>
                      <a:pt x="146" y="329"/>
                    </a:lnTo>
                    <a:lnTo>
                      <a:pt x="154" y="329"/>
                    </a:lnTo>
                    <a:lnTo>
                      <a:pt x="159" y="327"/>
                    </a:lnTo>
                    <a:lnTo>
                      <a:pt x="159" y="334"/>
                    </a:lnTo>
                    <a:lnTo>
                      <a:pt x="157" y="340"/>
                    </a:lnTo>
                    <a:lnTo>
                      <a:pt x="161" y="341"/>
                    </a:lnTo>
                    <a:lnTo>
                      <a:pt x="163" y="341"/>
                    </a:lnTo>
                    <a:lnTo>
                      <a:pt x="167" y="340"/>
                    </a:lnTo>
                    <a:lnTo>
                      <a:pt x="172" y="336"/>
                    </a:lnTo>
                    <a:lnTo>
                      <a:pt x="179" y="330"/>
                    </a:lnTo>
                    <a:lnTo>
                      <a:pt x="185" y="325"/>
                    </a:lnTo>
                    <a:lnTo>
                      <a:pt x="194" y="323"/>
                    </a:lnTo>
                    <a:lnTo>
                      <a:pt x="203" y="321"/>
                    </a:lnTo>
                    <a:lnTo>
                      <a:pt x="209" y="321"/>
                    </a:lnTo>
                    <a:lnTo>
                      <a:pt x="215" y="319"/>
                    </a:lnTo>
                    <a:lnTo>
                      <a:pt x="220" y="317"/>
                    </a:lnTo>
                    <a:lnTo>
                      <a:pt x="226" y="312"/>
                    </a:lnTo>
                    <a:lnTo>
                      <a:pt x="235" y="305"/>
                    </a:lnTo>
                    <a:lnTo>
                      <a:pt x="242" y="297"/>
                    </a:lnTo>
                    <a:lnTo>
                      <a:pt x="246" y="293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4" y="282"/>
                    </a:lnTo>
                    <a:lnTo>
                      <a:pt x="239" y="282"/>
                    </a:lnTo>
                    <a:lnTo>
                      <a:pt x="233" y="284"/>
                    </a:lnTo>
                    <a:lnTo>
                      <a:pt x="229" y="284"/>
                    </a:lnTo>
                    <a:lnTo>
                      <a:pt x="227" y="284"/>
                    </a:lnTo>
                    <a:lnTo>
                      <a:pt x="224" y="284"/>
                    </a:lnTo>
                    <a:lnTo>
                      <a:pt x="220" y="282"/>
                    </a:lnTo>
                    <a:lnTo>
                      <a:pt x="220" y="277"/>
                    </a:lnTo>
                    <a:lnTo>
                      <a:pt x="224" y="271"/>
                    </a:lnTo>
                    <a:lnTo>
                      <a:pt x="224" y="266"/>
                    </a:lnTo>
                    <a:lnTo>
                      <a:pt x="220" y="260"/>
                    </a:lnTo>
                    <a:lnTo>
                      <a:pt x="216" y="253"/>
                    </a:lnTo>
                    <a:lnTo>
                      <a:pt x="213" y="247"/>
                    </a:lnTo>
                    <a:lnTo>
                      <a:pt x="202" y="236"/>
                    </a:lnTo>
                    <a:lnTo>
                      <a:pt x="198" y="229"/>
                    </a:lnTo>
                    <a:lnTo>
                      <a:pt x="207" y="212"/>
                    </a:lnTo>
                    <a:lnTo>
                      <a:pt x="215" y="199"/>
                    </a:lnTo>
                    <a:lnTo>
                      <a:pt x="207" y="183"/>
                    </a:lnTo>
                    <a:lnTo>
                      <a:pt x="200" y="173"/>
                    </a:lnTo>
                    <a:lnTo>
                      <a:pt x="205" y="170"/>
                    </a:lnTo>
                    <a:lnTo>
                      <a:pt x="215" y="164"/>
                    </a:lnTo>
                    <a:lnTo>
                      <a:pt x="216" y="159"/>
                    </a:lnTo>
                    <a:lnTo>
                      <a:pt x="216" y="155"/>
                    </a:lnTo>
                    <a:lnTo>
                      <a:pt x="218" y="151"/>
                    </a:lnTo>
                    <a:lnTo>
                      <a:pt x="224" y="149"/>
                    </a:lnTo>
                    <a:lnTo>
                      <a:pt x="231" y="147"/>
                    </a:lnTo>
                    <a:lnTo>
                      <a:pt x="240" y="149"/>
                    </a:lnTo>
                    <a:lnTo>
                      <a:pt x="248" y="151"/>
                    </a:lnTo>
                    <a:lnTo>
                      <a:pt x="257" y="153"/>
                    </a:lnTo>
                    <a:lnTo>
                      <a:pt x="263" y="151"/>
                    </a:lnTo>
                    <a:lnTo>
                      <a:pt x="268" y="147"/>
                    </a:lnTo>
                    <a:lnTo>
                      <a:pt x="274" y="140"/>
                    </a:lnTo>
                    <a:lnTo>
                      <a:pt x="277" y="131"/>
                    </a:lnTo>
                    <a:lnTo>
                      <a:pt x="285" y="109"/>
                    </a:lnTo>
                    <a:lnTo>
                      <a:pt x="290" y="90"/>
                    </a:lnTo>
                    <a:lnTo>
                      <a:pt x="301" y="85"/>
                    </a:lnTo>
                    <a:lnTo>
                      <a:pt x="311" y="77"/>
                    </a:lnTo>
                    <a:lnTo>
                      <a:pt x="314" y="70"/>
                    </a:lnTo>
                    <a:lnTo>
                      <a:pt x="316" y="64"/>
                    </a:lnTo>
                    <a:lnTo>
                      <a:pt x="318" y="55"/>
                    </a:lnTo>
                    <a:lnTo>
                      <a:pt x="320" y="48"/>
                    </a:lnTo>
                    <a:lnTo>
                      <a:pt x="320" y="40"/>
                    </a:lnTo>
                    <a:lnTo>
                      <a:pt x="318" y="31"/>
                    </a:lnTo>
                    <a:lnTo>
                      <a:pt x="316" y="24"/>
                    </a:lnTo>
                    <a:lnTo>
                      <a:pt x="312" y="14"/>
                    </a:lnTo>
                    <a:lnTo>
                      <a:pt x="301" y="18"/>
                    </a:lnTo>
                    <a:lnTo>
                      <a:pt x="290" y="22"/>
                    </a:lnTo>
                    <a:lnTo>
                      <a:pt x="279" y="25"/>
                    </a:lnTo>
                    <a:lnTo>
                      <a:pt x="266" y="25"/>
                    </a:lnTo>
                    <a:lnTo>
                      <a:pt x="253" y="20"/>
                    </a:lnTo>
                    <a:lnTo>
                      <a:pt x="242" y="14"/>
                    </a:lnTo>
                    <a:lnTo>
                      <a:pt x="229" y="7"/>
                    </a:lnTo>
                    <a:lnTo>
                      <a:pt x="218" y="0"/>
                    </a:lnTo>
                    <a:close/>
                  </a:path>
                </a:pathLst>
              </a:custGeom>
              <a:solidFill>
                <a:srgbClr val="C00000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04" name="Freeform 62"/>
              <p:cNvSpPr>
                <a:spLocks/>
              </p:cNvSpPr>
              <p:nvPr/>
            </p:nvSpPr>
            <p:spPr bwMode="auto">
              <a:xfrm>
                <a:off x="3800912" y="4332962"/>
                <a:ext cx="146624" cy="156742"/>
              </a:xfrm>
              <a:custGeom>
                <a:avLst/>
                <a:gdLst>
                  <a:gd name="T0" fmla="*/ 174 w 281"/>
                  <a:gd name="T1" fmla="*/ 297 h 308"/>
                  <a:gd name="T2" fmla="*/ 209 w 281"/>
                  <a:gd name="T3" fmla="*/ 288 h 308"/>
                  <a:gd name="T4" fmla="*/ 209 w 281"/>
                  <a:gd name="T5" fmla="*/ 266 h 308"/>
                  <a:gd name="T6" fmla="*/ 193 w 281"/>
                  <a:gd name="T7" fmla="*/ 253 h 308"/>
                  <a:gd name="T8" fmla="*/ 191 w 281"/>
                  <a:gd name="T9" fmla="*/ 242 h 308"/>
                  <a:gd name="T10" fmla="*/ 213 w 281"/>
                  <a:gd name="T11" fmla="*/ 223 h 308"/>
                  <a:gd name="T12" fmla="*/ 213 w 281"/>
                  <a:gd name="T13" fmla="*/ 208 h 308"/>
                  <a:gd name="T14" fmla="*/ 213 w 281"/>
                  <a:gd name="T15" fmla="*/ 188 h 308"/>
                  <a:gd name="T16" fmla="*/ 231 w 281"/>
                  <a:gd name="T17" fmla="*/ 203 h 308"/>
                  <a:gd name="T18" fmla="*/ 259 w 281"/>
                  <a:gd name="T19" fmla="*/ 199 h 308"/>
                  <a:gd name="T20" fmla="*/ 263 w 281"/>
                  <a:gd name="T21" fmla="*/ 173 h 308"/>
                  <a:gd name="T22" fmla="*/ 259 w 281"/>
                  <a:gd name="T23" fmla="*/ 110 h 308"/>
                  <a:gd name="T24" fmla="*/ 281 w 281"/>
                  <a:gd name="T25" fmla="*/ 61 h 308"/>
                  <a:gd name="T26" fmla="*/ 274 w 281"/>
                  <a:gd name="T27" fmla="*/ 51 h 308"/>
                  <a:gd name="T28" fmla="*/ 270 w 281"/>
                  <a:gd name="T29" fmla="*/ 33 h 308"/>
                  <a:gd name="T30" fmla="*/ 266 w 281"/>
                  <a:gd name="T31" fmla="*/ 16 h 308"/>
                  <a:gd name="T32" fmla="*/ 257 w 281"/>
                  <a:gd name="T33" fmla="*/ 22 h 308"/>
                  <a:gd name="T34" fmla="*/ 239 w 281"/>
                  <a:gd name="T35" fmla="*/ 11 h 308"/>
                  <a:gd name="T36" fmla="*/ 228 w 281"/>
                  <a:gd name="T37" fmla="*/ 9 h 308"/>
                  <a:gd name="T38" fmla="*/ 222 w 281"/>
                  <a:gd name="T39" fmla="*/ 14 h 308"/>
                  <a:gd name="T40" fmla="*/ 189 w 281"/>
                  <a:gd name="T41" fmla="*/ 0 h 308"/>
                  <a:gd name="T42" fmla="*/ 167 w 281"/>
                  <a:gd name="T43" fmla="*/ 14 h 308"/>
                  <a:gd name="T44" fmla="*/ 161 w 281"/>
                  <a:gd name="T45" fmla="*/ 27 h 308"/>
                  <a:gd name="T46" fmla="*/ 170 w 281"/>
                  <a:gd name="T47" fmla="*/ 29 h 308"/>
                  <a:gd name="T48" fmla="*/ 185 w 281"/>
                  <a:gd name="T49" fmla="*/ 27 h 308"/>
                  <a:gd name="T50" fmla="*/ 187 w 281"/>
                  <a:gd name="T51" fmla="*/ 38 h 308"/>
                  <a:gd name="T52" fmla="*/ 167 w 281"/>
                  <a:gd name="T53" fmla="*/ 57 h 308"/>
                  <a:gd name="T54" fmla="*/ 150 w 281"/>
                  <a:gd name="T55" fmla="*/ 66 h 308"/>
                  <a:gd name="T56" fmla="*/ 126 w 281"/>
                  <a:gd name="T57" fmla="*/ 70 h 308"/>
                  <a:gd name="T58" fmla="*/ 108 w 281"/>
                  <a:gd name="T59" fmla="*/ 85 h 308"/>
                  <a:gd name="T60" fmla="*/ 98 w 281"/>
                  <a:gd name="T61" fmla="*/ 85 h 308"/>
                  <a:gd name="T62" fmla="*/ 95 w 281"/>
                  <a:gd name="T63" fmla="*/ 74 h 308"/>
                  <a:gd name="T64" fmla="*/ 78 w 281"/>
                  <a:gd name="T65" fmla="*/ 68 h 308"/>
                  <a:gd name="T66" fmla="*/ 67 w 281"/>
                  <a:gd name="T67" fmla="*/ 31 h 308"/>
                  <a:gd name="T68" fmla="*/ 59 w 281"/>
                  <a:gd name="T69" fmla="*/ 9 h 308"/>
                  <a:gd name="T70" fmla="*/ 47 w 281"/>
                  <a:gd name="T71" fmla="*/ 7 h 308"/>
                  <a:gd name="T72" fmla="*/ 32 w 281"/>
                  <a:gd name="T73" fmla="*/ 9 h 308"/>
                  <a:gd name="T74" fmla="*/ 8 w 281"/>
                  <a:gd name="T75" fmla="*/ 7 h 308"/>
                  <a:gd name="T76" fmla="*/ 2 w 281"/>
                  <a:gd name="T77" fmla="*/ 18 h 308"/>
                  <a:gd name="T78" fmla="*/ 21 w 281"/>
                  <a:gd name="T79" fmla="*/ 40 h 308"/>
                  <a:gd name="T80" fmla="*/ 56 w 281"/>
                  <a:gd name="T81" fmla="*/ 55 h 308"/>
                  <a:gd name="T82" fmla="*/ 74 w 281"/>
                  <a:gd name="T83" fmla="*/ 101 h 308"/>
                  <a:gd name="T84" fmla="*/ 78 w 281"/>
                  <a:gd name="T85" fmla="*/ 144 h 308"/>
                  <a:gd name="T86" fmla="*/ 96 w 281"/>
                  <a:gd name="T87" fmla="*/ 188 h 308"/>
                  <a:gd name="T88" fmla="*/ 109 w 281"/>
                  <a:gd name="T89" fmla="*/ 223 h 308"/>
                  <a:gd name="T90" fmla="*/ 104 w 281"/>
                  <a:gd name="T91" fmla="*/ 242 h 308"/>
                  <a:gd name="T92" fmla="*/ 113 w 281"/>
                  <a:gd name="T93" fmla="*/ 255 h 308"/>
                  <a:gd name="T94" fmla="*/ 135 w 281"/>
                  <a:gd name="T95" fmla="*/ 290 h 30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81"/>
                  <a:gd name="T145" fmla="*/ 0 h 308"/>
                  <a:gd name="T146" fmla="*/ 281 w 281"/>
                  <a:gd name="T147" fmla="*/ 308 h 30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81" h="308">
                    <a:moveTo>
                      <a:pt x="137" y="308"/>
                    </a:moveTo>
                    <a:lnTo>
                      <a:pt x="156" y="303"/>
                    </a:lnTo>
                    <a:lnTo>
                      <a:pt x="174" y="297"/>
                    </a:lnTo>
                    <a:lnTo>
                      <a:pt x="193" y="290"/>
                    </a:lnTo>
                    <a:lnTo>
                      <a:pt x="205" y="286"/>
                    </a:lnTo>
                    <a:lnTo>
                      <a:pt x="209" y="288"/>
                    </a:lnTo>
                    <a:lnTo>
                      <a:pt x="215" y="290"/>
                    </a:lnTo>
                    <a:lnTo>
                      <a:pt x="211" y="279"/>
                    </a:lnTo>
                    <a:lnTo>
                      <a:pt x="209" y="266"/>
                    </a:lnTo>
                    <a:lnTo>
                      <a:pt x="204" y="260"/>
                    </a:lnTo>
                    <a:lnTo>
                      <a:pt x="196" y="255"/>
                    </a:lnTo>
                    <a:lnTo>
                      <a:pt x="193" y="253"/>
                    </a:lnTo>
                    <a:lnTo>
                      <a:pt x="191" y="249"/>
                    </a:lnTo>
                    <a:lnTo>
                      <a:pt x="189" y="245"/>
                    </a:lnTo>
                    <a:lnTo>
                      <a:pt x="191" y="242"/>
                    </a:lnTo>
                    <a:lnTo>
                      <a:pt x="205" y="234"/>
                    </a:lnTo>
                    <a:lnTo>
                      <a:pt x="218" y="227"/>
                    </a:lnTo>
                    <a:lnTo>
                      <a:pt x="213" y="223"/>
                    </a:lnTo>
                    <a:lnTo>
                      <a:pt x="207" y="218"/>
                    </a:lnTo>
                    <a:lnTo>
                      <a:pt x="211" y="212"/>
                    </a:lnTo>
                    <a:lnTo>
                      <a:pt x="213" y="208"/>
                    </a:lnTo>
                    <a:lnTo>
                      <a:pt x="209" y="195"/>
                    </a:lnTo>
                    <a:lnTo>
                      <a:pt x="205" y="186"/>
                    </a:lnTo>
                    <a:lnTo>
                      <a:pt x="213" y="188"/>
                    </a:lnTo>
                    <a:lnTo>
                      <a:pt x="218" y="192"/>
                    </a:lnTo>
                    <a:lnTo>
                      <a:pt x="224" y="197"/>
                    </a:lnTo>
                    <a:lnTo>
                      <a:pt x="231" y="203"/>
                    </a:lnTo>
                    <a:lnTo>
                      <a:pt x="246" y="203"/>
                    </a:lnTo>
                    <a:lnTo>
                      <a:pt x="257" y="203"/>
                    </a:lnTo>
                    <a:lnTo>
                      <a:pt x="259" y="199"/>
                    </a:lnTo>
                    <a:lnTo>
                      <a:pt x="261" y="192"/>
                    </a:lnTo>
                    <a:lnTo>
                      <a:pt x="263" y="184"/>
                    </a:lnTo>
                    <a:lnTo>
                      <a:pt x="263" y="173"/>
                    </a:lnTo>
                    <a:lnTo>
                      <a:pt x="261" y="151"/>
                    </a:lnTo>
                    <a:lnTo>
                      <a:pt x="263" y="133"/>
                    </a:lnTo>
                    <a:lnTo>
                      <a:pt x="259" y="110"/>
                    </a:lnTo>
                    <a:lnTo>
                      <a:pt x="259" y="90"/>
                    </a:lnTo>
                    <a:lnTo>
                      <a:pt x="270" y="72"/>
                    </a:lnTo>
                    <a:lnTo>
                      <a:pt x="281" y="61"/>
                    </a:lnTo>
                    <a:lnTo>
                      <a:pt x="281" y="55"/>
                    </a:lnTo>
                    <a:lnTo>
                      <a:pt x="277" y="53"/>
                    </a:lnTo>
                    <a:lnTo>
                      <a:pt x="274" y="51"/>
                    </a:lnTo>
                    <a:lnTo>
                      <a:pt x="270" y="51"/>
                    </a:lnTo>
                    <a:lnTo>
                      <a:pt x="270" y="40"/>
                    </a:lnTo>
                    <a:lnTo>
                      <a:pt x="270" y="33"/>
                    </a:lnTo>
                    <a:lnTo>
                      <a:pt x="270" y="24"/>
                    </a:lnTo>
                    <a:lnTo>
                      <a:pt x="266" y="16"/>
                    </a:lnTo>
                    <a:lnTo>
                      <a:pt x="263" y="20"/>
                    </a:lnTo>
                    <a:lnTo>
                      <a:pt x="257" y="22"/>
                    </a:lnTo>
                    <a:lnTo>
                      <a:pt x="253" y="24"/>
                    </a:lnTo>
                    <a:lnTo>
                      <a:pt x="246" y="22"/>
                    </a:lnTo>
                    <a:lnTo>
                      <a:pt x="239" y="11"/>
                    </a:lnTo>
                    <a:lnTo>
                      <a:pt x="231" y="1"/>
                    </a:lnTo>
                    <a:lnTo>
                      <a:pt x="229" y="3"/>
                    </a:lnTo>
                    <a:lnTo>
                      <a:pt x="228" y="9"/>
                    </a:lnTo>
                    <a:lnTo>
                      <a:pt x="226" y="13"/>
                    </a:lnTo>
                    <a:lnTo>
                      <a:pt x="224" y="14"/>
                    </a:lnTo>
                    <a:lnTo>
                      <a:pt x="222" y="14"/>
                    </a:lnTo>
                    <a:lnTo>
                      <a:pt x="218" y="14"/>
                    </a:lnTo>
                    <a:lnTo>
                      <a:pt x="205" y="7"/>
                    </a:lnTo>
                    <a:lnTo>
                      <a:pt x="189" y="0"/>
                    </a:lnTo>
                    <a:lnTo>
                      <a:pt x="180" y="1"/>
                    </a:lnTo>
                    <a:lnTo>
                      <a:pt x="172" y="7"/>
                    </a:lnTo>
                    <a:lnTo>
                      <a:pt x="167" y="14"/>
                    </a:lnTo>
                    <a:lnTo>
                      <a:pt x="165" y="16"/>
                    </a:lnTo>
                    <a:lnTo>
                      <a:pt x="163" y="20"/>
                    </a:lnTo>
                    <a:lnTo>
                      <a:pt x="161" y="27"/>
                    </a:lnTo>
                    <a:lnTo>
                      <a:pt x="165" y="29"/>
                    </a:lnTo>
                    <a:lnTo>
                      <a:pt x="168" y="29"/>
                    </a:lnTo>
                    <a:lnTo>
                      <a:pt x="170" y="29"/>
                    </a:lnTo>
                    <a:lnTo>
                      <a:pt x="174" y="29"/>
                    </a:lnTo>
                    <a:lnTo>
                      <a:pt x="180" y="27"/>
                    </a:lnTo>
                    <a:lnTo>
                      <a:pt x="185" y="27"/>
                    </a:lnTo>
                    <a:lnTo>
                      <a:pt x="187" y="31"/>
                    </a:lnTo>
                    <a:lnTo>
                      <a:pt x="187" y="35"/>
                    </a:lnTo>
                    <a:lnTo>
                      <a:pt x="187" y="38"/>
                    </a:lnTo>
                    <a:lnTo>
                      <a:pt x="183" y="42"/>
                    </a:lnTo>
                    <a:lnTo>
                      <a:pt x="176" y="50"/>
                    </a:lnTo>
                    <a:lnTo>
                      <a:pt x="167" y="57"/>
                    </a:lnTo>
                    <a:lnTo>
                      <a:pt x="161" y="62"/>
                    </a:lnTo>
                    <a:lnTo>
                      <a:pt x="156" y="64"/>
                    </a:lnTo>
                    <a:lnTo>
                      <a:pt x="150" y="66"/>
                    </a:lnTo>
                    <a:lnTo>
                      <a:pt x="144" y="66"/>
                    </a:lnTo>
                    <a:lnTo>
                      <a:pt x="135" y="68"/>
                    </a:lnTo>
                    <a:lnTo>
                      <a:pt x="126" y="70"/>
                    </a:lnTo>
                    <a:lnTo>
                      <a:pt x="120" y="75"/>
                    </a:lnTo>
                    <a:lnTo>
                      <a:pt x="113" y="81"/>
                    </a:lnTo>
                    <a:lnTo>
                      <a:pt x="108" y="85"/>
                    </a:lnTo>
                    <a:lnTo>
                      <a:pt x="104" y="86"/>
                    </a:lnTo>
                    <a:lnTo>
                      <a:pt x="102" y="86"/>
                    </a:lnTo>
                    <a:lnTo>
                      <a:pt x="98" y="85"/>
                    </a:lnTo>
                    <a:lnTo>
                      <a:pt x="100" y="79"/>
                    </a:lnTo>
                    <a:lnTo>
                      <a:pt x="100" y="72"/>
                    </a:lnTo>
                    <a:lnTo>
                      <a:pt x="95" y="74"/>
                    </a:lnTo>
                    <a:lnTo>
                      <a:pt x="87" y="74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6" y="51"/>
                    </a:lnTo>
                    <a:lnTo>
                      <a:pt x="74" y="35"/>
                    </a:lnTo>
                    <a:lnTo>
                      <a:pt x="67" y="31"/>
                    </a:lnTo>
                    <a:lnTo>
                      <a:pt x="61" y="25"/>
                    </a:lnTo>
                    <a:lnTo>
                      <a:pt x="59" y="16"/>
                    </a:lnTo>
                    <a:lnTo>
                      <a:pt x="59" y="9"/>
                    </a:lnTo>
                    <a:lnTo>
                      <a:pt x="54" y="5"/>
                    </a:lnTo>
                    <a:lnTo>
                      <a:pt x="48" y="3"/>
                    </a:lnTo>
                    <a:lnTo>
                      <a:pt x="47" y="7"/>
                    </a:lnTo>
                    <a:lnTo>
                      <a:pt x="41" y="9"/>
                    </a:lnTo>
                    <a:lnTo>
                      <a:pt x="37" y="11"/>
                    </a:lnTo>
                    <a:lnTo>
                      <a:pt x="32" y="9"/>
                    </a:lnTo>
                    <a:lnTo>
                      <a:pt x="24" y="9"/>
                    </a:lnTo>
                    <a:lnTo>
                      <a:pt x="17" y="9"/>
                    </a:lnTo>
                    <a:lnTo>
                      <a:pt x="8" y="7"/>
                    </a:lnTo>
                    <a:lnTo>
                      <a:pt x="0" y="5"/>
                    </a:lnTo>
                    <a:lnTo>
                      <a:pt x="0" y="11"/>
                    </a:lnTo>
                    <a:lnTo>
                      <a:pt x="2" y="18"/>
                    </a:lnTo>
                    <a:lnTo>
                      <a:pt x="10" y="25"/>
                    </a:lnTo>
                    <a:lnTo>
                      <a:pt x="19" y="33"/>
                    </a:lnTo>
                    <a:lnTo>
                      <a:pt x="21" y="40"/>
                    </a:lnTo>
                    <a:lnTo>
                      <a:pt x="23" y="46"/>
                    </a:lnTo>
                    <a:lnTo>
                      <a:pt x="39" y="51"/>
                    </a:lnTo>
                    <a:lnTo>
                      <a:pt x="56" y="55"/>
                    </a:lnTo>
                    <a:lnTo>
                      <a:pt x="63" y="70"/>
                    </a:lnTo>
                    <a:lnTo>
                      <a:pt x="71" y="85"/>
                    </a:lnTo>
                    <a:lnTo>
                      <a:pt x="74" y="101"/>
                    </a:lnTo>
                    <a:lnTo>
                      <a:pt x="78" y="116"/>
                    </a:lnTo>
                    <a:lnTo>
                      <a:pt x="78" y="131"/>
                    </a:lnTo>
                    <a:lnTo>
                      <a:pt x="78" y="144"/>
                    </a:lnTo>
                    <a:lnTo>
                      <a:pt x="80" y="159"/>
                    </a:lnTo>
                    <a:lnTo>
                      <a:pt x="84" y="171"/>
                    </a:lnTo>
                    <a:lnTo>
                      <a:pt x="96" y="188"/>
                    </a:lnTo>
                    <a:lnTo>
                      <a:pt x="106" y="207"/>
                    </a:lnTo>
                    <a:lnTo>
                      <a:pt x="109" y="214"/>
                    </a:lnTo>
                    <a:lnTo>
                      <a:pt x="109" y="223"/>
                    </a:lnTo>
                    <a:lnTo>
                      <a:pt x="109" y="231"/>
                    </a:lnTo>
                    <a:lnTo>
                      <a:pt x="106" y="238"/>
                    </a:lnTo>
                    <a:lnTo>
                      <a:pt x="104" y="242"/>
                    </a:lnTo>
                    <a:lnTo>
                      <a:pt x="100" y="244"/>
                    </a:lnTo>
                    <a:lnTo>
                      <a:pt x="113" y="255"/>
                    </a:lnTo>
                    <a:lnTo>
                      <a:pt x="124" y="271"/>
                    </a:lnTo>
                    <a:lnTo>
                      <a:pt x="130" y="280"/>
                    </a:lnTo>
                    <a:lnTo>
                      <a:pt x="135" y="290"/>
                    </a:lnTo>
                    <a:lnTo>
                      <a:pt x="137" y="299"/>
                    </a:lnTo>
                    <a:lnTo>
                      <a:pt x="137" y="308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05" name="Freeform 63"/>
              <p:cNvSpPr>
                <a:spLocks/>
              </p:cNvSpPr>
              <p:nvPr/>
            </p:nvSpPr>
            <p:spPr bwMode="auto">
              <a:xfrm>
                <a:off x="3746124" y="4323293"/>
                <a:ext cx="111663" cy="157251"/>
              </a:xfrm>
              <a:custGeom>
                <a:avLst/>
                <a:gdLst>
                  <a:gd name="T0" fmla="*/ 205 w 214"/>
                  <a:gd name="T1" fmla="*/ 263 h 309"/>
                  <a:gd name="T2" fmla="*/ 211 w 214"/>
                  <a:gd name="T3" fmla="*/ 257 h 309"/>
                  <a:gd name="T4" fmla="*/ 214 w 214"/>
                  <a:gd name="T5" fmla="*/ 242 h 309"/>
                  <a:gd name="T6" fmla="*/ 211 w 214"/>
                  <a:gd name="T7" fmla="*/ 226 h 309"/>
                  <a:gd name="T8" fmla="*/ 189 w 214"/>
                  <a:gd name="T9" fmla="*/ 190 h 309"/>
                  <a:gd name="T10" fmla="*/ 183 w 214"/>
                  <a:gd name="T11" fmla="*/ 163 h 309"/>
                  <a:gd name="T12" fmla="*/ 183 w 214"/>
                  <a:gd name="T13" fmla="*/ 135 h 309"/>
                  <a:gd name="T14" fmla="*/ 176 w 214"/>
                  <a:gd name="T15" fmla="*/ 104 h 309"/>
                  <a:gd name="T16" fmla="*/ 161 w 214"/>
                  <a:gd name="T17" fmla="*/ 74 h 309"/>
                  <a:gd name="T18" fmla="*/ 128 w 214"/>
                  <a:gd name="T19" fmla="*/ 65 h 309"/>
                  <a:gd name="T20" fmla="*/ 124 w 214"/>
                  <a:gd name="T21" fmla="*/ 52 h 309"/>
                  <a:gd name="T22" fmla="*/ 107 w 214"/>
                  <a:gd name="T23" fmla="*/ 37 h 309"/>
                  <a:gd name="T24" fmla="*/ 105 w 214"/>
                  <a:gd name="T25" fmla="*/ 24 h 309"/>
                  <a:gd name="T26" fmla="*/ 91 w 214"/>
                  <a:gd name="T27" fmla="*/ 15 h 309"/>
                  <a:gd name="T28" fmla="*/ 83 w 214"/>
                  <a:gd name="T29" fmla="*/ 4 h 309"/>
                  <a:gd name="T30" fmla="*/ 78 w 214"/>
                  <a:gd name="T31" fmla="*/ 6 h 309"/>
                  <a:gd name="T32" fmla="*/ 76 w 214"/>
                  <a:gd name="T33" fmla="*/ 9 h 309"/>
                  <a:gd name="T34" fmla="*/ 74 w 214"/>
                  <a:gd name="T35" fmla="*/ 15 h 309"/>
                  <a:gd name="T36" fmla="*/ 52 w 214"/>
                  <a:gd name="T37" fmla="*/ 0 h 309"/>
                  <a:gd name="T38" fmla="*/ 44 w 214"/>
                  <a:gd name="T39" fmla="*/ 9 h 309"/>
                  <a:gd name="T40" fmla="*/ 43 w 214"/>
                  <a:gd name="T41" fmla="*/ 19 h 309"/>
                  <a:gd name="T42" fmla="*/ 46 w 214"/>
                  <a:gd name="T43" fmla="*/ 43 h 309"/>
                  <a:gd name="T44" fmla="*/ 31 w 214"/>
                  <a:gd name="T45" fmla="*/ 65 h 309"/>
                  <a:gd name="T46" fmla="*/ 26 w 214"/>
                  <a:gd name="T47" fmla="*/ 81 h 309"/>
                  <a:gd name="T48" fmla="*/ 13 w 214"/>
                  <a:gd name="T49" fmla="*/ 81 h 309"/>
                  <a:gd name="T50" fmla="*/ 0 w 214"/>
                  <a:gd name="T51" fmla="*/ 105 h 309"/>
                  <a:gd name="T52" fmla="*/ 17 w 214"/>
                  <a:gd name="T53" fmla="*/ 133 h 309"/>
                  <a:gd name="T54" fmla="*/ 24 w 214"/>
                  <a:gd name="T55" fmla="*/ 159 h 309"/>
                  <a:gd name="T56" fmla="*/ 15 w 214"/>
                  <a:gd name="T57" fmla="*/ 165 h 309"/>
                  <a:gd name="T58" fmla="*/ 11 w 214"/>
                  <a:gd name="T59" fmla="*/ 178 h 309"/>
                  <a:gd name="T60" fmla="*/ 11 w 214"/>
                  <a:gd name="T61" fmla="*/ 190 h 309"/>
                  <a:gd name="T62" fmla="*/ 28 w 214"/>
                  <a:gd name="T63" fmla="*/ 192 h 309"/>
                  <a:gd name="T64" fmla="*/ 35 w 214"/>
                  <a:gd name="T65" fmla="*/ 229 h 309"/>
                  <a:gd name="T66" fmla="*/ 46 w 214"/>
                  <a:gd name="T67" fmla="*/ 237 h 309"/>
                  <a:gd name="T68" fmla="*/ 56 w 214"/>
                  <a:gd name="T69" fmla="*/ 240 h 309"/>
                  <a:gd name="T70" fmla="*/ 72 w 214"/>
                  <a:gd name="T71" fmla="*/ 242 h 309"/>
                  <a:gd name="T72" fmla="*/ 80 w 214"/>
                  <a:gd name="T73" fmla="*/ 251 h 309"/>
                  <a:gd name="T74" fmla="*/ 94 w 214"/>
                  <a:gd name="T75" fmla="*/ 283 h 309"/>
                  <a:gd name="T76" fmla="*/ 113 w 214"/>
                  <a:gd name="T77" fmla="*/ 292 h 309"/>
                  <a:gd name="T78" fmla="*/ 120 w 214"/>
                  <a:gd name="T79" fmla="*/ 307 h 309"/>
                  <a:gd name="T80" fmla="*/ 131 w 214"/>
                  <a:gd name="T81" fmla="*/ 309 h 309"/>
                  <a:gd name="T82" fmla="*/ 131 w 214"/>
                  <a:gd name="T83" fmla="*/ 309 h 309"/>
                  <a:gd name="T84" fmla="*/ 131 w 214"/>
                  <a:gd name="T85" fmla="*/ 309 h 309"/>
                  <a:gd name="T86" fmla="*/ 146 w 214"/>
                  <a:gd name="T87" fmla="*/ 303 h 309"/>
                  <a:gd name="T88" fmla="*/ 142 w 214"/>
                  <a:gd name="T89" fmla="*/ 292 h 309"/>
                  <a:gd name="T90" fmla="*/ 133 w 214"/>
                  <a:gd name="T91" fmla="*/ 287 h 309"/>
                  <a:gd name="T92" fmla="*/ 124 w 214"/>
                  <a:gd name="T93" fmla="*/ 283 h 309"/>
                  <a:gd name="T94" fmla="*/ 122 w 214"/>
                  <a:gd name="T95" fmla="*/ 277 h 309"/>
                  <a:gd name="T96" fmla="*/ 159 w 214"/>
                  <a:gd name="T97" fmla="*/ 283 h 309"/>
                  <a:gd name="T98" fmla="*/ 155 w 214"/>
                  <a:gd name="T99" fmla="*/ 274 h 309"/>
                  <a:gd name="T100" fmla="*/ 153 w 214"/>
                  <a:gd name="T101" fmla="*/ 266 h 309"/>
                  <a:gd name="T102" fmla="*/ 157 w 214"/>
                  <a:gd name="T103" fmla="*/ 259 h 309"/>
                  <a:gd name="T104" fmla="*/ 205 w 214"/>
                  <a:gd name="T105" fmla="*/ 263 h 30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14"/>
                  <a:gd name="T160" fmla="*/ 0 h 309"/>
                  <a:gd name="T161" fmla="*/ 214 w 214"/>
                  <a:gd name="T162" fmla="*/ 309 h 30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14" h="309">
                    <a:moveTo>
                      <a:pt x="205" y="263"/>
                    </a:moveTo>
                    <a:lnTo>
                      <a:pt x="205" y="263"/>
                    </a:lnTo>
                    <a:lnTo>
                      <a:pt x="209" y="261"/>
                    </a:lnTo>
                    <a:lnTo>
                      <a:pt x="211" y="257"/>
                    </a:lnTo>
                    <a:lnTo>
                      <a:pt x="214" y="250"/>
                    </a:lnTo>
                    <a:lnTo>
                      <a:pt x="214" y="242"/>
                    </a:lnTo>
                    <a:lnTo>
                      <a:pt x="214" y="233"/>
                    </a:lnTo>
                    <a:lnTo>
                      <a:pt x="211" y="226"/>
                    </a:lnTo>
                    <a:lnTo>
                      <a:pt x="201" y="207"/>
                    </a:lnTo>
                    <a:lnTo>
                      <a:pt x="189" y="190"/>
                    </a:lnTo>
                    <a:lnTo>
                      <a:pt x="185" y="178"/>
                    </a:lnTo>
                    <a:lnTo>
                      <a:pt x="183" y="163"/>
                    </a:lnTo>
                    <a:lnTo>
                      <a:pt x="183" y="150"/>
                    </a:lnTo>
                    <a:lnTo>
                      <a:pt x="183" y="135"/>
                    </a:lnTo>
                    <a:lnTo>
                      <a:pt x="179" y="120"/>
                    </a:lnTo>
                    <a:lnTo>
                      <a:pt x="176" y="104"/>
                    </a:lnTo>
                    <a:lnTo>
                      <a:pt x="168" y="89"/>
                    </a:lnTo>
                    <a:lnTo>
                      <a:pt x="161" y="74"/>
                    </a:lnTo>
                    <a:lnTo>
                      <a:pt x="144" y="70"/>
                    </a:lnTo>
                    <a:lnTo>
                      <a:pt x="128" y="65"/>
                    </a:lnTo>
                    <a:lnTo>
                      <a:pt x="126" y="59"/>
                    </a:lnTo>
                    <a:lnTo>
                      <a:pt x="124" y="52"/>
                    </a:lnTo>
                    <a:lnTo>
                      <a:pt x="115" y="44"/>
                    </a:lnTo>
                    <a:lnTo>
                      <a:pt x="107" y="37"/>
                    </a:lnTo>
                    <a:lnTo>
                      <a:pt x="105" y="30"/>
                    </a:lnTo>
                    <a:lnTo>
                      <a:pt x="105" y="24"/>
                    </a:lnTo>
                    <a:lnTo>
                      <a:pt x="98" y="20"/>
                    </a:lnTo>
                    <a:lnTo>
                      <a:pt x="91" y="15"/>
                    </a:lnTo>
                    <a:lnTo>
                      <a:pt x="87" y="9"/>
                    </a:lnTo>
                    <a:lnTo>
                      <a:pt x="83" y="4"/>
                    </a:lnTo>
                    <a:lnTo>
                      <a:pt x="80" y="4"/>
                    </a:lnTo>
                    <a:lnTo>
                      <a:pt x="78" y="6"/>
                    </a:lnTo>
                    <a:lnTo>
                      <a:pt x="76" y="8"/>
                    </a:lnTo>
                    <a:lnTo>
                      <a:pt x="76" y="9"/>
                    </a:lnTo>
                    <a:lnTo>
                      <a:pt x="76" y="13"/>
                    </a:lnTo>
                    <a:lnTo>
                      <a:pt x="74" y="15"/>
                    </a:lnTo>
                    <a:lnTo>
                      <a:pt x="63" y="8"/>
                    </a:lnTo>
                    <a:lnTo>
                      <a:pt x="52" y="0"/>
                    </a:lnTo>
                    <a:lnTo>
                      <a:pt x="46" y="4"/>
                    </a:lnTo>
                    <a:lnTo>
                      <a:pt x="44" y="9"/>
                    </a:lnTo>
                    <a:lnTo>
                      <a:pt x="43" y="13"/>
                    </a:lnTo>
                    <a:lnTo>
                      <a:pt x="43" y="19"/>
                    </a:lnTo>
                    <a:lnTo>
                      <a:pt x="44" y="30"/>
                    </a:lnTo>
                    <a:lnTo>
                      <a:pt x="46" y="43"/>
                    </a:lnTo>
                    <a:lnTo>
                      <a:pt x="39" y="54"/>
                    </a:lnTo>
                    <a:lnTo>
                      <a:pt x="31" y="65"/>
                    </a:lnTo>
                    <a:lnTo>
                      <a:pt x="30" y="74"/>
                    </a:lnTo>
                    <a:lnTo>
                      <a:pt x="26" y="81"/>
                    </a:lnTo>
                    <a:lnTo>
                      <a:pt x="19" y="81"/>
                    </a:lnTo>
                    <a:lnTo>
                      <a:pt x="13" y="81"/>
                    </a:lnTo>
                    <a:lnTo>
                      <a:pt x="6" y="93"/>
                    </a:lnTo>
                    <a:lnTo>
                      <a:pt x="0" y="105"/>
                    </a:lnTo>
                    <a:lnTo>
                      <a:pt x="17" y="133"/>
                    </a:lnTo>
                    <a:lnTo>
                      <a:pt x="31" y="155"/>
                    </a:lnTo>
                    <a:lnTo>
                      <a:pt x="24" y="159"/>
                    </a:lnTo>
                    <a:lnTo>
                      <a:pt x="19" y="161"/>
                    </a:lnTo>
                    <a:lnTo>
                      <a:pt x="15" y="165"/>
                    </a:lnTo>
                    <a:lnTo>
                      <a:pt x="13" y="168"/>
                    </a:lnTo>
                    <a:lnTo>
                      <a:pt x="11" y="178"/>
                    </a:lnTo>
                    <a:lnTo>
                      <a:pt x="11" y="190"/>
                    </a:lnTo>
                    <a:lnTo>
                      <a:pt x="19" y="190"/>
                    </a:lnTo>
                    <a:lnTo>
                      <a:pt x="28" y="192"/>
                    </a:lnTo>
                    <a:lnTo>
                      <a:pt x="30" y="211"/>
                    </a:lnTo>
                    <a:lnTo>
                      <a:pt x="35" y="229"/>
                    </a:lnTo>
                    <a:lnTo>
                      <a:pt x="41" y="235"/>
                    </a:lnTo>
                    <a:lnTo>
                      <a:pt x="46" y="237"/>
                    </a:lnTo>
                    <a:lnTo>
                      <a:pt x="50" y="239"/>
                    </a:lnTo>
                    <a:lnTo>
                      <a:pt x="56" y="240"/>
                    </a:lnTo>
                    <a:lnTo>
                      <a:pt x="65" y="240"/>
                    </a:lnTo>
                    <a:lnTo>
                      <a:pt x="72" y="242"/>
                    </a:lnTo>
                    <a:lnTo>
                      <a:pt x="78" y="246"/>
                    </a:lnTo>
                    <a:lnTo>
                      <a:pt x="80" y="251"/>
                    </a:lnTo>
                    <a:lnTo>
                      <a:pt x="87" y="266"/>
                    </a:lnTo>
                    <a:lnTo>
                      <a:pt x="94" y="283"/>
                    </a:lnTo>
                    <a:lnTo>
                      <a:pt x="104" y="287"/>
                    </a:lnTo>
                    <a:lnTo>
                      <a:pt x="113" y="292"/>
                    </a:lnTo>
                    <a:lnTo>
                      <a:pt x="118" y="299"/>
                    </a:lnTo>
                    <a:lnTo>
                      <a:pt x="120" y="307"/>
                    </a:lnTo>
                    <a:lnTo>
                      <a:pt x="126" y="309"/>
                    </a:lnTo>
                    <a:lnTo>
                      <a:pt x="131" y="309"/>
                    </a:lnTo>
                    <a:lnTo>
                      <a:pt x="139" y="307"/>
                    </a:lnTo>
                    <a:lnTo>
                      <a:pt x="146" y="303"/>
                    </a:lnTo>
                    <a:lnTo>
                      <a:pt x="144" y="298"/>
                    </a:lnTo>
                    <a:lnTo>
                      <a:pt x="142" y="292"/>
                    </a:lnTo>
                    <a:lnTo>
                      <a:pt x="137" y="288"/>
                    </a:lnTo>
                    <a:lnTo>
                      <a:pt x="133" y="287"/>
                    </a:lnTo>
                    <a:lnTo>
                      <a:pt x="128" y="285"/>
                    </a:lnTo>
                    <a:lnTo>
                      <a:pt x="124" y="283"/>
                    </a:lnTo>
                    <a:lnTo>
                      <a:pt x="122" y="281"/>
                    </a:lnTo>
                    <a:lnTo>
                      <a:pt x="122" y="277"/>
                    </a:lnTo>
                    <a:lnTo>
                      <a:pt x="140" y="279"/>
                    </a:lnTo>
                    <a:lnTo>
                      <a:pt x="159" y="283"/>
                    </a:lnTo>
                    <a:lnTo>
                      <a:pt x="161" y="279"/>
                    </a:lnTo>
                    <a:lnTo>
                      <a:pt x="155" y="274"/>
                    </a:lnTo>
                    <a:lnTo>
                      <a:pt x="153" y="270"/>
                    </a:lnTo>
                    <a:lnTo>
                      <a:pt x="153" y="266"/>
                    </a:lnTo>
                    <a:lnTo>
                      <a:pt x="153" y="263"/>
                    </a:lnTo>
                    <a:lnTo>
                      <a:pt x="157" y="259"/>
                    </a:lnTo>
                    <a:lnTo>
                      <a:pt x="177" y="263"/>
                    </a:lnTo>
                    <a:lnTo>
                      <a:pt x="205" y="263"/>
                    </a:lnTo>
                    <a:close/>
                  </a:path>
                </a:pathLst>
              </a:custGeom>
              <a:solidFill>
                <a:srgbClr val="C00000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06" name="Freeform 67"/>
              <p:cNvSpPr>
                <a:spLocks/>
              </p:cNvSpPr>
              <p:nvPr/>
            </p:nvSpPr>
            <p:spPr bwMode="auto">
              <a:xfrm>
                <a:off x="3693945" y="4289705"/>
                <a:ext cx="49570" cy="74300"/>
              </a:xfrm>
              <a:custGeom>
                <a:avLst/>
                <a:gdLst>
                  <a:gd name="T0" fmla="*/ 48 w 95"/>
                  <a:gd name="T1" fmla="*/ 94 h 146"/>
                  <a:gd name="T2" fmla="*/ 30 w 95"/>
                  <a:gd name="T3" fmla="*/ 103 h 146"/>
                  <a:gd name="T4" fmla="*/ 10 w 95"/>
                  <a:gd name="T5" fmla="*/ 103 h 146"/>
                  <a:gd name="T6" fmla="*/ 0 w 95"/>
                  <a:gd name="T7" fmla="*/ 112 h 146"/>
                  <a:gd name="T8" fmla="*/ 2 w 95"/>
                  <a:gd name="T9" fmla="*/ 127 h 146"/>
                  <a:gd name="T10" fmla="*/ 0 w 95"/>
                  <a:gd name="T11" fmla="*/ 138 h 146"/>
                  <a:gd name="T12" fmla="*/ 10 w 95"/>
                  <a:gd name="T13" fmla="*/ 146 h 146"/>
                  <a:gd name="T14" fmla="*/ 21 w 95"/>
                  <a:gd name="T15" fmla="*/ 140 h 146"/>
                  <a:gd name="T16" fmla="*/ 37 w 95"/>
                  <a:gd name="T17" fmla="*/ 131 h 146"/>
                  <a:gd name="T18" fmla="*/ 54 w 95"/>
                  <a:gd name="T19" fmla="*/ 120 h 146"/>
                  <a:gd name="T20" fmla="*/ 58 w 95"/>
                  <a:gd name="T21" fmla="*/ 122 h 146"/>
                  <a:gd name="T22" fmla="*/ 54 w 95"/>
                  <a:gd name="T23" fmla="*/ 129 h 146"/>
                  <a:gd name="T24" fmla="*/ 56 w 95"/>
                  <a:gd name="T25" fmla="*/ 136 h 146"/>
                  <a:gd name="T26" fmla="*/ 61 w 95"/>
                  <a:gd name="T27" fmla="*/ 140 h 146"/>
                  <a:gd name="T28" fmla="*/ 67 w 95"/>
                  <a:gd name="T29" fmla="*/ 140 h 146"/>
                  <a:gd name="T30" fmla="*/ 74 w 95"/>
                  <a:gd name="T31" fmla="*/ 135 h 146"/>
                  <a:gd name="T32" fmla="*/ 87 w 95"/>
                  <a:gd name="T33" fmla="*/ 120 h 146"/>
                  <a:gd name="T34" fmla="*/ 95 w 95"/>
                  <a:gd name="T35" fmla="*/ 96 h 146"/>
                  <a:gd name="T36" fmla="*/ 87 w 95"/>
                  <a:gd name="T37" fmla="*/ 66 h 146"/>
                  <a:gd name="T38" fmla="*/ 74 w 95"/>
                  <a:gd name="T39" fmla="*/ 48 h 146"/>
                  <a:gd name="T40" fmla="*/ 54 w 95"/>
                  <a:gd name="T41" fmla="*/ 38 h 146"/>
                  <a:gd name="T42" fmla="*/ 39 w 95"/>
                  <a:gd name="T43" fmla="*/ 20 h 146"/>
                  <a:gd name="T44" fmla="*/ 32 w 95"/>
                  <a:gd name="T45" fmla="*/ 5 h 146"/>
                  <a:gd name="T46" fmla="*/ 26 w 95"/>
                  <a:gd name="T47" fmla="*/ 0 h 146"/>
                  <a:gd name="T48" fmla="*/ 21 w 95"/>
                  <a:gd name="T49" fmla="*/ 3 h 146"/>
                  <a:gd name="T50" fmla="*/ 19 w 95"/>
                  <a:gd name="T51" fmla="*/ 13 h 146"/>
                  <a:gd name="T52" fmla="*/ 26 w 95"/>
                  <a:gd name="T53" fmla="*/ 27 h 146"/>
                  <a:gd name="T54" fmla="*/ 34 w 95"/>
                  <a:gd name="T55" fmla="*/ 40 h 146"/>
                  <a:gd name="T56" fmla="*/ 37 w 95"/>
                  <a:gd name="T57" fmla="*/ 55 h 146"/>
                  <a:gd name="T58" fmla="*/ 52 w 95"/>
                  <a:gd name="T59" fmla="*/ 57 h 146"/>
                  <a:gd name="T60" fmla="*/ 63 w 95"/>
                  <a:gd name="T61" fmla="*/ 62 h 146"/>
                  <a:gd name="T62" fmla="*/ 59 w 95"/>
                  <a:gd name="T63" fmla="*/ 79 h 14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95"/>
                  <a:gd name="T97" fmla="*/ 0 h 146"/>
                  <a:gd name="T98" fmla="*/ 95 w 95"/>
                  <a:gd name="T99" fmla="*/ 146 h 14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95" h="146">
                    <a:moveTo>
                      <a:pt x="56" y="86"/>
                    </a:moveTo>
                    <a:lnTo>
                      <a:pt x="48" y="94"/>
                    </a:lnTo>
                    <a:lnTo>
                      <a:pt x="39" y="99"/>
                    </a:lnTo>
                    <a:lnTo>
                      <a:pt x="30" y="103"/>
                    </a:lnTo>
                    <a:lnTo>
                      <a:pt x="21" y="105"/>
                    </a:lnTo>
                    <a:lnTo>
                      <a:pt x="10" y="103"/>
                    </a:lnTo>
                    <a:lnTo>
                      <a:pt x="0" y="105"/>
                    </a:lnTo>
                    <a:lnTo>
                      <a:pt x="0" y="112"/>
                    </a:lnTo>
                    <a:lnTo>
                      <a:pt x="4" y="120"/>
                    </a:lnTo>
                    <a:lnTo>
                      <a:pt x="2" y="127"/>
                    </a:lnTo>
                    <a:lnTo>
                      <a:pt x="2" y="133"/>
                    </a:lnTo>
                    <a:lnTo>
                      <a:pt x="0" y="138"/>
                    </a:lnTo>
                    <a:lnTo>
                      <a:pt x="4" y="144"/>
                    </a:lnTo>
                    <a:lnTo>
                      <a:pt x="10" y="146"/>
                    </a:lnTo>
                    <a:lnTo>
                      <a:pt x="15" y="144"/>
                    </a:lnTo>
                    <a:lnTo>
                      <a:pt x="21" y="140"/>
                    </a:lnTo>
                    <a:lnTo>
                      <a:pt x="26" y="136"/>
                    </a:lnTo>
                    <a:lnTo>
                      <a:pt x="37" y="131"/>
                    </a:lnTo>
                    <a:lnTo>
                      <a:pt x="48" y="122"/>
                    </a:lnTo>
                    <a:lnTo>
                      <a:pt x="54" y="120"/>
                    </a:lnTo>
                    <a:lnTo>
                      <a:pt x="58" y="120"/>
                    </a:lnTo>
                    <a:lnTo>
                      <a:pt x="58" y="122"/>
                    </a:lnTo>
                    <a:lnTo>
                      <a:pt x="56" y="125"/>
                    </a:lnTo>
                    <a:lnTo>
                      <a:pt x="54" y="129"/>
                    </a:lnTo>
                    <a:lnTo>
                      <a:pt x="54" y="133"/>
                    </a:lnTo>
                    <a:lnTo>
                      <a:pt x="56" y="136"/>
                    </a:lnTo>
                    <a:lnTo>
                      <a:pt x="59" y="138"/>
                    </a:lnTo>
                    <a:lnTo>
                      <a:pt x="61" y="140"/>
                    </a:lnTo>
                    <a:lnTo>
                      <a:pt x="65" y="140"/>
                    </a:lnTo>
                    <a:lnTo>
                      <a:pt x="67" y="140"/>
                    </a:lnTo>
                    <a:lnTo>
                      <a:pt x="71" y="138"/>
                    </a:lnTo>
                    <a:lnTo>
                      <a:pt x="74" y="135"/>
                    </a:lnTo>
                    <a:lnTo>
                      <a:pt x="80" y="129"/>
                    </a:lnTo>
                    <a:lnTo>
                      <a:pt x="87" y="120"/>
                    </a:lnTo>
                    <a:lnTo>
                      <a:pt x="91" y="107"/>
                    </a:lnTo>
                    <a:lnTo>
                      <a:pt x="95" y="96"/>
                    </a:lnTo>
                    <a:lnTo>
                      <a:pt x="95" y="83"/>
                    </a:lnTo>
                    <a:lnTo>
                      <a:pt x="87" y="66"/>
                    </a:lnTo>
                    <a:lnTo>
                      <a:pt x="82" y="51"/>
                    </a:lnTo>
                    <a:lnTo>
                      <a:pt x="74" y="48"/>
                    </a:lnTo>
                    <a:lnTo>
                      <a:pt x="65" y="46"/>
                    </a:lnTo>
                    <a:lnTo>
                      <a:pt x="54" y="38"/>
                    </a:lnTo>
                    <a:lnTo>
                      <a:pt x="45" y="27"/>
                    </a:lnTo>
                    <a:lnTo>
                      <a:pt x="39" y="20"/>
                    </a:lnTo>
                    <a:lnTo>
                      <a:pt x="34" y="9"/>
                    </a:lnTo>
                    <a:lnTo>
                      <a:pt x="32" y="5"/>
                    </a:lnTo>
                    <a:lnTo>
                      <a:pt x="30" y="1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1" y="3"/>
                    </a:lnTo>
                    <a:lnTo>
                      <a:pt x="19" y="7"/>
                    </a:lnTo>
                    <a:lnTo>
                      <a:pt x="19" y="13"/>
                    </a:lnTo>
                    <a:lnTo>
                      <a:pt x="21" y="18"/>
                    </a:lnTo>
                    <a:lnTo>
                      <a:pt x="26" y="27"/>
                    </a:lnTo>
                    <a:lnTo>
                      <a:pt x="32" y="35"/>
                    </a:lnTo>
                    <a:lnTo>
                      <a:pt x="34" y="40"/>
                    </a:lnTo>
                    <a:lnTo>
                      <a:pt x="34" y="48"/>
                    </a:lnTo>
                    <a:lnTo>
                      <a:pt x="37" y="55"/>
                    </a:lnTo>
                    <a:lnTo>
                      <a:pt x="41" y="61"/>
                    </a:lnTo>
                    <a:lnTo>
                      <a:pt x="52" y="57"/>
                    </a:lnTo>
                    <a:lnTo>
                      <a:pt x="59" y="55"/>
                    </a:lnTo>
                    <a:lnTo>
                      <a:pt x="63" y="62"/>
                    </a:lnTo>
                    <a:lnTo>
                      <a:pt x="61" y="70"/>
                    </a:lnTo>
                    <a:lnTo>
                      <a:pt x="59" y="79"/>
                    </a:lnTo>
                    <a:lnTo>
                      <a:pt x="56" y="86"/>
                    </a:lnTo>
                    <a:close/>
                  </a:path>
                </a:pathLst>
              </a:custGeom>
              <a:solidFill>
                <a:srgbClr val="C00000"/>
              </a:solidFill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>
                  <a:solidFill>
                    <a:srgbClr val="414142"/>
                  </a:solidFill>
                  <a:latin typeface="Arial Narrow" panose="020B0606020202030204" pitchFamily="34" charset="0"/>
                </a:endParaRPr>
              </a:p>
            </p:txBody>
          </p:sp>
        </p:grpSp>
      </p:grpSp>
      <p:sp>
        <p:nvSpPr>
          <p:cNvPr id="314" name="Овал 313"/>
          <p:cNvSpPr>
            <a:spLocks noChangeAspect="1"/>
          </p:cNvSpPr>
          <p:nvPr/>
        </p:nvSpPr>
        <p:spPr>
          <a:xfrm rot="2060623">
            <a:off x="3778866" y="1837452"/>
            <a:ext cx="1656000" cy="1242000"/>
          </a:xfrm>
          <a:prstGeom prst="ellipse">
            <a:avLst/>
          </a:prstGeom>
          <a:noFill/>
          <a:ln w="12700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159" name="Прямоугольник 158"/>
          <p:cNvSpPr/>
          <p:nvPr/>
        </p:nvSpPr>
        <p:spPr>
          <a:xfrm>
            <a:off x="4727794" y="2783560"/>
            <a:ext cx="2580511" cy="369332"/>
          </a:xfrm>
          <a:prstGeom prst="rect">
            <a:avLst/>
          </a:prstGeom>
          <a:solidFill>
            <a:schemeClr val="bg1">
              <a:alpha val="71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ru-RU" sz="1200" dirty="0" smtClean="0">
                <a:solidFill>
                  <a:schemeClr val="bg2"/>
                </a:solidFill>
                <a:latin typeface="Arial Narrow" panose="020B0606020202030204" pitchFamily="34" charset="0"/>
                <a:ea typeface="Yu Gothic Light" panose="020B0300000000000000" pitchFamily="34" charset="-128"/>
              </a:rPr>
              <a:t>Республика Адыгея, Краснодарский край, Ростовская область, Ставропольский край</a:t>
            </a:r>
            <a:endParaRPr lang="ru-RU" sz="1200" dirty="0">
              <a:solidFill>
                <a:schemeClr val="bg2"/>
              </a:solidFill>
              <a:latin typeface="Arial Narrow" panose="020B0606020202030204" pitchFamily="34" charset="0"/>
              <a:ea typeface="Yu Gothic Light" panose="020B0300000000000000" pitchFamily="34" charset="-128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567453" y="1646816"/>
            <a:ext cx="196607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Годовая мощность завода </a:t>
            </a:r>
            <a:b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</a:br>
            <a:r>
              <a:rPr lang="ru-RU" sz="1200" b="1" dirty="0" smtClean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по производству и сборке ВЭУ</a:t>
            </a:r>
            <a:endParaRPr lang="ru-RU" sz="1200" b="1" dirty="0">
              <a:solidFill>
                <a:srgbClr val="2972A7"/>
              </a:solidFill>
              <a:latin typeface="Arial Narrow" panose="020B0606020202030204" pitchFamily="34" charset="0"/>
              <a:ea typeface="Yu Gothic UI Light" panose="020B0300000000000000" pitchFamily="34" charset="-128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323528" y="4840003"/>
            <a:ext cx="792088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* Далее Программа</a:t>
            </a:r>
            <a:endParaRPr lang="ru-RU" sz="9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16778" y="835538"/>
            <a:ext cx="22452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rgbClr val="336699"/>
                </a:solidFill>
                <a:latin typeface="Arial Narrow" panose="020B0606020202030204" pitchFamily="34" charset="0"/>
              </a:rPr>
              <a:t>150 </a:t>
            </a:r>
            <a:r>
              <a:rPr lang="ru-RU" sz="3600" b="1" dirty="0">
                <a:solidFill>
                  <a:srgbClr val="336699"/>
                </a:solidFill>
                <a:latin typeface="Arial Narrow" panose="020B0606020202030204" pitchFamily="34" charset="0"/>
              </a:rPr>
              <a:t>МВт</a:t>
            </a:r>
            <a:r>
              <a:rPr lang="ru-RU" sz="4800" b="1" dirty="0" smtClean="0">
                <a:solidFill>
                  <a:srgbClr val="336699"/>
                </a:solidFill>
                <a:latin typeface="Arial Narrow" panose="020B0606020202030204" pitchFamily="34" charset="0"/>
              </a:rPr>
              <a:t> </a:t>
            </a:r>
            <a:endParaRPr lang="ru-RU" sz="4800" b="1" dirty="0">
              <a:solidFill>
                <a:srgbClr val="336699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78075" y="904787"/>
            <a:ext cx="22196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Строительство первого </a:t>
            </a:r>
            <a:r>
              <a:rPr lang="ru-RU" sz="1200" b="1" dirty="0" err="1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ветропарка</a:t>
            </a:r>
            <a:r>
              <a:rPr lang="ru-RU" sz="1200" b="1" dirty="0">
                <a:solidFill>
                  <a:srgbClr val="2972A7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 в Республике Адыгея в 2018 году</a:t>
            </a:r>
          </a:p>
        </p:txBody>
      </p:sp>
    </p:spTree>
    <p:extLst>
      <p:ext uri="{BB962C8B-B14F-4D97-AF65-F5344CB8AC3E}">
        <p14:creationId xmlns:p14="http://schemas.microsoft.com/office/powerpoint/2010/main" val="42056025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28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E3B895D5-17B5-4627-AA85-DD941E85EB71}" type="slidenum">
              <a:rPr lang="ru-RU" altLang="ru-RU" smtClean="0">
                <a:solidFill>
                  <a:schemeClr val="hlink"/>
                </a:solidFill>
                <a:latin typeface="Arial Narrow" panose="020B0606020202030204" pitchFamily="34" charset="0"/>
              </a:rPr>
              <a:pPr/>
              <a:t>3</a:t>
            </a:fld>
            <a:endParaRPr lang="ru-RU" altLang="ru-RU" dirty="0" smtClean="0">
              <a:solidFill>
                <a:schemeClr val="hlink"/>
              </a:solidFill>
              <a:latin typeface="Arial Narrow" panose="020B0606020202030204" pitchFamily="34" charset="0"/>
            </a:endParaRPr>
          </a:p>
        </p:txBody>
      </p:sp>
      <p:sp>
        <p:nvSpPr>
          <p:cNvPr id="24" name="AutoShape 3"/>
          <p:cNvSpPr>
            <a:spLocks/>
          </p:cNvSpPr>
          <p:nvPr/>
        </p:nvSpPr>
        <p:spPr bwMode="auto">
          <a:xfrm>
            <a:off x="8532440" y="1282301"/>
            <a:ext cx="4170362" cy="1645016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/>
        </p:spPr>
        <p:txBody>
          <a:bodyPr lIns="0" tIns="0" rIns="0" bIns="0"/>
          <a:lstStyle/>
          <a:p>
            <a:pPr marL="342900" indent="-342900" eaLnBrk="1" hangingPunct="1">
              <a:spcBef>
                <a:spcPts val="600"/>
              </a:spcBef>
              <a:buFont typeface="+mj-lt"/>
              <a:buAutoNum type="arabicPeriod"/>
              <a:defRPr/>
            </a:pPr>
            <a:endParaRPr lang="ru-RU" altLang="ru-RU" sz="1200" dirty="0">
              <a:solidFill>
                <a:srgbClr val="2972A7"/>
              </a:solidFill>
              <a:latin typeface="Arial Narrow" panose="020B0606020202030204" pitchFamily="34" charset="0"/>
            </a:endParaRPr>
          </a:p>
        </p:txBody>
      </p:sp>
      <p:pic>
        <p:nvPicPr>
          <p:cNvPr id="10" name="Picture 2" descr="S:\Ресурсы подразделений\Блок директора по стратегии и инвестициям\Аналитический отдел\Презентации\2016 12 01 Про ОТЭК\Вспомогательные материалы\Lagerwey\У озера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" t="-514" r="-315" b="57113"/>
          <a:stretch/>
        </p:blipFill>
        <p:spPr bwMode="auto">
          <a:xfrm>
            <a:off x="373272" y="827497"/>
            <a:ext cx="8484130" cy="389528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Скругленный прямоугольник 40"/>
          <p:cNvSpPr/>
          <p:nvPr/>
        </p:nvSpPr>
        <p:spPr>
          <a:xfrm>
            <a:off x="901084" y="4479766"/>
            <a:ext cx="4376312" cy="19821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2" name="Прямоугольник 1"/>
          <p:cNvSpPr/>
          <p:nvPr/>
        </p:nvSpPr>
        <p:spPr>
          <a:xfrm>
            <a:off x="942861" y="932689"/>
            <a:ext cx="4314706" cy="3727294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graphicFrame>
        <p:nvGraphicFramePr>
          <p:cNvPr id="13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9272539"/>
              </p:ext>
            </p:extLst>
          </p:nvPr>
        </p:nvGraphicFramePr>
        <p:xfrm>
          <a:off x="971600" y="3100412"/>
          <a:ext cx="4248472" cy="148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4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8354" l="0" r="99448">
                        <a14:foregroundMark x1="47514" y1="26749" x2="51381" y2="9053"/>
                        <a14:foregroundMark x1="51934" y1="43210" x2="51934" y2="43210"/>
                        <a14:foregroundMark x1="33149" y1="49383" x2="18785" y2="55967"/>
                        <a14:foregroundMark x1="66298" y1="48560" x2="83978" y2="55967"/>
                      </a14:backgroundRemoval>
                    </a14:imgEffect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222" y="3303215"/>
            <a:ext cx="1133720" cy="1138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8354" l="0" r="99448">
                        <a14:foregroundMark x1="47514" y1="26749" x2="51381" y2="9053"/>
                        <a14:foregroundMark x1="51934" y1="43210" x2="51934" y2="43210"/>
                        <a14:foregroundMark x1="33149" y1="49383" x2="18785" y2="55967"/>
                        <a14:foregroundMark x1="66298" y1="48560" x2="83978" y2="55967"/>
                      </a14:backgroundRemoval>
                    </a14:imgEffect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407" y="3538471"/>
            <a:ext cx="899552" cy="903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8354" l="0" r="99448">
                        <a14:foregroundMark x1="47514" y1="26749" x2="51381" y2="9053"/>
                        <a14:foregroundMark x1="51934" y1="43210" x2="51934" y2="43210"/>
                        <a14:foregroundMark x1="33149" y1="49383" x2="18785" y2="55967"/>
                        <a14:foregroundMark x1="66298" y1="48560" x2="83978" y2="55967"/>
                      </a14:backgroundRemoval>
                    </a14:imgEffect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8130" y="3627797"/>
            <a:ext cx="810638" cy="814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C:\Users\YAZhartanov\Desktop\2016-12-07_191351.pn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8354" l="0" r="99448">
                        <a14:foregroundMark x1="47514" y1="26749" x2="51381" y2="9053"/>
                        <a14:foregroundMark x1="51934" y1="43210" x2="51934" y2="43210"/>
                        <a14:foregroundMark x1="33149" y1="49383" x2="18785" y2="55967"/>
                        <a14:foregroundMark x1="66298" y1="48560" x2="83978" y2="55967"/>
                      </a14:backgroundRemoval>
                    </a14:imgEffect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209" y="3900184"/>
            <a:ext cx="539512" cy="542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704" y="980197"/>
            <a:ext cx="1678586" cy="3923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Овал 2"/>
          <p:cNvSpPr/>
          <p:nvPr/>
        </p:nvSpPr>
        <p:spPr>
          <a:xfrm>
            <a:off x="954704" y="2093588"/>
            <a:ext cx="1408176" cy="1056132"/>
          </a:xfrm>
          <a:prstGeom prst="ellipse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043608" y="1995686"/>
            <a:ext cx="1207576" cy="6698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4800">
                <a:solidFill>
                  <a:srgbClr val="2972A7"/>
                </a:solidFill>
                <a:latin typeface="Arial Narrow" panose="020B0606020202030204" pitchFamily="34" charset="0"/>
              </a:defRPr>
            </a:lvl1pPr>
          </a:lstStyle>
          <a:p>
            <a:pPr>
              <a:lnSpc>
                <a:spcPts val="2500"/>
              </a:lnSpc>
            </a:pPr>
            <a:r>
              <a:rPr lang="ru-RU" sz="3200" b="1" dirty="0" smtClean="0">
                <a:solidFill>
                  <a:srgbClr val="336699"/>
                </a:solidFill>
              </a:rPr>
              <a:t>38 </a:t>
            </a:r>
            <a:r>
              <a:rPr lang="en-US" sz="3200" b="1" dirty="0" smtClean="0">
                <a:solidFill>
                  <a:srgbClr val="336699"/>
                </a:solidFill>
              </a:rPr>
              <a:t/>
            </a:r>
            <a:br>
              <a:rPr lang="en-US" sz="3200" b="1" dirty="0" smtClean="0">
                <a:solidFill>
                  <a:srgbClr val="336699"/>
                </a:solidFill>
              </a:rPr>
            </a:br>
            <a:r>
              <a:rPr lang="ru-RU" sz="3200" b="1" dirty="0" smtClean="0">
                <a:solidFill>
                  <a:srgbClr val="336699"/>
                </a:solidFill>
              </a:rPr>
              <a:t>лет</a:t>
            </a:r>
            <a:endParaRPr lang="ru-RU" sz="3200" b="1" dirty="0">
              <a:solidFill>
                <a:srgbClr val="336699"/>
              </a:solidFill>
            </a:endParaRPr>
          </a:p>
        </p:txBody>
      </p:sp>
      <p:sp>
        <p:nvSpPr>
          <p:cNvPr id="22" name="Прямоугольник 34"/>
          <p:cNvSpPr/>
          <p:nvPr/>
        </p:nvSpPr>
        <p:spPr>
          <a:xfrm>
            <a:off x="1055003" y="2642228"/>
            <a:ext cx="12075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smtClean="0">
                <a:solidFill>
                  <a:srgbClr val="2972A7"/>
                </a:solidFill>
                <a:latin typeface="Arial Narrow" panose="020B0606020202030204" pitchFamily="34" charset="0"/>
              </a:rPr>
              <a:t>Опыт разработки и производства ВЭУ</a:t>
            </a:r>
            <a:endParaRPr lang="ru-RU" sz="1000" dirty="0">
              <a:solidFill>
                <a:srgbClr val="2972A7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Овал 33"/>
          <p:cNvSpPr/>
          <p:nvPr/>
        </p:nvSpPr>
        <p:spPr>
          <a:xfrm>
            <a:off x="2389677" y="2093588"/>
            <a:ext cx="1408176" cy="1056132"/>
          </a:xfrm>
          <a:prstGeom prst="ellipse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411760" y="1995686"/>
            <a:ext cx="1366304" cy="6698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4800">
                <a:solidFill>
                  <a:srgbClr val="2972A7"/>
                </a:solidFill>
                <a:latin typeface="Arial Narrow" panose="020B0606020202030204" pitchFamily="34" charset="0"/>
              </a:defRPr>
            </a:lvl1pPr>
          </a:lstStyle>
          <a:p>
            <a:pPr>
              <a:lnSpc>
                <a:spcPts val="2500"/>
              </a:lnSpc>
            </a:pPr>
            <a:r>
              <a:rPr lang="ru-RU" sz="3200" b="1" dirty="0" smtClean="0">
                <a:solidFill>
                  <a:srgbClr val="336699"/>
                </a:solidFill>
              </a:rPr>
              <a:t>1 223 </a:t>
            </a:r>
            <a:r>
              <a:rPr lang="en-US" sz="3200" b="1" dirty="0" smtClean="0">
                <a:solidFill>
                  <a:srgbClr val="336699"/>
                </a:solidFill>
              </a:rPr>
              <a:t/>
            </a:r>
            <a:br>
              <a:rPr lang="en-US" sz="3200" b="1" dirty="0" smtClean="0">
                <a:solidFill>
                  <a:srgbClr val="336699"/>
                </a:solidFill>
              </a:rPr>
            </a:br>
            <a:r>
              <a:rPr lang="ru-RU" sz="3200" b="1" dirty="0" smtClean="0">
                <a:solidFill>
                  <a:srgbClr val="336699"/>
                </a:solidFill>
              </a:rPr>
              <a:t>ВЭУ</a:t>
            </a:r>
            <a:endParaRPr lang="ru-RU" sz="3200" b="1" dirty="0">
              <a:solidFill>
                <a:srgbClr val="336699"/>
              </a:solidFill>
            </a:endParaRPr>
          </a:p>
        </p:txBody>
      </p:sp>
      <p:sp>
        <p:nvSpPr>
          <p:cNvPr id="28" name="Прямоугольник 36"/>
          <p:cNvSpPr/>
          <p:nvPr/>
        </p:nvSpPr>
        <p:spPr>
          <a:xfrm>
            <a:off x="2511408" y="2642228"/>
            <a:ext cx="120757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smtClean="0">
                <a:solidFill>
                  <a:srgbClr val="2972A7"/>
                </a:solidFill>
                <a:latin typeface="Arial Narrow" panose="020B0606020202030204" pitchFamily="34" charset="0"/>
              </a:rPr>
              <a:t>Количество эксплуатируемых ВЭУ</a:t>
            </a:r>
            <a:endParaRPr lang="ru-RU" sz="1000" dirty="0">
              <a:solidFill>
                <a:srgbClr val="2972A7"/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Овал 31"/>
          <p:cNvSpPr/>
          <p:nvPr/>
        </p:nvSpPr>
        <p:spPr>
          <a:xfrm>
            <a:off x="3815373" y="2093588"/>
            <a:ext cx="1408176" cy="1056132"/>
          </a:xfrm>
          <a:prstGeom prst="ellipse">
            <a:avLst/>
          </a:prstGeom>
          <a:solidFill>
            <a:schemeClr val="bg1"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Arial Narrow" panose="020B060602020203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851920" y="1995686"/>
            <a:ext cx="1207576" cy="6698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4800">
                <a:solidFill>
                  <a:srgbClr val="2972A7"/>
                </a:solidFill>
                <a:latin typeface="Arial Narrow" panose="020B0606020202030204" pitchFamily="34" charset="0"/>
              </a:defRPr>
            </a:lvl1pPr>
          </a:lstStyle>
          <a:p>
            <a:pPr>
              <a:lnSpc>
                <a:spcPts val="2500"/>
              </a:lnSpc>
            </a:pPr>
            <a:r>
              <a:rPr lang="ru-RU" sz="3200" b="1" dirty="0" smtClean="0">
                <a:solidFill>
                  <a:srgbClr val="336699"/>
                </a:solidFill>
              </a:rPr>
              <a:t>10</a:t>
            </a:r>
            <a:endParaRPr lang="en-US" sz="3200" b="1" dirty="0">
              <a:solidFill>
                <a:srgbClr val="336699"/>
              </a:solidFill>
            </a:endParaRPr>
          </a:p>
          <a:p>
            <a:pPr>
              <a:lnSpc>
                <a:spcPts val="2500"/>
              </a:lnSpc>
            </a:pPr>
            <a:r>
              <a:rPr lang="ru-RU" sz="3200" b="1" dirty="0" smtClean="0">
                <a:solidFill>
                  <a:srgbClr val="336699"/>
                </a:solidFill>
              </a:rPr>
              <a:t>стран</a:t>
            </a:r>
            <a:endParaRPr lang="ru-RU" sz="3200" b="1" dirty="0">
              <a:solidFill>
                <a:srgbClr val="336699"/>
              </a:solidFill>
            </a:endParaRPr>
          </a:p>
        </p:txBody>
      </p:sp>
      <p:sp>
        <p:nvSpPr>
          <p:cNvPr id="30" name="Прямоугольник 38"/>
          <p:cNvSpPr/>
          <p:nvPr/>
        </p:nvSpPr>
        <p:spPr>
          <a:xfrm>
            <a:off x="3892099" y="2757644"/>
            <a:ext cx="120757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dirty="0" smtClean="0">
                <a:solidFill>
                  <a:srgbClr val="2972A7"/>
                </a:solidFill>
                <a:latin typeface="Arial Narrow" panose="020B0606020202030204" pitchFamily="34" charset="0"/>
              </a:rPr>
              <a:t>Рынки</a:t>
            </a:r>
            <a:endParaRPr lang="ru-RU" sz="1000" dirty="0">
              <a:solidFill>
                <a:srgbClr val="2972A7"/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11789" y="3036958"/>
            <a:ext cx="34173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ctr">
              <a:defRPr sz="1000" i="1">
                <a:solidFill>
                  <a:srgbClr val="2972A7"/>
                </a:solidFill>
                <a:latin typeface="Georgia" panose="02040502050405020303" pitchFamily="18" charset="0"/>
              </a:defRPr>
            </a:lvl1pPr>
          </a:lstStyle>
          <a:p>
            <a:pPr algn="l"/>
            <a:r>
              <a:rPr lang="ru-RU" sz="1200" b="1" i="0" dirty="0">
                <a:latin typeface="Arial Narrow" panose="020B0606020202030204" pitchFamily="34" charset="0"/>
                <a:ea typeface="Yu Gothic UI Light" panose="020B0300000000000000" pitchFamily="34" charset="-128"/>
              </a:rPr>
              <a:t>Количество установленных ВЭУ </a:t>
            </a:r>
            <a:r>
              <a:rPr lang="en-US" sz="1200" b="1" i="0" dirty="0" err="1">
                <a:latin typeface="Arial Narrow" panose="020B0606020202030204" pitchFamily="34" charset="0"/>
                <a:ea typeface="Yu Gothic UI Light" panose="020B0300000000000000" pitchFamily="34" charset="-128"/>
              </a:rPr>
              <a:t>Lagerwey</a:t>
            </a:r>
            <a:r>
              <a:rPr lang="ru-RU" sz="1200" b="1" i="0" dirty="0">
                <a:latin typeface="Arial Narrow" panose="020B0606020202030204" pitchFamily="34" charset="0"/>
                <a:ea typeface="Yu Gothic UI Light" panose="020B0300000000000000" pitchFamily="34" charset="-128"/>
              </a:rPr>
              <a:t> в мире, ед.</a:t>
            </a:r>
          </a:p>
        </p:txBody>
      </p:sp>
      <p:sp>
        <p:nvSpPr>
          <p:cNvPr id="33" name="Прямоугольник 45"/>
          <p:cNvSpPr/>
          <p:nvPr/>
        </p:nvSpPr>
        <p:spPr>
          <a:xfrm>
            <a:off x="7814327" y="2199473"/>
            <a:ext cx="112270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Прямой привод</a:t>
            </a:r>
            <a:endParaRPr lang="ru-RU" sz="1200" dirty="0">
              <a:solidFill>
                <a:schemeClr val="bg1"/>
              </a:solidFill>
              <a:latin typeface="Arial Narrow" panose="020B0606020202030204" pitchFamily="34" charset="0"/>
              <a:ea typeface="Yu Gothic UI Light" panose="020B0300000000000000" pitchFamily="34" charset="-128"/>
            </a:endParaRPr>
          </a:p>
        </p:txBody>
      </p:sp>
      <p:sp>
        <p:nvSpPr>
          <p:cNvPr id="34" name="Прямоугольник 39"/>
          <p:cNvSpPr/>
          <p:nvPr/>
        </p:nvSpPr>
        <p:spPr>
          <a:xfrm>
            <a:off x="6437083" y="1722130"/>
            <a:ext cx="252359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Частота вращения ротора 15,3 об/мин</a:t>
            </a:r>
            <a:endParaRPr lang="ru-RU" sz="1200" dirty="0">
              <a:solidFill>
                <a:schemeClr val="bg1"/>
              </a:solidFill>
              <a:latin typeface="Arial Narrow" panose="020B0606020202030204" pitchFamily="34" charset="0"/>
              <a:ea typeface="Yu Gothic UI Light" panose="020B0300000000000000" pitchFamily="34" charset="-128"/>
            </a:endParaRPr>
          </a:p>
        </p:txBody>
      </p:sp>
      <p:sp>
        <p:nvSpPr>
          <p:cNvPr id="35" name="Прямоугольник 42"/>
          <p:cNvSpPr/>
          <p:nvPr/>
        </p:nvSpPr>
        <p:spPr>
          <a:xfrm>
            <a:off x="7408579" y="2038394"/>
            <a:ext cx="14370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Диаметр ротора 100 м</a:t>
            </a:r>
            <a:endParaRPr lang="ru-RU" sz="1200" dirty="0">
              <a:solidFill>
                <a:schemeClr val="bg1"/>
              </a:solidFill>
              <a:latin typeface="Arial Narrow" panose="020B0606020202030204" pitchFamily="34" charset="0"/>
              <a:ea typeface="Yu Gothic UI Light" panose="020B0300000000000000" pitchFamily="34" charset="-128"/>
            </a:endParaRPr>
          </a:p>
        </p:txBody>
      </p:sp>
      <p:sp>
        <p:nvSpPr>
          <p:cNvPr id="36" name="Прямоугольник 46"/>
          <p:cNvSpPr/>
          <p:nvPr/>
        </p:nvSpPr>
        <p:spPr>
          <a:xfrm>
            <a:off x="6788087" y="1883210"/>
            <a:ext cx="205751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 Narrow" panose="020B0606020202030204" pitchFamily="34" charset="0"/>
                <a:ea typeface="Yu Gothic UI Light" panose="020B0300000000000000" pitchFamily="34" charset="-128"/>
              </a:rPr>
              <a:t>Стартовая скорость ветра 2,1 м/с</a:t>
            </a:r>
            <a:endParaRPr lang="ru-RU" sz="1200" dirty="0">
              <a:solidFill>
                <a:schemeClr val="bg1"/>
              </a:solidFill>
              <a:latin typeface="Arial Narrow" panose="020B0606020202030204" pitchFamily="34" charset="0"/>
              <a:ea typeface="Yu Gothic UI Light" panose="020B0300000000000000" pitchFamily="34" charset="-128"/>
            </a:endParaRPr>
          </a:p>
        </p:txBody>
      </p:sp>
      <p:grpSp>
        <p:nvGrpSpPr>
          <p:cNvPr id="37" name="Группа 7"/>
          <p:cNvGrpSpPr/>
          <p:nvPr/>
        </p:nvGrpSpPr>
        <p:grpSpPr>
          <a:xfrm>
            <a:off x="7218132" y="932923"/>
            <a:ext cx="756000" cy="567000"/>
            <a:chOff x="6860326" y="1124626"/>
            <a:chExt cx="756000" cy="756000"/>
          </a:xfrm>
        </p:grpSpPr>
        <p:pic>
          <p:nvPicPr>
            <p:cNvPr id="38" name="Рисунок 3"/>
            <p:cNvPicPr>
              <a:picLocks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50326" y="1214626"/>
              <a:ext cx="576000" cy="576000"/>
            </a:xfrm>
            <a:prstGeom prst="flowChartConnector">
              <a:avLst/>
            </a:prstGeom>
          </p:spPr>
        </p:pic>
        <p:sp>
          <p:nvSpPr>
            <p:cNvPr id="39" name="Кольцо 6"/>
            <p:cNvSpPr/>
            <p:nvPr/>
          </p:nvSpPr>
          <p:spPr>
            <a:xfrm>
              <a:off x="6860326" y="1124626"/>
              <a:ext cx="756000" cy="756000"/>
            </a:xfrm>
            <a:prstGeom prst="donut">
              <a:avLst>
                <a:gd name="adj" fmla="val 11483"/>
              </a:avLst>
            </a:prstGeom>
            <a:solidFill>
              <a:schemeClr val="bg1"/>
            </a:solidFill>
            <a:ln w="12700">
              <a:solidFill>
                <a:srgbClr val="00327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40" name="Группа 9"/>
          <p:cNvGrpSpPr/>
          <p:nvPr/>
        </p:nvGrpSpPr>
        <p:grpSpPr>
          <a:xfrm>
            <a:off x="8002951" y="932923"/>
            <a:ext cx="756000" cy="567000"/>
            <a:chOff x="7788263" y="1124626"/>
            <a:chExt cx="756000" cy="756000"/>
          </a:xfrm>
        </p:grpSpPr>
        <p:pic>
          <p:nvPicPr>
            <p:cNvPr id="41" name="Рисунок 5"/>
            <p:cNvPicPr>
              <a:picLocks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8263" y="1219787"/>
              <a:ext cx="576000" cy="576000"/>
            </a:xfrm>
            <a:prstGeom prst="flowChartConnector">
              <a:avLst/>
            </a:prstGeom>
          </p:spPr>
        </p:pic>
        <p:sp>
          <p:nvSpPr>
            <p:cNvPr id="42" name="Кольцо 32"/>
            <p:cNvSpPr/>
            <p:nvPr/>
          </p:nvSpPr>
          <p:spPr>
            <a:xfrm>
              <a:off x="7788263" y="1124626"/>
              <a:ext cx="756000" cy="756000"/>
            </a:xfrm>
            <a:prstGeom prst="donut">
              <a:avLst>
                <a:gd name="adj" fmla="val 11483"/>
              </a:avLst>
            </a:prstGeom>
            <a:solidFill>
              <a:schemeClr val="bg1"/>
            </a:solidFill>
            <a:ln w="12700">
              <a:solidFill>
                <a:srgbClr val="00327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43" name="Заголовок 1"/>
          <p:cNvSpPr>
            <a:spLocks noGrp="1"/>
          </p:cNvSpPr>
          <p:nvPr>
            <p:ph type="title"/>
          </p:nvPr>
        </p:nvSpPr>
        <p:spPr>
          <a:xfrm>
            <a:off x="297129" y="54006"/>
            <a:ext cx="7962635" cy="62753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ru-RU" sz="1800" kern="1200" dirty="0"/>
              <a:t>В декабре 2016 г. выбран технологический партнер </a:t>
            </a:r>
            <a:r>
              <a:rPr lang="ru-RU" sz="1800" kern="1200" dirty="0" smtClean="0"/>
              <a:t>АО «</a:t>
            </a:r>
            <a:r>
              <a:rPr lang="ru-RU" sz="1800" kern="1200" dirty="0" err="1" smtClean="0"/>
              <a:t>НоваВинд</a:t>
            </a:r>
            <a:r>
              <a:rPr lang="ru-RU" sz="1800" kern="1200" dirty="0" smtClean="0"/>
              <a:t>» </a:t>
            </a:r>
            <a:r>
              <a:rPr lang="ru-RU" sz="1800" kern="1200" dirty="0"/>
              <a:t>- голландская компания </a:t>
            </a:r>
            <a:r>
              <a:rPr lang="en-US" sz="1800" kern="1200" dirty="0"/>
              <a:t>Lagerwey</a:t>
            </a:r>
            <a:endParaRPr lang="ru-RU" sz="1800" kern="1200" dirty="0"/>
          </a:p>
        </p:txBody>
      </p:sp>
    </p:spTree>
    <p:extLst>
      <p:ext uri="{BB962C8B-B14F-4D97-AF65-F5344CB8AC3E}">
        <p14:creationId xmlns:p14="http://schemas.microsoft.com/office/powerpoint/2010/main" val="12754028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ебования по локализации – дополнительные возможности для российской энергетической отрасли</a:t>
            </a:r>
            <a:endParaRPr lang="ru-RU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892451"/>
            <a:ext cx="3060700" cy="3026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RbLeanShape Arrow Option 1 2"/>
          <p:cNvSpPr/>
          <p:nvPr/>
        </p:nvSpPr>
        <p:spPr>
          <a:xfrm flipH="1">
            <a:off x="3366005" y="1028989"/>
            <a:ext cx="5276434" cy="3558986"/>
          </a:xfrm>
          <a:custGeom>
            <a:avLst/>
            <a:gdLst>
              <a:gd name="connsiteX0" fmla="*/ 0 w 5524500"/>
              <a:gd name="connsiteY0" fmla="*/ 0 h 4583114"/>
              <a:gd name="connsiteX1" fmla="*/ 5061743 w 5524500"/>
              <a:gd name="connsiteY1" fmla="*/ 0 h 4583114"/>
              <a:gd name="connsiteX2" fmla="*/ 5524500 w 5524500"/>
              <a:gd name="connsiteY2" fmla="*/ 2291557 h 4583114"/>
              <a:gd name="connsiteX3" fmla="*/ 5061743 w 5524500"/>
              <a:gd name="connsiteY3" fmla="*/ 4583114 h 4583114"/>
              <a:gd name="connsiteX4" fmla="*/ 0 w 5524500"/>
              <a:gd name="connsiteY4" fmla="*/ 4583114 h 4583114"/>
              <a:gd name="connsiteX5" fmla="*/ 0 w 5524500"/>
              <a:gd name="connsiteY5" fmla="*/ 0 h 4583114"/>
              <a:gd name="connsiteX0" fmla="*/ 0 w 5524500"/>
              <a:gd name="connsiteY0" fmla="*/ 0 h 4583114"/>
              <a:gd name="connsiteX1" fmla="*/ 5061743 w 5524500"/>
              <a:gd name="connsiteY1" fmla="*/ 0 h 4583114"/>
              <a:gd name="connsiteX2" fmla="*/ 5524500 w 5524500"/>
              <a:gd name="connsiteY2" fmla="*/ 2291557 h 4583114"/>
              <a:gd name="connsiteX3" fmla="*/ 5061743 w 5524500"/>
              <a:gd name="connsiteY3" fmla="*/ 4583114 h 4583114"/>
              <a:gd name="connsiteX4" fmla="*/ 0 w 5524500"/>
              <a:gd name="connsiteY4" fmla="*/ 4583114 h 4583114"/>
              <a:gd name="connsiteX5" fmla="*/ 91440 w 5524500"/>
              <a:gd name="connsiteY5" fmla="*/ 91440 h 4583114"/>
              <a:gd name="connsiteX0" fmla="*/ 0 w 5524500"/>
              <a:gd name="connsiteY0" fmla="*/ 0 h 4583114"/>
              <a:gd name="connsiteX1" fmla="*/ 5061743 w 5524500"/>
              <a:gd name="connsiteY1" fmla="*/ 0 h 4583114"/>
              <a:gd name="connsiteX2" fmla="*/ 5524500 w 5524500"/>
              <a:gd name="connsiteY2" fmla="*/ 2291557 h 4583114"/>
              <a:gd name="connsiteX3" fmla="*/ 5061743 w 5524500"/>
              <a:gd name="connsiteY3" fmla="*/ 4583114 h 4583114"/>
              <a:gd name="connsiteX4" fmla="*/ 0 w 5524500"/>
              <a:gd name="connsiteY4" fmla="*/ 4583114 h 4583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24500" h="4583114">
                <a:moveTo>
                  <a:pt x="0" y="0"/>
                </a:moveTo>
                <a:lnTo>
                  <a:pt x="5061743" y="0"/>
                </a:lnTo>
                <a:lnTo>
                  <a:pt x="5524500" y="2291557"/>
                </a:lnTo>
                <a:lnTo>
                  <a:pt x="5061743" y="4583114"/>
                </a:lnTo>
                <a:lnTo>
                  <a:pt x="0" y="4583114"/>
                </a:lnTo>
              </a:path>
            </a:pathLst>
          </a:cu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endParaRPr lang="en-US"/>
          </a:p>
        </p:txBody>
      </p:sp>
      <p:sp>
        <p:nvSpPr>
          <p:cNvPr id="48" name="Rounded Rectangle 294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3923928" y="1113588"/>
            <a:ext cx="1397000" cy="68580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xtLst/>
        </p:spPr>
        <p:txBody>
          <a:bodyPr vert="horz" wrap="squar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kumimoji="1" sz="16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5"/>
              </a:buBlip>
              <a:defRPr kumimoji="1" sz="14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5"/>
              </a:buBlip>
              <a:defRPr kumimoji="1"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ru-RU" altLang="ru-RU" sz="1300" dirty="0" smtClean="0">
                <a:solidFill>
                  <a:schemeClr val="bg1"/>
                </a:solidFill>
                <a:sym typeface="+mn-lt"/>
              </a:rPr>
              <a:t>Более 70% локализации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36096" y="1221600"/>
            <a:ext cx="33123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2">
                    <a:lumMod val="75000"/>
                  </a:schemeClr>
                </a:solidFill>
              </a:rPr>
              <a:t>…будет обеспечено в производстве ВЭУ </a:t>
            </a:r>
            <a:r>
              <a:rPr lang="ru-RU" sz="1400" dirty="0" err="1" smtClean="0">
                <a:solidFill>
                  <a:schemeClr val="accent2">
                    <a:lumMod val="75000"/>
                  </a:schemeClr>
                </a:solidFill>
              </a:rPr>
              <a:t>НоваВинд</a:t>
            </a:r>
            <a:r>
              <a:rPr lang="ru-RU" sz="1400" dirty="0" smtClean="0">
                <a:solidFill>
                  <a:schemeClr val="accent2">
                    <a:lumMod val="75000"/>
                  </a:schemeClr>
                </a:solidFill>
              </a:rPr>
              <a:t> и </a:t>
            </a:r>
            <a:r>
              <a:rPr lang="en-US" sz="1400" dirty="0" err="1" smtClean="0">
                <a:solidFill>
                  <a:schemeClr val="accent2">
                    <a:lumMod val="75000"/>
                  </a:schemeClr>
                </a:solidFill>
              </a:rPr>
              <a:t>Lagerwey</a:t>
            </a:r>
            <a:r>
              <a:rPr lang="en-US" sz="1400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endParaRPr lang="ru-RU" sz="1400" dirty="0">
              <a:solidFill>
                <a:schemeClr val="accent2">
                  <a:lumMod val="75000"/>
                </a:schemeClr>
              </a:solidFill>
            </a:endParaRPr>
          </a:p>
        </p:txBody>
      </p:sp>
      <p:grpSp>
        <p:nvGrpSpPr>
          <p:cNvPr id="50" name="Group 217"/>
          <p:cNvGrpSpPr/>
          <p:nvPr/>
        </p:nvGrpSpPr>
        <p:grpSpPr>
          <a:xfrm>
            <a:off x="3704769" y="1860469"/>
            <a:ext cx="1406685" cy="1951904"/>
            <a:chOff x="3835172" y="2706186"/>
            <a:chExt cx="1406685" cy="2602538"/>
          </a:xfrm>
        </p:grpSpPr>
        <p:sp>
          <p:nvSpPr>
            <p:cNvPr id="51" name="Rectangle 218"/>
            <p:cNvSpPr/>
            <p:nvPr/>
          </p:nvSpPr>
          <p:spPr>
            <a:xfrm>
              <a:off x="4616080" y="4987147"/>
              <a:ext cx="226233" cy="32049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</a:pPr>
              <a:endParaRPr lang="ru-RU" sz="1500" dirty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grpSp>
          <p:nvGrpSpPr>
            <p:cNvPr id="52" name="Group 219"/>
            <p:cNvGrpSpPr/>
            <p:nvPr/>
          </p:nvGrpSpPr>
          <p:grpSpPr>
            <a:xfrm>
              <a:off x="4679770" y="5078776"/>
              <a:ext cx="110420" cy="98770"/>
              <a:chOff x="4071657" y="4937667"/>
              <a:chExt cx="358499" cy="320674"/>
            </a:xfrm>
          </p:grpSpPr>
          <p:sp>
            <p:nvSpPr>
              <p:cNvPr id="164" name="Freeform 10"/>
              <p:cNvSpPr>
                <a:spLocks/>
              </p:cNvSpPr>
              <p:nvPr/>
            </p:nvSpPr>
            <p:spPr bwMode="auto">
              <a:xfrm>
                <a:off x="4196919" y="5042076"/>
                <a:ext cx="65715" cy="175978"/>
              </a:xfrm>
              <a:custGeom>
                <a:avLst/>
                <a:gdLst>
                  <a:gd name="T0" fmla="*/ 479 w 534"/>
                  <a:gd name="T1" fmla="*/ 1117 h 1430"/>
                  <a:gd name="T2" fmla="*/ 111 w 534"/>
                  <a:gd name="T3" fmla="*/ 1430 h 1430"/>
                  <a:gd name="T4" fmla="*/ 82 w 534"/>
                  <a:gd name="T5" fmla="*/ 948 h 1430"/>
                  <a:gd name="T6" fmla="*/ 170 w 534"/>
                  <a:gd name="T7" fmla="*/ 943 h 1430"/>
                  <a:gd name="T8" fmla="*/ 182 w 534"/>
                  <a:gd name="T9" fmla="*/ 1150 h 1430"/>
                  <a:gd name="T10" fmla="*/ 389 w 534"/>
                  <a:gd name="T11" fmla="*/ 659 h 1430"/>
                  <a:gd name="T12" fmla="*/ 0 w 534"/>
                  <a:gd name="T13" fmla="*/ 738 h 1430"/>
                  <a:gd name="T14" fmla="*/ 305 w 534"/>
                  <a:gd name="T15" fmla="*/ 0 h 1430"/>
                  <a:gd name="T16" fmla="*/ 385 w 534"/>
                  <a:gd name="T17" fmla="*/ 33 h 1430"/>
                  <a:gd name="T18" fmla="*/ 144 w 534"/>
                  <a:gd name="T19" fmla="*/ 619 h 1430"/>
                  <a:gd name="T20" fmla="*/ 534 w 534"/>
                  <a:gd name="T21" fmla="*/ 541 h 1430"/>
                  <a:gd name="T22" fmla="*/ 263 w 534"/>
                  <a:gd name="T23" fmla="*/ 1187 h 1430"/>
                  <a:gd name="T24" fmla="*/ 422 w 534"/>
                  <a:gd name="T25" fmla="*/ 1051 h 1430"/>
                  <a:gd name="T26" fmla="*/ 479 w 534"/>
                  <a:gd name="T27" fmla="*/ 1117 h 1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4" h="1430">
                    <a:moveTo>
                      <a:pt x="479" y="1117"/>
                    </a:moveTo>
                    <a:lnTo>
                      <a:pt x="111" y="1430"/>
                    </a:lnTo>
                    <a:lnTo>
                      <a:pt x="82" y="948"/>
                    </a:lnTo>
                    <a:lnTo>
                      <a:pt x="170" y="943"/>
                    </a:lnTo>
                    <a:lnTo>
                      <a:pt x="182" y="1150"/>
                    </a:lnTo>
                    <a:lnTo>
                      <a:pt x="389" y="659"/>
                    </a:lnTo>
                    <a:lnTo>
                      <a:pt x="0" y="738"/>
                    </a:lnTo>
                    <a:lnTo>
                      <a:pt x="305" y="0"/>
                    </a:lnTo>
                    <a:lnTo>
                      <a:pt x="385" y="33"/>
                    </a:lnTo>
                    <a:lnTo>
                      <a:pt x="144" y="619"/>
                    </a:lnTo>
                    <a:lnTo>
                      <a:pt x="534" y="541"/>
                    </a:lnTo>
                    <a:lnTo>
                      <a:pt x="263" y="1187"/>
                    </a:lnTo>
                    <a:lnTo>
                      <a:pt x="422" y="1051"/>
                    </a:lnTo>
                    <a:lnTo>
                      <a:pt x="479" y="1117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 cmpd="sng">
                <a:solidFill>
                  <a:schemeClr val="accent6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sym typeface="+mn-lt"/>
                </a:endParaRPr>
              </a:p>
            </p:txBody>
          </p:sp>
          <p:sp>
            <p:nvSpPr>
              <p:cNvPr id="165" name="Isosceles Triangle 293"/>
              <p:cNvSpPr/>
              <p:nvPr/>
            </p:nvSpPr>
            <p:spPr>
              <a:xfrm>
                <a:off x="4071657" y="4937667"/>
                <a:ext cx="358499" cy="320674"/>
              </a:xfrm>
              <a:prstGeom prst="triangle">
                <a:avLst/>
              </a:prstGeom>
              <a:ln w="15875" cmpd="sng">
                <a:solidFill>
                  <a:schemeClr val="accent6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ru-RU" sz="1500" b="0" dirty="0" smtClean="0"/>
              </a:p>
            </p:txBody>
          </p:sp>
        </p:grpSp>
        <p:sp>
          <p:nvSpPr>
            <p:cNvPr id="53" name="Teardrop 69"/>
            <p:cNvSpPr/>
            <p:nvPr/>
          </p:nvSpPr>
          <p:spPr>
            <a:xfrm>
              <a:off x="4104786" y="3654087"/>
              <a:ext cx="85428" cy="938289"/>
            </a:xfrm>
            <a:custGeom>
              <a:avLst/>
              <a:gdLst>
                <a:gd name="connsiteX0" fmla="*/ 0 w 122798"/>
                <a:gd name="connsiteY0" fmla="*/ 670339 h 1340677"/>
                <a:gd name="connsiteX1" fmla="*/ 61399 w 122798"/>
                <a:gd name="connsiteY1" fmla="*/ 0 h 1340677"/>
                <a:gd name="connsiteX2" fmla="*/ 122798 w 122798"/>
                <a:gd name="connsiteY2" fmla="*/ 0 h 1340677"/>
                <a:gd name="connsiteX3" fmla="*/ 122798 w 122798"/>
                <a:gd name="connsiteY3" fmla="*/ 670339 h 1340677"/>
                <a:gd name="connsiteX4" fmla="*/ 61399 w 122798"/>
                <a:gd name="connsiteY4" fmla="*/ 1340678 h 1340677"/>
                <a:gd name="connsiteX5" fmla="*/ 0 w 122798"/>
                <a:gd name="connsiteY5" fmla="*/ 670339 h 1340677"/>
                <a:gd name="connsiteX0" fmla="*/ 68 w 92386"/>
                <a:gd name="connsiteY0" fmla="*/ 675419 h 1340679"/>
                <a:gd name="connsiteX1" fmla="*/ 30987 w 92386"/>
                <a:gd name="connsiteY1" fmla="*/ 0 h 1340679"/>
                <a:gd name="connsiteX2" fmla="*/ 92386 w 92386"/>
                <a:gd name="connsiteY2" fmla="*/ 0 h 1340679"/>
                <a:gd name="connsiteX3" fmla="*/ 92386 w 92386"/>
                <a:gd name="connsiteY3" fmla="*/ 670339 h 1340679"/>
                <a:gd name="connsiteX4" fmla="*/ 30987 w 92386"/>
                <a:gd name="connsiteY4" fmla="*/ 1340678 h 1340679"/>
                <a:gd name="connsiteX5" fmla="*/ 68 w 92386"/>
                <a:gd name="connsiteY5" fmla="*/ 675419 h 1340679"/>
                <a:gd name="connsiteX0" fmla="*/ 17668 w 109986"/>
                <a:gd name="connsiteY0" fmla="*/ 675419 h 1340680"/>
                <a:gd name="connsiteX1" fmla="*/ 48587 w 109986"/>
                <a:gd name="connsiteY1" fmla="*/ 0 h 1340680"/>
                <a:gd name="connsiteX2" fmla="*/ 109986 w 109986"/>
                <a:gd name="connsiteY2" fmla="*/ 0 h 1340680"/>
                <a:gd name="connsiteX3" fmla="*/ 109986 w 109986"/>
                <a:gd name="connsiteY3" fmla="*/ 670339 h 1340680"/>
                <a:gd name="connsiteX4" fmla="*/ 48587 w 109986"/>
                <a:gd name="connsiteY4" fmla="*/ 1340678 h 1340680"/>
                <a:gd name="connsiteX5" fmla="*/ 17668 w 109986"/>
                <a:gd name="connsiteY5" fmla="*/ 675419 h 134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986" h="1340680">
                  <a:moveTo>
                    <a:pt x="17668" y="675419"/>
                  </a:moveTo>
                  <a:cubicBezTo>
                    <a:pt x="-22972" y="259481"/>
                    <a:pt x="14677" y="0"/>
                    <a:pt x="48587" y="0"/>
                  </a:cubicBezTo>
                  <a:lnTo>
                    <a:pt x="109986" y="0"/>
                  </a:lnTo>
                  <a:lnTo>
                    <a:pt x="109986" y="670339"/>
                  </a:lnTo>
                  <a:cubicBezTo>
                    <a:pt x="109986" y="1040557"/>
                    <a:pt x="63973" y="1339831"/>
                    <a:pt x="48587" y="1340678"/>
                  </a:cubicBezTo>
                  <a:cubicBezTo>
                    <a:pt x="33201" y="1341525"/>
                    <a:pt x="58308" y="1091357"/>
                    <a:pt x="17668" y="675419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54" name="Oval 3"/>
            <p:cNvSpPr/>
            <p:nvPr/>
          </p:nvSpPr>
          <p:spPr>
            <a:xfrm>
              <a:off x="4297236" y="3431830"/>
              <a:ext cx="543719" cy="235669"/>
            </a:xfrm>
            <a:custGeom>
              <a:avLst/>
              <a:gdLst>
                <a:gd name="connsiteX0" fmla="*/ 0 w 2281727"/>
                <a:gd name="connsiteY0" fmla="*/ 420642 h 841284"/>
                <a:gd name="connsiteX1" fmla="*/ 1140864 w 2281727"/>
                <a:gd name="connsiteY1" fmla="*/ 0 h 841284"/>
                <a:gd name="connsiteX2" fmla="*/ 2281728 w 2281727"/>
                <a:gd name="connsiteY2" fmla="*/ 420642 h 841284"/>
                <a:gd name="connsiteX3" fmla="*/ 1140864 w 2281727"/>
                <a:gd name="connsiteY3" fmla="*/ 841284 h 841284"/>
                <a:gd name="connsiteX4" fmla="*/ 0 w 2281727"/>
                <a:gd name="connsiteY4" fmla="*/ 420642 h 841284"/>
                <a:gd name="connsiteX0" fmla="*/ 0 w 2281728"/>
                <a:gd name="connsiteY0" fmla="*/ 420910 h 841552"/>
                <a:gd name="connsiteX1" fmla="*/ 1140864 w 2281728"/>
                <a:gd name="connsiteY1" fmla="*/ 268 h 841552"/>
                <a:gd name="connsiteX2" fmla="*/ 2281728 w 2281728"/>
                <a:gd name="connsiteY2" fmla="*/ 420910 h 841552"/>
                <a:gd name="connsiteX3" fmla="*/ 1140864 w 2281728"/>
                <a:gd name="connsiteY3" fmla="*/ 841552 h 841552"/>
                <a:gd name="connsiteX4" fmla="*/ 0 w 2281728"/>
                <a:gd name="connsiteY4" fmla="*/ 420910 h 841552"/>
                <a:gd name="connsiteX0" fmla="*/ 0 w 2281728"/>
                <a:gd name="connsiteY0" fmla="*/ 420910 h 841552"/>
                <a:gd name="connsiteX1" fmla="*/ 1140864 w 2281728"/>
                <a:gd name="connsiteY1" fmla="*/ 268 h 841552"/>
                <a:gd name="connsiteX2" fmla="*/ 2281728 w 2281728"/>
                <a:gd name="connsiteY2" fmla="*/ 420910 h 841552"/>
                <a:gd name="connsiteX3" fmla="*/ 1140864 w 2281728"/>
                <a:gd name="connsiteY3" fmla="*/ 841552 h 841552"/>
                <a:gd name="connsiteX4" fmla="*/ 0 w 2281728"/>
                <a:gd name="connsiteY4" fmla="*/ 420910 h 841552"/>
                <a:gd name="connsiteX0" fmla="*/ 26 w 2281754"/>
                <a:gd name="connsiteY0" fmla="*/ 420817 h 733985"/>
                <a:gd name="connsiteX1" fmla="*/ 1140890 w 2281754"/>
                <a:gd name="connsiteY1" fmla="*/ 175 h 733985"/>
                <a:gd name="connsiteX2" fmla="*/ 2281754 w 2281754"/>
                <a:gd name="connsiteY2" fmla="*/ 420817 h 733985"/>
                <a:gd name="connsiteX3" fmla="*/ 1151638 w 2281754"/>
                <a:gd name="connsiteY3" fmla="*/ 733985 h 733985"/>
                <a:gd name="connsiteX4" fmla="*/ 26 w 2281754"/>
                <a:gd name="connsiteY4" fmla="*/ 420817 h 733985"/>
                <a:gd name="connsiteX0" fmla="*/ 26 w 2281754"/>
                <a:gd name="connsiteY0" fmla="*/ 420812 h 676041"/>
                <a:gd name="connsiteX1" fmla="*/ 1140890 w 2281754"/>
                <a:gd name="connsiteY1" fmla="*/ 170 h 676041"/>
                <a:gd name="connsiteX2" fmla="*/ 2281754 w 2281754"/>
                <a:gd name="connsiteY2" fmla="*/ 420812 h 676041"/>
                <a:gd name="connsiteX3" fmla="*/ 1151637 w 2281754"/>
                <a:gd name="connsiteY3" fmla="*/ 676041 h 676041"/>
                <a:gd name="connsiteX4" fmla="*/ 26 w 2281754"/>
                <a:gd name="connsiteY4" fmla="*/ 420812 h 676041"/>
                <a:gd name="connsiteX0" fmla="*/ 30 w 1459681"/>
                <a:gd name="connsiteY0" fmla="*/ 391734 h 676414"/>
                <a:gd name="connsiteX1" fmla="*/ 318817 w 1459681"/>
                <a:gd name="connsiteY1" fmla="*/ 62 h 676414"/>
                <a:gd name="connsiteX2" fmla="*/ 1459681 w 1459681"/>
                <a:gd name="connsiteY2" fmla="*/ 420704 h 676414"/>
                <a:gd name="connsiteX3" fmla="*/ 329564 w 1459681"/>
                <a:gd name="connsiteY3" fmla="*/ 675933 h 676414"/>
                <a:gd name="connsiteX4" fmla="*/ 30 w 1459681"/>
                <a:gd name="connsiteY4" fmla="*/ 391734 h 676414"/>
                <a:gd name="connsiteX0" fmla="*/ 13833 w 1473484"/>
                <a:gd name="connsiteY0" fmla="*/ 449665 h 734345"/>
                <a:gd name="connsiteX1" fmla="*/ 208531 w 1473484"/>
                <a:gd name="connsiteY1" fmla="*/ 53 h 734345"/>
                <a:gd name="connsiteX2" fmla="*/ 1473484 w 1473484"/>
                <a:gd name="connsiteY2" fmla="*/ 478635 h 734345"/>
                <a:gd name="connsiteX3" fmla="*/ 343367 w 1473484"/>
                <a:gd name="connsiteY3" fmla="*/ 733864 h 734345"/>
                <a:gd name="connsiteX4" fmla="*/ 13833 w 1473484"/>
                <a:gd name="connsiteY4" fmla="*/ 449665 h 734345"/>
                <a:gd name="connsiteX0" fmla="*/ 5308 w 1464959"/>
                <a:gd name="connsiteY0" fmla="*/ 449665 h 748703"/>
                <a:gd name="connsiteX1" fmla="*/ 200006 w 1464959"/>
                <a:gd name="connsiteY1" fmla="*/ 53 h 748703"/>
                <a:gd name="connsiteX2" fmla="*/ 1464959 w 1464959"/>
                <a:gd name="connsiteY2" fmla="*/ 478635 h 748703"/>
                <a:gd name="connsiteX3" fmla="*/ 195243 w 1464959"/>
                <a:gd name="connsiteY3" fmla="*/ 748349 h 748703"/>
                <a:gd name="connsiteX4" fmla="*/ 5308 w 1464959"/>
                <a:gd name="connsiteY4" fmla="*/ 449665 h 748703"/>
                <a:gd name="connsiteX0" fmla="*/ 7007 w 1466658"/>
                <a:gd name="connsiteY0" fmla="*/ 449665 h 748703"/>
                <a:gd name="connsiteX1" fmla="*/ 201705 w 1466658"/>
                <a:gd name="connsiteY1" fmla="*/ 53 h 748703"/>
                <a:gd name="connsiteX2" fmla="*/ 1466658 w 1466658"/>
                <a:gd name="connsiteY2" fmla="*/ 478635 h 748703"/>
                <a:gd name="connsiteX3" fmla="*/ 243476 w 1466658"/>
                <a:gd name="connsiteY3" fmla="*/ 748349 h 748703"/>
                <a:gd name="connsiteX4" fmla="*/ 7007 w 1466658"/>
                <a:gd name="connsiteY4" fmla="*/ 449665 h 748703"/>
                <a:gd name="connsiteX0" fmla="*/ 7007 w 1466658"/>
                <a:gd name="connsiteY0" fmla="*/ 454358 h 753396"/>
                <a:gd name="connsiteX1" fmla="*/ 201705 w 1466658"/>
                <a:gd name="connsiteY1" fmla="*/ 4746 h 753396"/>
                <a:gd name="connsiteX2" fmla="*/ 1466658 w 1466658"/>
                <a:gd name="connsiteY2" fmla="*/ 483328 h 753396"/>
                <a:gd name="connsiteX3" fmla="*/ 243476 w 1466658"/>
                <a:gd name="connsiteY3" fmla="*/ 753042 h 753396"/>
                <a:gd name="connsiteX4" fmla="*/ 7007 w 1466658"/>
                <a:gd name="connsiteY4" fmla="*/ 454358 h 753396"/>
                <a:gd name="connsiteX0" fmla="*/ 7007 w 1466658"/>
                <a:gd name="connsiteY0" fmla="*/ 454358 h 760061"/>
                <a:gd name="connsiteX1" fmla="*/ 201705 w 1466658"/>
                <a:gd name="connsiteY1" fmla="*/ 4746 h 760061"/>
                <a:gd name="connsiteX2" fmla="*/ 1466658 w 1466658"/>
                <a:gd name="connsiteY2" fmla="*/ 483328 h 760061"/>
                <a:gd name="connsiteX3" fmla="*/ 243476 w 1466658"/>
                <a:gd name="connsiteY3" fmla="*/ 753042 h 760061"/>
                <a:gd name="connsiteX4" fmla="*/ 7007 w 1466658"/>
                <a:gd name="connsiteY4" fmla="*/ 454358 h 760061"/>
                <a:gd name="connsiteX0" fmla="*/ 13808 w 1659589"/>
                <a:gd name="connsiteY0" fmla="*/ 454358 h 760061"/>
                <a:gd name="connsiteX1" fmla="*/ 208506 w 1659589"/>
                <a:gd name="connsiteY1" fmla="*/ 4746 h 760061"/>
                <a:gd name="connsiteX2" fmla="*/ 1659589 w 1659589"/>
                <a:gd name="connsiteY2" fmla="*/ 483329 h 760061"/>
                <a:gd name="connsiteX3" fmla="*/ 250277 w 1659589"/>
                <a:gd name="connsiteY3" fmla="*/ 753042 h 760061"/>
                <a:gd name="connsiteX4" fmla="*/ 13808 w 1659589"/>
                <a:gd name="connsiteY4" fmla="*/ 454358 h 760061"/>
                <a:gd name="connsiteX0" fmla="*/ 28965 w 1628213"/>
                <a:gd name="connsiteY0" fmla="*/ 407845 h 760164"/>
                <a:gd name="connsiteX1" fmla="*/ 177130 w 1628213"/>
                <a:gd name="connsiteY1" fmla="*/ 1687 h 760164"/>
                <a:gd name="connsiteX2" fmla="*/ 1628213 w 1628213"/>
                <a:gd name="connsiteY2" fmla="*/ 480270 h 760164"/>
                <a:gd name="connsiteX3" fmla="*/ 218901 w 1628213"/>
                <a:gd name="connsiteY3" fmla="*/ 749983 h 760164"/>
                <a:gd name="connsiteX4" fmla="*/ 28965 w 1628213"/>
                <a:gd name="connsiteY4" fmla="*/ 407845 h 760164"/>
                <a:gd name="connsiteX0" fmla="*/ 42192 w 1610418"/>
                <a:gd name="connsiteY0" fmla="*/ 349574 h 764066"/>
                <a:gd name="connsiteX1" fmla="*/ 159335 w 1610418"/>
                <a:gd name="connsiteY1" fmla="*/ 1355 h 764066"/>
                <a:gd name="connsiteX2" fmla="*/ 1610418 w 1610418"/>
                <a:gd name="connsiteY2" fmla="*/ 479938 h 764066"/>
                <a:gd name="connsiteX3" fmla="*/ 201106 w 1610418"/>
                <a:gd name="connsiteY3" fmla="*/ 749651 h 764066"/>
                <a:gd name="connsiteX4" fmla="*/ 42192 w 1610418"/>
                <a:gd name="connsiteY4" fmla="*/ 349574 h 764066"/>
                <a:gd name="connsiteX0" fmla="*/ 117730 w 1685956"/>
                <a:gd name="connsiteY0" fmla="*/ 349537 h 732126"/>
                <a:gd name="connsiteX1" fmla="*/ 234873 w 1685956"/>
                <a:gd name="connsiteY1" fmla="*/ 1318 h 732126"/>
                <a:gd name="connsiteX2" fmla="*/ 1685956 w 1685956"/>
                <a:gd name="connsiteY2" fmla="*/ 479901 h 732126"/>
                <a:gd name="connsiteX3" fmla="*/ 121535 w 1685956"/>
                <a:gd name="connsiteY3" fmla="*/ 706159 h 732126"/>
                <a:gd name="connsiteX4" fmla="*/ 117730 w 1685956"/>
                <a:gd name="connsiteY4" fmla="*/ 349537 h 732126"/>
                <a:gd name="connsiteX0" fmla="*/ 113534 w 1681760"/>
                <a:gd name="connsiteY0" fmla="*/ 349535 h 732124"/>
                <a:gd name="connsiteX1" fmla="*/ 122101 w 1681760"/>
                <a:gd name="connsiteY1" fmla="*/ 1317 h 732124"/>
                <a:gd name="connsiteX2" fmla="*/ 1681760 w 1681760"/>
                <a:gd name="connsiteY2" fmla="*/ 479899 h 732124"/>
                <a:gd name="connsiteX3" fmla="*/ 117339 w 1681760"/>
                <a:gd name="connsiteY3" fmla="*/ 706157 h 732124"/>
                <a:gd name="connsiteX4" fmla="*/ 113534 w 1681760"/>
                <a:gd name="connsiteY4" fmla="*/ 349535 h 732124"/>
                <a:gd name="connsiteX0" fmla="*/ 113534 w 1681760"/>
                <a:gd name="connsiteY0" fmla="*/ 349534 h 732124"/>
                <a:gd name="connsiteX1" fmla="*/ 122101 w 1681760"/>
                <a:gd name="connsiteY1" fmla="*/ 1317 h 732124"/>
                <a:gd name="connsiteX2" fmla="*/ 1681760 w 1681760"/>
                <a:gd name="connsiteY2" fmla="*/ 479899 h 732124"/>
                <a:gd name="connsiteX3" fmla="*/ 117339 w 1681760"/>
                <a:gd name="connsiteY3" fmla="*/ 706157 h 732124"/>
                <a:gd name="connsiteX4" fmla="*/ 113534 w 1681760"/>
                <a:gd name="connsiteY4" fmla="*/ 349534 h 732124"/>
                <a:gd name="connsiteX0" fmla="*/ 113314 w 1681540"/>
                <a:gd name="connsiteY0" fmla="*/ 353338 h 735928"/>
                <a:gd name="connsiteX1" fmla="*/ 121881 w 1681540"/>
                <a:gd name="connsiteY1" fmla="*/ 5121 h 735928"/>
                <a:gd name="connsiteX2" fmla="*/ 1681540 w 1681540"/>
                <a:gd name="connsiteY2" fmla="*/ 483703 h 735928"/>
                <a:gd name="connsiteX3" fmla="*/ 117119 w 1681540"/>
                <a:gd name="connsiteY3" fmla="*/ 709961 h 735928"/>
                <a:gd name="connsiteX4" fmla="*/ 113314 w 1681540"/>
                <a:gd name="connsiteY4" fmla="*/ 353338 h 735928"/>
                <a:gd name="connsiteX0" fmla="*/ 166546 w 1657217"/>
                <a:gd name="connsiteY0" fmla="*/ 353338 h 735928"/>
                <a:gd name="connsiteX1" fmla="*/ 97558 w 1657217"/>
                <a:gd name="connsiteY1" fmla="*/ 5121 h 735928"/>
                <a:gd name="connsiteX2" fmla="*/ 1657217 w 1657217"/>
                <a:gd name="connsiteY2" fmla="*/ 483703 h 735928"/>
                <a:gd name="connsiteX3" fmla="*/ 92796 w 1657217"/>
                <a:gd name="connsiteY3" fmla="*/ 709961 h 735928"/>
                <a:gd name="connsiteX4" fmla="*/ 166546 w 1657217"/>
                <a:gd name="connsiteY4" fmla="*/ 353338 h 735928"/>
                <a:gd name="connsiteX0" fmla="*/ 103483 w 1687220"/>
                <a:gd name="connsiteY0" fmla="*/ 379773 h 731280"/>
                <a:gd name="connsiteX1" fmla="*/ 127561 w 1687220"/>
                <a:gd name="connsiteY1" fmla="*/ 2585 h 731280"/>
                <a:gd name="connsiteX2" fmla="*/ 1687220 w 1687220"/>
                <a:gd name="connsiteY2" fmla="*/ 481167 h 731280"/>
                <a:gd name="connsiteX3" fmla="*/ 122799 w 1687220"/>
                <a:gd name="connsiteY3" fmla="*/ 707425 h 731280"/>
                <a:gd name="connsiteX4" fmla="*/ 103483 w 1687220"/>
                <a:gd name="connsiteY4" fmla="*/ 379773 h 731280"/>
                <a:gd name="connsiteX0" fmla="*/ 67579 w 1713360"/>
                <a:gd name="connsiteY0" fmla="*/ 393409 h 729378"/>
                <a:gd name="connsiteX1" fmla="*/ 153701 w 1713360"/>
                <a:gd name="connsiteY1" fmla="*/ 1738 h 729378"/>
                <a:gd name="connsiteX2" fmla="*/ 1713360 w 1713360"/>
                <a:gd name="connsiteY2" fmla="*/ 480320 h 729378"/>
                <a:gd name="connsiteX3" fmla="*/ 148939 w 1713360"/>
                <a:gd name="connsiteY3" fmla="*/ 706578 h 729378"/>
                <a:gd name="connsiteX4" fmla="*/ 67579 w 1713360"/>
                <a:gd name="connsiteY4" fmla="*/ 393409 h 729378"/>
                <a:gd name="connsiteX0" fmla="*/ 32375 w 1755710"/>
                <a:gd name="connsiteY0" fmla="*/ 393409 h 729380"/>
                <a:gd name="connsiteX1" fmla="*/ 196051 w 1755710"/>
                <a:gd name="connsiteY1" fmla="*/ 1738 h 729380"/>
                <a:gd name="connsiteX2" fmla="*/ 1755710 w 1755710"/>
                <a:gd name="connsiteY2" fmla="*/ 480320 h 729380"/>
                <a:gd name="connsiteX3" fmla="*/ 191289 w 1755710"/>
                <a:gd name="connsiteY3" fmla="*/ 706578 h 729380"/>
                <a:gd name="connsiteX4" fmla="*/ 32375 w 1755710"/>
                <a:gd name="connsiteY4" fmla="*/ 393409 h 729380"/>
                <a:gd name="connsiteX0" fmla="*/ 28182 w 1751517"/>
                <a:gd name="connsiteY0" fmla="*/ 392346 h 738318"/>
                <a:gd name="connsiteX1" fmla="*/ 191858 w 1751517"/>
                <a:gd name="connsiteY1" fmla="*/ 675 h 738318"/>
                <a:gd name="connsiteX2" fmla="*/ 1751517 w 1751517"/>
                <a:gd name="connsiteY2" fmla="*/ 479257 h 738318"/>
                <a:gd name="connsiteX3" fmla="*/ 218118 w 1751517"/>
                <a:gd name="connsiteY3" fmla="*/ 720000 h 738318"/>
                <a:gd name="connsiteX4" fmla="*/ 28182 w 1751517"/>
                <a:gd name="connsiteY4" fmla="*/ 392346 h 738318"/>
                <a:gd name="connsiteX0" fmla="*/ 28182 w 1751517"/>
                <a:gd name="connsiteY0" fmla="*/ 394116 h 740086"/>
                <a:gd name="connsiteX1" fmla="*/ 191858 w 1751517"/>
                <a:gd name="connsiteY1" fmla="*/ 2445 h 740086"/>
                <a:gd name="connsiteX2" fmla="*/ 1751517 w 1751517"/>
                <a:gd name="connsiteY2" fmla="*/ 481027 h 740086"/>
                <a:gd name="connsiteX3" fmla="*/ 218118 w 1751517"/>
                <a:gd name="connsiteY3" fmla="*/ 721770 h 740086"/>
                <a:gd name="connsiteX4" fmla="*/ 28182 w 1751517"/>
                <a:gd name="connsiteY4" fmla="*/ 394116 h 740086"/>
                <a:gd name="connsiteX0" fmla="*/ 28182 w 1803747"/>
                <a:gd name="connsiteY0" fmla="*/ 394116 h 740086"/>
                <a:gd name="connsiteX1" fmla="*/ 191858 w 1803747"/>
                <a:gd name="connsiteY1" fmla="*/ 2445 h 740086"/>
                <a:gd name="connsiteX2" fmla="*/ 1751517 w 1803747"/>
                <a:gd name="connsiteY2" fmla="*/ 481027 h 740086"/>
                <a:gd name="connsiteX3" fmla="*/ 218118 w 1803747"/>
                <a:gd name="connsiteY3" fmla="*/ 721770 h 740086"/>
                <a:gd name="connsiteX4" fmla="*/ 28182 w 1803747"/>
                <a:gd name="connsiteY4" fmla="*/ 394116 h 740086"/>
                <a:gd name="connsiteX0" fmla="*/ 28182 w 1803747"/>
                <a:gd name="connsiteY0" fmla="*/ 394116 h 746129"/>
                <a:gd name="connsiteX1" fmla="*/ 191858 w 1803747"/>
                <a:gd name="connsiteY1" fmla="*/ 2445 h 746129"/>
                <a:gd name="connsiteX2" fmla="*/ 1751517 w 1803747"/>
                <a:gd name="connsiteY2" fmla="*/ 481027 h 746129"/>
                <a:gd name="connsiteX3" fmla="*/ 218118 w 1803747"/>
                <a:gd name="connsiteY3" fmla="*/ 721770 h 746129"/>
                <a:gd name="connsiteX4" fmla="*/ 28182 w 1803747"/>
                <a:gd name="connsiteY4" fmla="*/ 394116 h 746129"/>
                <a:gd name="connsiteX0" fmla="*/ 11771 w 1475081"/>
                <a:gd name="connsiteY0" fmla="*/ 394116 h 746129"/>
                <a:gd name="connsiteX1" fmla="*/ 175447 w 1475081"/>
                <a:gd name="connsiteY1" fmla="*/ 2445 h 746129"/>
                <a:gd name="connsiteX2" fmla="*/ 1414239 w 1475081"/>
                <a:gd name="connsiteY2" fmla="*/ 481027 h 746129"/>
                <a:gd name="connsiteX3" fmla="*/ 201707 w 1475081"/>
                <a:gd name="connsiteY3" fmla="*/ 721770 h 746129"/>
                <a:gd name="connsiteX4" fmla="*/ 11771 w 1475081"/>
                <a:gd name="connsiteY4" fmla="*/ 394116 h 746129"/>
                <a:gd name="connsiteX0" fmla="*/ 11771 w 1447256"/>
                <a:gd name="connsiteY0" fmla="*/ 395963 h 747976"/>
                <a:gd name="connsiteX1" fmla="*/ 175447 w 1447256"/>
                <a:gd name="connsiteY1" fmla="*/ 4292 h 747976"/>
                <a:gd name="connsiteX2" fmla="*/ 1414239 w 1447256"/>
                <a:gd name="connsiteY2" fmla="*/ 482874 h 747976"/>
                <a:gd name="connsiteX3" fmla="*/ 201707 w 1447256"/>
                <a:gd name="connsiteY3" fmla="*/ 723617 h 747976"/>
                <a:gd name="connsiteX4" fmla="*/ 11771 w 1447256"/>
                <a:gd name="connsiteY4" fmla="*/ 395963 h 747976"/>
                <a:gd name="connsiteX0" fmla="*/ 19806 w 1619770"/>
                <a:gd name="connsiteY0" fmla="*/ 402928 h 746207"/>
                <a:gd name="connsiteX1" fmla="*/ 183482 w 1619770"/>
                <a:gd name="connsiteY1" fmla="*/ 11257 h 746207"/>
                <a:gd name="connsiteX2" fmla="*/ 1589682 w 1619770"/>
                <a:gd name="connsiteY2" fmla="*/ 466645 h 746207"/>
                <a:gd name="connsiteX3" fmla="*/ 209742 w 1619770"/>
                <a:gd name="connsiteY3" fmla="*/ 730582 h 746207"/>
                <a:gd name="connsiteX4" fmla="*/ 19806 w 1619770"/>
                <a:gd name="connsiteY4" fmla="*/ 402928 h 746207"/>
                <a:gd name="connsiteX0" fmla="*/ 17672 w 1576465"/>
                <a:gd name="connsiteY0" fmla="*/ 396244 h 769643"/>
                <a:gd name="connsiteX1" fmla="*/ 181348 w 1576465"/>
                <a:gd name="connsiteY1" fmla="*/ 4573 h 769643"/>
                <a:gd name="connsiteX2" fmla="*/ 1545696 w 1576465"/>
                <a:gd name="connsiteY2" fmla="*/ 529544 h 769643"/>
                <a:gd name="connsiteX3" fmla="*/ 207608 w 1576465"/>
                <a:gd name="connsiteY3" fmla="*/ 723898 h 769643"/>
                <a:gd name="connsiteX4" fmla="*/ 17672 w 1576465"/>
                <a:gd name="connsiteY4" fmla="*/ 396244 h 769643"/>
                <a:gd name="connsiteX0" fmla="*/ 19086 w 1605325"/>
                <a:gd name="connsiteY0" fmla="*/ 397406 h 783133"/>
                <a:gd name="connsiteX1" fmla="*/ 182762 w 1605325"/>
                <a:gd name="connsiteY1" fmla="*/ 5735 h 783133"/>
                <a:gd name="connsiteX2" fmla="*/ 1575012 w 1605325"/>
                <a:gd name="connsiteY2" fmla="*/ 553900 h 783133"/>
                <a:gd name="connsiteX3" fmla="*/ 209022 w 1605325"/>
                <a:gd name="connsiteY3" fmla="*/ 725060 h 783133"/>
                <a:gd name="connsiteX4" fmla="*/ 19086 w 1605325"/>
                <a:gd name="connsiteY4" fmla="*/ 397406 h 783133"/>
                <a:gd name="connsiteX0" fmla="*/ 18375 w 1590891"/>
                <a:gd name="connsiteY0" fmla="*/ 402928 h 746207"/>
                <a:gd name="connsiteX1" fmla="*/ 182051 w 1590891"/>
                <a:gd name="connsiteY1" fmla="*/ 11257 h 746207"/>
                <a:gd name="connsiteX2" fmla="*/ 1560351 w 1590891"/>
                <a:gd name="connsiteY2" fmla="*/ 466645 h 746207"/>
                <a:gd name="connsiteX3" fmla="*/ 208311 w 1590891"/>
                <a:gd name="connsiteY3" fmla="*/ 730582 h 746207"/>
                <a:gd name="connsiteX4" fmla="*/ 18375 w 1590891"/>
                <a:gd name="connsiteY4" fmla="*/ 402928 h 746207"/>
                <a:gd name="connsiteX0" fmla="*/ 14289 w 1504539"/>
                <a:gd name="connsiteY0" fmla="*/ 395963 h 747976"/>
                <a:gd name="connsiteX1" fmla="*/ 177965 w 1504539"/>
                <a:gd name="connsiteY1" fmla="*/ 4292 h 747976"/>
                <a:gd name="connsiteX2" fmla="*/ 1472560 w 1504539"/>
                <a:gd name="connsiteY2" fmla="*/ 482875 h 747976"/>
                <a:gd name="connsiteX3" fmla="*/ 204225 w 1504539"/>
                <a:gd name="connsiteY3" fmla="*/ 723617 h 747976"/>
                <a:gd name="connsiteX4" fmla="*/ 14289 w 1504539"/>
                <a:gd name="connsiteY4" fmla="*/ 395963 h 747976"/>
                <a:gd name="connsiteX0" fmla="*/ 14289 w 1784476"/>
                <a:gd name="connsiteY0" fmla="*/ 394116 h 746129"/>
                <a:gd name="connsiteX1" fmla="*/ 177965 w 1784476"/>
                <a:gd name="connsiteY1" fmla="*/ 2445 h 746129"/>
                <a:gd name="connsiteX2" fmla="*/ 1472560 w 1784476"/>
                <a:gd name="connsiteY2" fmla="*/ 481028 h 746129"/>
                <a:gd name="connsiteX3" fmla="*/ 204225 w 1784476"/>
                <a:gd name="connsiteY3" fmla="*/ 721770 h 746129"/>
                <a:gd name="connsiteX4" fmla="*/ 14289 w 1784476"/>
                <a:gd name="connsiteY4" fmla="*/ 394116 h 746129"/>
                <a:gd name="connsiteX0" fmla="*/ 14289 w 1784476"/>
                <a:gd name="connsiteY0" fmla="*/ 394116 h 740088"/>
                <a:gd name="connsiteX1" fmla="*/ 177965 w 1784476"/>
                <a:gd name="connsiteY1" fmla="*/ 2445 h 740088"/>
                <a:gd name="connsiteX2" fmla="*/ 1472560 w 1784476"/>
                <a:gd name="connsiteY2" fmla="*/ 481028 h 740088"/>
                <a:gd name="connsiteX3" fmla="*/ 204225 w 1784476"/>
                <a:gd name="connsiteY3" fmla="*/ 721770 h 740088"/>
                <a:gd name="connsiteX4" fmla="*/ 14289 w 1784476"/>
                <a:gd name="connsiteY4" fmla="*/ 394116 h 740088"/>
                <a:gd name="connsiteX0" fmla="*/ 16975 w 1838065"/>
                <a:gd name="connsiteY0" fmla="*/ 394116 h 740088"/>
                <a:gd name="connsiteX1" fmla="*/ 180651 w 1838065"/>
                <a:gd name="connsiteY1" fmla="*/ 2445 h 740088"/>
                <a:gd name="connsiteX2" fmla="*/ 1531048 w 1838065"/>
                <a:gd name="connsiteY2" fmla="*/ 481027 h 740088"/>
                <a:gd name="connsiteX3" fmla="*/ 206911 w 1838065"/>
                <a:gd name="connsiteY3" fmla="*/ 721770 h 740088"/>
                <a:gd name="connsiteX4" fmla="*/ 16975 w 1838065"/>
                <a:gd name="connsiteY4" fmla="*/ 394116 h 740088"/>
                <a:gd name="connsiteX0" fmla="*/ 19087 w 1878456"/>
                <a:gd name="connsiteY0" fmla="*/ 395139 h 750251"/>
                <a:gd name="connsiteX1" fmla="*/ 182763 w 1878456"/>
                <a:gd name="connsiteY1" fmla="*/ 3468 h 750251"/>
                <a:gd name="connsiteX2" fmla="*/ 1575012 w 1878456"/>
                <a:gd name="connsiteY2" fmla="*/ 505244 h 750251"/>
                <a:gd name="connsiteX3" fmla="*/ 209023 w 1878456"/>
                <a:gd name="connsiteY3" fmla="*/ 722793 h 750251"/>
                <a:gd name="connsiteX4" fmla="*/ 19087 w 1878456"/>
                <a:gd name="connsiteY4" fmla="*/ 395139 h 750251"/>
                <a:gd name="connsiteX0" fmla="*/ 19087 w 1878456"/>
                <a:gd name="connsiteY0" fmla="*/ 395139 h 750251"/>
                <a:gd name="connsiteX1" fmla="*/ 182763 w 1878456"/>
                <a:gd name="connsiteY1" fmla="*/ 3468 h 750251"/>
                <a:gd name="connsiteX2" fmla="*/ 1575012 w 1878456"/>
                <a:gd name="connsiteY2" fmla="*/ 505244 h 750251"/>
                <a:gd name="connsiteX3" fmla="*/ 209023 w 1878456"/>
                <a:gd name="connsiteY3" fmla="*/ 722793 h 750251"/>
                <a:gd name="connsiteX4" fmla="*/ 19087 w 1878456"/>
                <a:gd name="connsiteY4" fmla="*/ 395139 h 750251"/>
                <a:gd name="connsiteX0" fmla="*/ 19087 w 1826251"/>
                <a:gd name="connsiteY0" fmla="*/ 395778 h 750890"/>
                <a:gd name="connsiteX1" fmla="*/ 182763 w 1826251"/>
                <a:gd name="connsiteY1" fmla="*/ 4107 h 750890"/>
                <a:gd name="connsiteX2" fmla="*/ 1575012 w 1826251"/>
                <a:gd name="connsiteY2" fmla="*/ 505883 h 750890"/>
                <a:gd name="connsiteX3" fmla="*/ 209023 w 1826251"/>
                <a:gd name="connsiteY3" fmla="*/ 723432 h 750890"/>
                <a:gd name="connsiteX4" fmla="*/ 19087 w 1826251"/>
                <a:gd name="connsiteY4" fmla="*/ 395778 h 750890"/>
                <a:gd name="connsiteX0" fmla="*/ 14946 w 1744917"/>
                <a:gd name="connsiteY0" fmla="*/ 411167 h 749564"/>
                <a:gd name="connsiteX1" fmla="*/ 178622 w 1744917"/>
                <a:gd name="connsiteY1" fmla="*/ 19496 h 749564"/>
                <a:gd name="connsiteX2" fmla="*/ 1487166 w 1744917"/>
                <a:gd name="connsiteY2" fmla="*/ 474883 h 749564"/>
                <a:gd name="connsiteX3" fmla="*/ 204882 w 1744917"/>
                <a:gd name="connsiteY3" fmla="*/ 738821 h 749564"/>
                <a:gd name="connsiteX4" fmla="*/ 14946 w 1744917"/>
                <a:gd name="connsiteY4" fmla="*/ 411167 h 749564"/>
                <a:gd name="connsiteX0" fmla="*/ 14946 w 1625979"/>
                <a:gd name="connsiteY0" fmla="*/ 453366 h 791763"/>
                <a:gd name="connsiteX1" fmla="*/ 178622 w 1625979"/>
                <a:gd name="connsiteY1" fmla="*/ 61695 h 791763"/>
                <a:gd name="connsiteX2" fmla="*/ 1487166 w 1625979"/>
                <a:gd name="connsiteY2" fmla="*/ 517082 h 791763"/>
                <a:gd name="connsiteX3" fmla="*/ 204882 w 1625979"/>
                <a:gd name="connsiteY3" fmla="*/ 781020 h 791763"/>
                <a:gd name="connsiteX4" fmla="*/ 14946 w 1625979"/>
                <a:gd name="connsiteY4" fmla="*/ 453366 h 791763"/>
                <a:gd name="connsiteX0" fmla="*/ 22009 w 1765360"/>
                <a:gd name="connsiteY0" fmla="*/ 442002 h 787973"/>
                <a:gd name="connsiteX1" fmla="*/ 185685 w 1765360"/>
                <a:gd name="connsiteY1" fmla="*/ 50331 h 787973"/>
                <a:gd name="connsiteX2" fmla="*/ 1633737 w 1765360"/>
                <a:gd name="connsiteY2" fmla="*/ 528913 h 787973"/>
                <a:gd name="connsiteX3" fmla="*/ 211945 w 1765360"/>
                <a:gd name="connsiteY3" fmla="*/ 769656 h 787973"/>
                <a:gd name="connsiteX4" fmla="*/ 22009 w 1765360"/>
                <a:gd name="connsiteY4" fmla="*/ 442002 h 787973"/>
                <a:gd name="connsiteX0" fmla="*/ 21270 w 1751354"/>
                <a:gd name="connsiteY0" fmla="*/ 401841 h 827510"/>
                <a:gd name="connsiteX1" fmla="*/ 184946 w 1751354"/>
                <a:gd name="connsiteY1" fmla="*/ 10170 h 827510"/>
                <a:gd name="connsiteX2" fmla="*/ 1619047 w 1751354"/>
                <a:gd name="connsiteY2" fmla="*/ 639514 h 827510"/>
                <a:gd name="connsiteX3" fmla="*/ 211206 w 1751354"/>
                <a:gd name="connsiteY3" fmla="*/ 729495 h 827510"/>
                <a:gd name="connsiteX4" fmla="*/ 21270 w 1751354"/>
                <a:gd name="connsiteY4" fmla="*/ 401841 h 827510"/>
                <a:gd name="connsiteX0" fmla="*/ 21270 w 1751354"/>
                <a:gd name="connsiteY0" fmla="*/ 401841 h 827510"/>
                <a:gd name="connsiteX1" fmla="*/ 184946 w 1751354"/>
                <a:gd name="connsiteY1" fmla="*/ 10170 h 827510"/>
                <a:gd name="connsiteX2" fmla="*/ 1619047 w 1751354"/>
                <a:gd name="connsiteY2" fmla="*/ 639514 h 827510"/>
                <a:gd name="connsiteX3" fmla="*/ 211206 w 1751354"/>
                <a:gd name="connsiteY3" fmla="*/ 729495 h 827510"/>
                <a:gd name="connsiteX4" fmla="*/ 21270 w 1751354"/>
                <a:gd name="connsiteY4" fmla="*/ 401841 h 827510"/>
                <a:gd name="connsiteX0" fmla="*/ 21270 w 1751354"/>
                <a:gd name="connsiteY0" fmla="*/ 431224 h 786336"/>
                <a:gd name="connsiteX1" fmla="*/ 184946 w 1751354"/>
                <a:gd name="connsiteY1" fmla="*/ 39553 h 786336"/>
                <a:gd name="connsiteX2" fmla="*/ 1619047 w 1751354"/>
                <a:gd name="connsiteY2" fmla="*/ 541329 h 786336"/>
                <a:gd name="connsiteX3" fmla="*/ 211206 w 1751354"/>
                <a:gd name="connsiteY3" fmla="*/ 758878 h 786336"/>
                <a:gd name="connsiteX4" fmla="*/ 21270 w 1751354"/>
                <a:gd name="connsiteY4" fmla="*/ 431224 h 786336"/>
                <a:gd name="connsiteX0" fmla="*/ 21270 w 1742467"/>
                <a:gd name="connsiteY0" fmla="*/ 395141 h 750253"/>
                <a:gd name="connsiteX1" fmla="*/ 184946 w 1742467"/>
                <a:gd name="connsiteY1" fmla="*/ 3470 h 750253"/>
                <a:gd name="connsiteX2" fmla="*/ 1619047 w 1742467"/>
                <a:gd name="connsiteY2" fmla="*/ 505246 h 750253"/>
                <a:gd name="connsiteX3" fmla="*/ 211206 w 1742467"/>
                <a:gd name="connsiteY3" fmla="*/ 722795 h 750253"/>
                <a:gd name="connsiteX4" fmla="*/ 21270 w 1742467"/>
                <a:gd name="connsiteY4" fmla="*/ 395141 h 750253"/>
                <a:gd name="connsiteX0" fmla="*/ 21270 w 1742467"/>
                <a:gd name="connsiteY0" fmla="*/ 397990 h 753102"/>
                <a:gd name="connsiteX1" fmla="*/ 184946 w 1742467"/>
                <a:gd name="connsiteY1" fmla="*/ 6319 h 753102"/>
                <a:gd name="connsiteX2" fmla="*/ 1619047 w 1742467"/>
                <a:gd name="connsiteY2" fmla="*/ 508095 h 753102"/>
                <a:gd name="connsiteX3" fmla="*/ 211206 w 1742467"/>
                <a:gd name="connsiteY3" fmla="*/ 725644 h 753102"/>
                <a:gd name="connsiteX4" fmla="*/ 21270 w 1742467"/>
                <a:gd name="connsiteY4" fmla="*/ 397990 h 753102"/>
                <a:gd name="connsiteX0" fmla="*/ 29780 w 1897614"/>
                <a:gd name="connsiteY0" fmla="*/ 462797 h 794126"/>
                <a:gd name="connsiteX1" fmla="*/ 193456 w 1897614"/>
                <a:gd name="connsiteY1" fmla="*/ 71126 h 794126"/>
                <a:gd name="connsiteX2" fmla="*/ 1781015 w 1897614"/>
                <a:gd name="connsiteY2" fmla="*/ 422139 h 794126"/>
                <a:gd name="connsiteX3" fmla="*/ 219716 w 1897614"/>
                <a:gd name="connsiteY3" fmla="*/ 790451 h 794126"/>
                <a:gd name="connsiteX4" fmla="*/ 29780 w 1897614"/>
                <a:gd name="connsiteY4" fmla="*/ 462797 h 794126"/>
                <a:gd name="connsiteX0" fmla="*/ 29780 w 1839408"/>
                <a:gd name="connsiteY0" fmla="*/ 392614 h 723943"/>
                <a:gd name="connsiteX1" fmla="*/ 193456 w 1839408"/>
                <a:gd name="connsiteY1" fmla="*/ 943 h 723943"/>
                <a:gd name="connsiteX2" fmla="*/ 1781015 w 1839408"/>
                <a:gd name="connsiteY2" fmla="*/ 351956 h 723943"/>
                <a:gd name="connsiteX3" fmla="*/ 219716 w 1839408"/>
                <a:gd name="connsiteY3" fmla="*/ 720268 h 723943"/>
                <a:gd name="connsiteX4" fmla="*/ 29780 w 1839408"/>
                <a:gd name="connsiteY4" fmla="*/ 392614 h 723943"/>
                <a:gd name="connsiteX0" fmla="*/ 29780 w 1839408"/>
                <a:gd name="connsiteY0" fmla="*/ 392614 h 724977"/>
                <a:gd name="connsiteX1" fmla="*/ 193456 w 1839408"/>
                <a:gd name="connsiteY1" fmla="*/ 943 h 724977"/>
                <a:gd name="connsiteX2" fmla="*/ 1781015 w 1839408"/>
                <a:gd name="connsiteY2" fmla="*/ 351956 h 724977"/>
                <a:gd name="connsiteX3" fmla="*/ 219716 w 1839408"/>
                <a:gd name="connsiteY3" fmla="*/ 720268 h 724977"/>
                <a:gd name="connsiteX4" fmla="*/ 29780 w 1839408"/>
                <a:gd name="connsiteY4" fmla="*/ 392614 h 724977"/>
                <a:gd name="connsiteX0" fmla="*/ 33040 w 1897117"/>
                <a:gd name="connsiteY0" fmla="*/ 391808 h 731200"/>
                <a:gd name="connsiteX1" fmla="*/ 196716 w 1897117"/>
                <a:gd name="connsiteY1" fmla="*/ 137 h 731200"/>
                <a:gd name="connsiteX2" fmla="*/ 1840078 w 1897117"/>
                <a:gd name="connsiteY2" fmla="*/ 374345 h 731200"/>
                <a:gd name="connsiteX3" fmla="*/ 222976 w 1897117"/>
                <a:gd name="connsiteY3" fmla="*/ 719462 h 731200"/>
                <a:gd name="connsiteX4" fmla="*/ 33040 w 1897117"/>
                <a:gd name="connsiteY4" fmla="*/ 391808 h 731200"/>
                <a:gd name="connsiteX0" fmla="*/ 33040 w 1922404"/>
                <a:gd name="connsiteY0" fmla="*/ 392605 h 731997"/>
                <a:gd name="connsiteX1" fmla="*/ 196716 w 1922404"/>
                <a:gd name="connsiteY1" fmla="*/ 934 h 731997"/>
                <a:gd name="connsiteX2" fmla="*/ 1840078 w 1922404"/>
                <a:gd name="connsiteY2" fmla="*/ 375142 h 731997"/>
                <a:gd name="connsiteX3" fmla="*/ 222976 w 1922404"/>
                <a:gd name="connsiteY3" fmla="*/ 720259 h 731997"/>
                <a:gd name="connsiteX4" fmla="*/ 33040 w 1922404"/>
                <a:gd name="connsiteY4" fmla="*/ 392605 h 731997"/>
                <a:gd name="connsiteX0" fmla="*/ 33040 w 1922404"/>
                <a:gd name="connsiteY0" fmla="*/ 392605 h 722477"/>
                <a:gd name="connsiteX1" fmla="*/ 196716 w 1922404"/>
                <a:gd name="connsiteY1" fmla="*/ 934 h 722477"/>
                <a:gd name="connsiteX2" fmla="*/ 1840078 w 1922404"/>
                <a:gd name="connsiteY2" fmla="*/ 375142 h 722477"/>
                <a:gd name="connsiteX3" fmla="*/ 222976 w 1922404"/>
                <a:gd name="connsiteY3" fmla="*/ 720259 h 722477"/>
                <a:gd name="connsiteX4" fmla="*/ 33040 w 1922404"/>
                <a:gd name="connsiteY4" fmla="*/ 392605 h 722477"/>
                <a:gd name="connsiteX0" fmla="*/ 33040 w 1922404"/>
                <a:gd name="connsiteY0" fmla="*/ 392605 h 737560"/>
                <a:gd name="connsiteX1" fmla="*/ 196716 w 1922404"/>
                <a:gd name="connsiteY1" fmla="*/ 934 h 737560"/>
                <a:gd name="connsiteX2" fmla="*/ 1840078 w 1922404"/>
                <a:gd name="connsiteY2" fmla="*/ 375142 h 737560"/>
                <a:gd name="connsiteX3" fmla="*/ 222976 w 1922404"/>
                <a:gd name="connsiteY3" fmla="*/ 720259 h 737560"/>
                <a:gd name="connsiteX4" fmla="*/ 33040 w 1922404"/>
                <a:gd name="connsiteY4" fmla="*/ 392605 h 737560"/>
                <a:gd name="connsiteX0" fmla="*/ 33040 w 1922404"/>
                <a:gd name="connsiteY0" fmla="*/ 392783 h 768735"/>
                <a:gd name="connsiteX1" fmla="*/ 196716 w 1922404"/>
                <a:gd name="connsiteY1" fmla="*/ 1112 h 768735"/>
                <a:gd name="connsiteX2" fmla="*/ 1840078 w 1922404"/>
                <a:gd name="connsiteY2" fmla="*/ 444902 h 768735"/>
                <a:gd name="connsiteX3" fmla="*/ 222976 w 1922404"/>
                <a:gd name="connsiteY3" fmla="*/ 720437 h 768735"/>
                <a:gd name="connsiteX4" fmla="*/ 33040 w 1922404"/>
                <a:gd name="connsiteY4" fmla="*/ 392783 h 76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2404" h="768735">
                  <a:moveTo>
                    <a:pt x="33040" y="392783"/>
                  </a:moveTo>
                  <a:cubicBezTo>
                    <a:pt x="28662" y="26655"/>
                    <a:pt x="-104457" y="-7574"/>
                    <a:pt x="196716" y="1112"/>
                  </a:cubicBezTo>
                  <a:cubicBezTo>
                    <a:pt x="497889" y="9798"/>
                    <a:pt x="2328354" y="50504"/>
                    <a:pt x="1840078" y="444902"/>
                  </a:cubicBezTo>
                  <a:cubicBezTo>
                    <a:pt x="1198345" y="929373"/>
                    <a:pt x="524149" y="729123"/>
                    <a:pt x="222976" y="720437"/>
                  </a:cubicBezTo>
                  <a:cubicBezTo>
                    <a:pt x="-78197" y="711751"/>
                    <a:pt x="37418" y="758911"/>
                    <a:pt x="33040" y="392783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55" name="Rounded Rectangle 222"/>
            <p:cNvSpPr/>
            <p:nvPr/>
          </p:nvSpPr>
          <p:spPr>
            <a:xfrm>
              <a:off x="4384203" y="3653618"/>
              <a:ext cx="227448" cy="100475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56" name="Trapezoid 223"/>
            <p:cNvSpPr/>
            <p:nvPr/>
          </p:nvSpPr>
          <p:spPr>
            <a:xfrm>
              <a:off x="4332198" y="3754094"/>
              <a:ext cx="318881" cy="1554630"/>
            </a:xfrm>
            <a:prstGeom prst="trapezoid">
              <a:avLst>
                <a:gd name="adj" fmla="val 26122"/>
              </a:avLst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57" name="Oval 12"/>
            <p:cNvSpPr/>
            <p:nvPr/>
          </p:nvSpPr>
          <p:spPr>
            <a:xfrm>
              <a:off x="4059620" y="3433628"/>
              <a:ext cx="176860" cy="222397"/>
            </a:xfrm>
            <a:custGeom>
              <a:avLst/>
              <a:gdLst>
                <a:gd name="connsiteX0" fmla="*/ 0 w 1097188"/>
                <a:gd name="connsiteY0" fmla="*/ 213506 h 427012"/>
                <a:gd name="connsiteX1" fmla="*/ 548594 w 1097188"/>
                <a:gd name="connsiteY1" fmla="*/ 0 h 427012"/>
                <a:gd name="connsiteX2" fmla="*/ 1097188 w 1097188"/>
                <a:gd name="connsiteY2" fmla="*/ 213506 h 427012"/>
                <a:gd name="connsiteX3" fmla="*/ 548594 w 1097188"/>
                <a:gd name="connsiteY3" fmla="*/ 427012 h 427012"/>
                <a:gd name="connsiteX4" fmla="*/ 0 w 1097188"/>
                <a:gd name="connsiteY4" fmla="*/ 213506 h 427012"/>
                <a:gd name="connsiteX0" fmla="*/ 0 w 617914"/>
                <a:gd name="connsiteY0" fmla="*/ 213522 h 427043"/>
                <a:gd name="connsiteX1" fmla="*/ 548594 w 617914"/>
                <a:gd name="connsiteY1" fmla="*/ 16 h 427043"/>
                <a:gd name="connsiteX2" fmla="*/ 610078 w 617914"/>
                <a:gd name="connsiteY2" fmla="*/ 204976 h 427043"/>
                <a:gd name="connsiteX3" fmla="*/ 548594 w 617914"/>
                <a:gd name="connsiteY3" fmla="*/ 427028 h 427043"/>
                <a:gd name="connsiteX4" fmla="*/ 0 w 617914"/>
                <a:gd name="connsiteY4" fmla="*/ 213522 h 427043"/>
                <a:gd name="connsiteX0" fmla="*/ 0 w 637010"/>
                <a:gd name="connsiteY0" fmla="*/ 213578 h 427144"/>
                <a:gd name="connsiteX1" fmla="*/ 548594 w 637010"/>
                <a:gd name="connsiteY1" fmla="*/ 72 h 427144"/>
                <a:gd name="connsiteX2" fmla="*/ 635715 w 637010"/>
                <a:gd name="connsiteY2" fmla="*/ 196486 h 427144"/>
                <a:gd name="connsiteX3" fmla="*/ 548594 w 637010"/>
                <a:gd name="connsiteY3" fmla="*/ 427084 h 427144"/>
                <a:gd name="connsiteX4" fmla="*/ 0 w 637010"/>
                <a:gd name="connsiteY4" fmla="*/ 213578 h 427144"/>
                <a:gd name="connsiteX0" fmla="*/ 119 w 637129"/>
                <a:gd name="connsiteY0" fmla="*/ 213578 h 428795"/>
                <a:gd name="connsiteX1" fmla="*/ 548713 w 637129"/>
                <a:gd name="connsiteY1" fmla="*/ 72 h 428795"/>
                <a:gd name="connsiteX2" fmla="*/ 635834 w 637129"/>
                <a:gd name="connsiteY2" fmla="*/ 196486 h 428795"/>
                <a:gd name="connsiteX3" fmla="*/ 548713 w 637129"/>
                <a:gd name="connsiteY3" fmla="*/ 427084 h 428795"/>
                <a:gd name="connsiteX4" fmla="*/ 119 w 637129"/>
                <a:gd name="connsiteY4" fmla="*/ 213578 h 428795"/>
                <a:gd name="connsiteX0" fmla="*/ 490 w 637500"/>
                <a:gd name="connsiteY0" fmla="*/ 213578 h 427125"/>
                <a:gd name="connsiteX1" fmla="*/ 455080 w 637500"/>
                <a:gd name="connsiteY1" fmla="*/ 72 h 427125"/>
                <a:gd name="connsiteX2" fmla="*/ 636205 w 637500"/>
                <a:gd name="connsiteY2" fmla="*/ 196486 h 427125"/>
                <a:gd name="connsiteX3" fmla="*/ 549084 w 637500"/>
                <a:gd name="connsiteY3" fmla="*/ 427084 h 427125"/>
                <a:gd name="connsiteX4" fmla="*/ 490 w 637500"/>
                <a:gd name="connsiteY4" fmla="*/ 213578 h 427125"/>
                <a:gd name="connsiteX0" fmla="*/ 39 w 635754"/>
                <a:gd name="connsiteY0" fmla="*/ 213578 h 427125"/>
                <a:gd name="connsiteX1" fmla="*/ 454629 w 635754"/>
                <a:gd name="connsiteY1" fmla="*/ 72 h 427125"/>
                <a:gd name="connsiteX2" fmla="*/ 635754 w 635754"/>
                <a:gd name="connsiteY2" fmla="*/ 196486 h 427125"/>
                <a:gd name="connsiteX3" fmla="*/ 480267 w 635754"/>
                <a:gd name="connsiteY3" fmla="*/ 427084 h 427125"/>
                <a:gd name="connsiteX4" fmla="*/ 39 w 635754"/>
                <a:gd name="connsiteY4" fmla="*/ 213578 h 427125"/>
                <a:gd name="connsiteX0" fmla="*/ 39 w 635754"/>
                <a:gd name="connsiteY0" fmla="*/ 213578 h 428477"/>
                <a:gd name="connsiteX1" fmla="*/ 454629 w 635754"/>
                <a:gd name="connsiteY1" fmla="*/ 72 h 428477"/>
                <a:gd name="connsiteX2" fmla="*/ 635754 w 635754"/>
                <a:gd name="connsiteY2" fmla="*/ 196486 h 428477"/>
                <a:gd name="connsiteX3" fmla="*/ 480267 w 635754"/>
                <a:gd name="connsiteY3" fmla="*/ 427084 h 428477"/>
                <a:gd name="connsiteX4" fmla="*/ 39 w 635754"/>
                <a:gd name="connsiteY4" fmla="*/ 213578 h 428477"/>
                <a:gd name="connsiteX0" fmla="*/ 37 w 552528"/>
                <a:gd name="connsiteY0" fmla="*/ 213935 h 427870"/>
                <a:gd name="connsiteX1" fmla="*/ 454627 w 552528"/>
                <a:gd name="connsiteY1" fmla="*/ 429 h 427870"/>
                <a:gd name="connsiteX2" fmla="*/ 550294 w 552528"/>
                <a:gd name="connsiteY2" fmla="*/ 213935 h 427870"/>
                <a:gd name="connsiteX3" fmla="*/ 480265 w 552528"/>
                <a:gd name="connsiteY3" fmla="*/ 427441 h 427870"/>
                <a:gd name="connsiteX4" fmla="*/ 37 w 552528"/>
                <a:gd name="connsiteY4" fmla="*/ 213935 h 427870"/>
                <a:gd name="connsiteX0" fmla="*/ 37 w 575931"/>
                <a:gd name="connsiteY0" fmla="*/ 213579 h 428478"/>
                <a:gd name="connsiteX1" fmla="*/ 454627 w 575931"/>
                <a:gd name="connsiteY1" fmla="*/ 73 h 428478"/>
                <a:gd name="connsiteX2" fmla="*/ 575931 w 575931"/>
                <a:gd name="connsiteY2" fmla="*/ 196487 h 428478"/>
                <a:gd name="connsiteX3" fmla="*/ 480265 w 575931"/>
                <a:gd name="connsiteY3" fmla="*/ 427085 h 428478"/>
                <a:gd name="connsiteX4" fmla="*/ 37 w 575931"/>
                <a:gd name="connsiteY4" fmla="*/ 213579 h 428478"/>
                <a:gd name="connsiteX0" fmla="*/ 39 w 567387"/>
                <a:gd name="connsiteY0" fmla="*/ 239557 h 434148"/>
                <a:gd name="connsiteX1" fmla="*/ 446083 w 567387"/>
                <a:gd name="connsiteY1" fmla="*/ 413 h 434148"/>
                <a:gd name="connsiteX2" fmla="*/ 567387 w 567387"/>
                <a:gd name="connsiteY2" fmla="*/ 196827 h 434148"/>
                <a:gd name="connsiteX3" fmla="*/ 471721 w 567387"/>
                <a:gd name="connsiteY3" fmla="*/ 427425 h 434148"/>
                <a:gd name="connsiteX4" fmla="*/ 39 w 567387"/>
                <a:gd name="connsiteY4" fmla="*/ 239557 h 434148"/>
                <a:gd name="connsiteX0" fmla="*/ 39 w 567387"/>
                <a:gd name="connsiteY0" fmla="*/ 213579 h 428478"/>
                <a:gd name="connsiteX1" fmla="*/ 446083 w 567387"/>
                <a:gd name="connsiteY1" fmla="*/ 73 h 428478"/>
                <a:gd name="connsiteX2" fmla="*/ 567387 w 567387"/>
                <a:gd name="connsiteY2" fmla="*/ 196487 h 428478"/>
                <a:gd name="connsiteX3" fmla="*/ 471721 w 567387"/>
                <a:gd name="connsiteY3" fmla="*/ 427085 h 428478"/>
                <a:gd name="connsiteX4" fmla="*/ 39 w 567387"/>
                <a:gd name="connsiteY4" fmla="*/ 213579 h 428478"/>
                <a:gd name="connsiteX0" fmla="*/ 39 w 567387"/>
                <a:gd name="connsiteY0" fmla="*/ 215930 h 429771"/>
                <a:gd name="connsiteX1" fmla="*/ 446083 w 567387"/>
                <a:gd name="connsiteY1" fmla="*/ 2424 h 429771"/>
                <a:gd name="connsiteX2" fmla="*/ 567387 w 567387"/>
                <a:gd name="connsiteY2" fmla="*/ 250113 h 429771"/>
                <a:gd name="connsiteX3" fmla="*/ 471721 w 567387"/>
                <a:gd name="connsiteY3" fmla="*/ 429436 h 429771"/>
                <a:gd name="connsiteX4" fmla="*/ 39 w 567387"/>
                <a:gd name="connsiteY4" fmla="*/ 215930 h 429771"/>
                <a:gd name="connsiteX0" fmla="*/ 41 w 567389"/>
                <a:gd name="connsiteY0" fmla="*/ 213666 h 427507"/>
                <a:gd name="connsiteX1" fmla="*/ 446085 w 567389"/>
                <a:gd name="connsiteY1" fmla="*/ 160 h 427507"/>
                <a:gd name="connsiteX2" fmla="*/ 567389 w 567389"/>
                <a:gd name="connsiteY2" fmla="*/ 247849 h 427507"/>
                <a:gd name="connsiteX3" fmla="*/ 420448 w 567389"/>
                <a:gd name="connsiteY3" fmla="*/ 427172 h 427507"/>
                <a:gd name="connsiteX4" fmla="*/ 41 w 567389"/>
                <a:gd name="connsiteY4" fmla="*/ 213666 h 427507"/>
                <a:gd name="connsiteX0" fmla="*/ 39 w 567387"/>
                <a:gd name="connsiteY0" fmla="*/ 216759 h 430600"/>
                <a:gd name="connsiteX1" fmla="*/ 446083 w 567387"/>
                <a:gd name="connsiteY1" fmla="*/ 3253 h 430600"/>
                <a:gd name="connsiteX2" fmla="*/ 567387 w 567387"/>
                <a:gd name="connsiteY2" fmla="*/ 250942 h 430600"/>
                <a:gd name="connsiteX3" fmla="*/ 420446 w 567387"/>
                <a:gd name="connsiteY3" fmla="*/ 430265 h 430600"/>
                <a:gd name="connsiteX4" fmla="*/ 39 w 567387"/>
                <a:gd name="connsiteY4" fmla="*/ 216759 h 430600"/>
                <a:gd name="connsiteX0" fmla="*/ 38 w 524908"/>
                <a:gd name="connsiteY0" fmla="*/ 216759 h 430600"/>
                <a:gd name="connsiteX1" fmla="*/ 446082 w 524908"/>
                <a:gd name="connsiteY1" fmla="*/ 3253 h 430600"/>
                <a:gd name="connsiteX2" fmla="*/ 524657 w 524908"/>
                <a:gd name="connsiteY2" fmla="*/ 250942 h 430600"/>
                <a:gd name="connsiteX3" fmla="*/ 420445 w 524908"/>
                <a:gd name="connsiteY3" fmla="*/ 430265 h 430600"/>
                <a:gd name="connsiteX4" fmla="*/ 38 w 524908"/>
                <a:gd name="connsiteY4" fmla="*/ 216759 h 430600"/>
                <a:gd name="connsiteX0" fmla="*/ 38 w 524908"/>
                <a:gd name="connsiteY0" fmla="*/ 214159 h 428000"/>
                <a:gd name="connsiteX1" fmla="*/ 446082 w 524908"/>
                <a:gd name="connsiteY1" fmla="*/ 653 h 428000"/>
                <a:gd name="connsiteX2" fmla="*/ 524657 w 524908"/>
                <a:gd name="connsiteY2" fmla="*/ 248342 h 428000"/>
                <a:gd name="connsiteX3" fmla="*/ 420445 w 524908"/>
                <a:gd name="connsiteY3" fmla="*/ 427665 h 428000"/>
                <a:gd name="connsiteX4" fmla="*/ 38 w 524908"/>
                <a:gd name="connsiteY4" fmla="*/ 214159 h 42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4908" h="428000">
                  <a:moveTo>
                    <a:pt x="38" y="214159"/>
                  </a:moveTo>
                  <a:cubicBezTo>
                    <a:pt x="-4235" y="23349"/>
                    <a:pt x="358646" y="-5044"/>
                    <a:pt x="446082" y="653"/>
                  </a:cubicBezTo>
                  <a:cubicBezTo>
                    <a:pt x="533518" y="6350"/>
                    <a:pt x="524657" y="130426"/>
                    <a:pt x="524657" y="248342"/>
                  </a:cubicBezTo>
                  <a:cubicBezTo>
                    <a:pt x="524657" y="366258"/>
                    <a:pt x="507881" y="433362"/>
                    <a:pt x="420445" y="427665"/>
                  </a:cubicBezTo>
                  <a:cubicBezTo>
                    <a:pt x="333009" y="421968"/>
                    <a:pt x="4311" y="404969"/>
                    <a:pt x="38" y="214159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58" name="Oval 23"/>
            <p:cNvSpPr/>
            <p:nvPr/>
          </p:nvSpPr>
          <p:spPr>
            <a:xfrm>
              <a:off x="4319958" y="3461000"/>
              <a:ext cx="288473" cy="176955"/>
            </a:xfrm>
            <a:custGeom>
              <a:avLst/>
              <a:gdLst>
                <a:gd name="connsiteX0" fmla="*/ 0 w 734388"/>
                <a:gd name="connsiteY0" fmla="*/ 198000 h 396000"/>
                <a:gd name="connsiteX1" fmla="*/ 367194 w 734388"/>
                <a:gd name="connsiteY1" fmla="*/ 0 h 396000"/>
                <a:gd name="connsiteX2" fmla="*/ 734388 w 734388"/>
                <a:gd name="connsiteY2" fmla="*/ 198000 h 396000"/>
                <a:gd name="connsiteX3" fmla="*/ 367194 w 734388"/>
                <a:gd name="connsiteY3" fmla="*/ 396000 h 396000"/>
                <a:gd name="connsiteX4" fmla="*/ 0 w 734388"/>
                <a:gd name="connsiteY4" fmla="*/ 198000 h 396000"/>
                <a:gd name="connsiteX0" fmla="*/ 0 w 729308"/>
                <a:gd name="connsiteY0" fmla="*/ 192926 h 396011"/>
                <a:gd name="connsiteX1" fmla="*/ 362114 w 729308"/>
                <a:gd name="connsiteY1" fmla="*/ 6 h 396011"/>
                <a:gd name="connsiteX2" fmla="*/ 729308 w 729308"/>
                <a:gd name="connsiteY2" fmla="*/ 198006 h 396011"/>
                <a:gd name="connsiteX3" fmla="*/ 362114 w 729308"/>
                <a:gd name="connsiteY3" fmla="*/ 396006 h 396011"/>
                <a:gd name="connsiteX4" fmla="*/ 0 w 729308"/>
                <a:gd name="connsiteY4" fmla="*/ 192926 h 396011"/>
                <a:gd name="connsiteX0" fmla="*/ 77 w 729385"/>
                <a:gd name="connsiteY0" fmla="*/ 193145 h 396230"/>
                <a:gd name="connsiteX1" fmla="*/ 362191 w 729385"/>
                <a:gd name="connsiteY1" fmla="*/ 225 h 396230"/>
                <a:gd name="connsiteX2" fmla="*/ 729385 w 729385"/>
                <a:gd name="connsiteY2" fmla="*/ 198225 h 396230"/>
                <a:gd name="connsiteX3" fmla="*/ 362191 w 729385"/>
                <a:gd name="connsiteY3" fmla="*/ 396225 h 396230"/>
                <a:gd name="connsiteX4" fmla="*/ 77 w 729385"/>
                <a:gd name="connsiteY4" fmla="*/ 193145 h 396230"/>
                <a:gd name="connsiteX0" fmla="*/ 84 w 709072"/>
                <a:gd name="connsiteY0" fmla="*/ 198003 h 396005"/>
                <a:gd name="connsiteX1" fmla="*/ 341878 w 709072"/>
                <a:gd name="connsiteY1" fmla="*/ 3 h 396005"/>
                <a:gd name="connsiteX2" fmla="*/ 709072 w 709072"/>
                <a:gd name="connsiteY2" fmla="*/ 198003 h 396005"/>
                <a:gd name="connsiteX3" fmla="*/ 341878 w 709072"/>
                <a:gd name="connsiteY3" fmla="*/ 396003 h 396005"/>
                <a:gd name="connsiteX4" fmla="*/ 84 w 709072"/>
                <a:gd name="connsiteY4" fmla="*/ 198003 h 396005"/>
                <a:gd name="connsiteX0" fmla="*/ 81 w 714149"/>
                <a:gd name="connsiteY0" fmla="*/ 198003 h 396005"/>
                <a:gd name="connsiteX1" fmla="*/ 346955 w 714149"/>
                <a:gd name="connsiteY1" fmla="*/ 3 h 396005"/>
                <a:gd name="connsiteX2" fmla="*/ 714149 w 714149"/>
                <a:gd name="connsiteY2" fmla="*/ 198003 h 396005"/>
                <a:gd name="connsiteX3" fmla="*/ 346955 w 714149"/>
                <a:gd name="connsiteY3" fmla="*/ 396003 h 396005"/>
                <a:gd name="connsiteX4" fmla="*/ 81 w 714149"/>
                <a:gd name="connsiteY4" fmla="*/ 198003 h 396005"/>
                <a:gd name="connsiteX0" fmla="*/ 87 w 698915"/>
                <a:gd name="connsiteY0" fmla="*/ 208183 h 396688"/>
                <a:gd name="connsiteX1" fmla="*/ 331721 w 698915"/>
                <a:gd name="connsiteY1" fmla="*/ 23 h 396688"/>
                <a:gd name="connsiteX2" fmla="*/ 698915 w 698915"/>
                <a:gd name="connsiteY2" fmla="*/ 198023 h 396688"/>
                <a:gd name="connsiteX3" fmla="*/ 331721 w 698915"/>
                <a:gd name="connsiteY3" fmla="*/ 396023 h 396688"/>
                <a:gd name="connsiteX4" fmla="*/ 87 w 698915"/>
                <a:gd name="connsiteY4" fmla="*/ 208183 h 396688"/>
                <a:gd name="connsiteX0" fmla="*/ 18030 w 716858"/>
                <a:gd name="connsiteY0" fmla="*/ 172639 h 360495"/>
                <a:gd name="connsiteX1" fmla="*/ 115984 w 716858"/>
                <a:gd name="connsiteY1" fmla="*/ 39 h 360495"/>
                <a:gd name="connsiteX2" fmla="*/ 716858 w 716858"/>
                <a:gd name="connsiteY2" fmla="*/ 162479 h 360495"/>
                <a:gd name="connsiteX3" fmla="*/ 349664 w 716858"/>
                <a:gd name="connsiteY3" fmla="*/ 360479 h 360495"/>
                <a:gd name="connsiteX4" fmla="*/ 18030 w 716858"/>
                <a:gd name="connsiteY4" fmla="*/ 172639 h 360495"/>
                <a:gd name="connsiteX0" fmla="*/ 14864 w 713692"/>
                <a:gd name="connsiteY0" fmla="*/ 172639 h 340177"/>
                <a:gd name="connsiteX1" fmla="*/ 112818 w 713692"/>
                <a:gd name="connsiteY1" fmla="*/ 39 h 340177"/>
                <a:gd name="connsiteX2" fmla="*/ 713692 w 713692"/>
                <a:gd name="connsiteY2" fmla="*/ 162479 h 340177"/>
                <a:gd name="connsiteX3" fmla="*/ 77258 w 713692"/>
                <a:gd name="connsiteY3" fmla="*/ 340159 h 340177"/>
                <a:gd name="connsiteX4" fmla="*/ 14864 w 713692"/>
                <a:gd name="connsiteY4" fmla="*/ 172639 h 340177"/>
                <a:gd name="connsiteX0" fmla="*/ 86233 w 785061"/>
                <a:gd name="connsiteY0" fmla="*/ 172639 h 340960"/>
                <a:gd name="connsiteX1" fmla="*/ 184187 w 785061"/>
                <a:gd name="connsiteY1" fmla="*/ 39 h 340960"/>
                <a:gd name="connsiteX2" fmla="*/ 785061 w 785061"/>
                <a:gd name="connsiteY2" fmla="*/ 162479 h 340960"/>
                <a:gd name="connsiteX3" fmla="*/ 148627 w 785061"/>
                <a:gd name="connsiteY3" fmla="*/ 340159 h 340960"/>
                <a:gd name="connsiteX4" fmla="*/ 86233 w 785061"/>
                <a:gd name="connsiteY4" fmla="*/ 172639 h 340960"/>
                <a:gd name="connsiteX0" fmla="*/ 9101 w 707929"/>
                <a:gd name="connsiteY0" fmla="*/ 172639 h 340960"/>
                <a:gd name="connsiteX1" fmla="*/ 107055 w 707929"/>
                <a:gd name="connsiteY1" fmla="*/ 39 h 340960"/>
                <a:gd name="connsiteX2" fmla="*/ 707929 w 707929"/>
                <a:gd name="connsiteY2" fmla="*/ 162479 h 340960"/>
                <a:gd name="connsiteX3" fmla="*/ 218815 w 707929"/>
                <a:gd name="connsiteY3" fmla="*/ 340159 h 340960"/>
                <a:gd name="connsiteX4" fmla="*/ 9101 w 707929"/>
                <a:gd name="connsiteY4" fmla="*/ 172639 h 340960"/>
                <a:gd name="connsiteX0" fmla="*/ 27337 w 726165"/>
                <a:gd name="connsiteY0" fmla="*/ 172639 h 340273"/>
                <a:gd name="connsiteX1" fmla="*/ 125291 w 726165"/>
                <a:gd name="connsiteY1" fmla="*/ 39 h 340273"/>
                <a:gd name="connsiteX2" fmla="*/ 726165 w 726165"/>
                <a:gd name="connsiteY2" fmla="*/ 162479 h 340273"/>
                <a:gd name="connsiteX3" fmla="*/ 237051 w 726165"/>
                <a:gd name="connsiteY3" fmla="*/ 340159 h 340273"/>
                <a:gd name="connsiteX4" fmla="*/ 27337 w 726165"/>
                <a:gd name="connsiteY4" fmla="*/ 172639 h 340273"/>
                <a:gd name="connsiteX0" fmla="*/ 9101 w 707929"/>
                <a:gd name="connsiteY0" fmla="*/ 172639 h 340177"/>
                <a:gd name="connsiteX1" fmla="*/ 107055 w 707929"/>
                <a:gd name="connsiteY1" fmla="*/ 39 h 340177"/>
                <a:gd name="connsiteX2" fmla="*/ 707929 w 707929"/>
                <a:gd name="connsiteY2" fmla="*/ 162479 h 340177"/>
                <a:gd name="connsiteX3" fmla="*/ 218815 w 707929"/>
                <a:gd name="connsiteY3" fmla="*/ 340159 h 340177"/>
                <a:gd name="connsiteX4" fmla="*/ 9101 w 707929"/>
                <a:gd name="connsiteY4" fmla="*/ 172639 h 340177"/>
                <a:gd name="connsiteX0" fmla="*/ 15418 w 714246"/>
                <a:gd name="connsiteY0" fmla="*/ 172639 h 350336"/>
                <a:gd name="connsiteX1" fmla="*/ 113372 w 714246"/>
                <a:gd name="connsiteY1" fmla="*/ 39 h 350336"/>
                <a:gd name="connsiteX2" fmla="*/ 714246 w 714246"/>
                <a:gd name="connsiteY2" fmla="*/ 162479 h 350336"/>
                <a:gd name="connsiteX3" fmla="*/ 311492 w 714246"/>
                <a:gd name="connsiteY3" fmla="*/ 350319 h 350336"/>
                <a:gd name="connsiteX4" fmla="*/ 15418 w 714246"/>
                <a:gd name="connsiteY4" fmla="*/ 172639 h 350336"/>
                <a:gd name="connsiteX0" fmla="*/ 4318 w 703146"/>
                <a:gd name="connsiteY0" fmla="*/ 172639 h 350532"/>
                <a:gd name="connsiteX1" fmla="*/ 102272 w 703146"/>
                <a:gd name="connsiteY1" fmla="*/ 39 h 350532"/>
                <a:gd name="connsiteX2" fmla="*/ 703146 w 703146"/>
                <a:gd name="connsiteY2" fmla="*/ 162479 h 350532"/>
                <a:gd name="connsiteX3" fmla="*/ 300392 w 703146"/>
                <a:gd name="connsiteY3" fmla="*/ 350319 h 350532"/>
                <a:gd name="connsiteX4" fmla="*/ 4318 w 703146"/>
                <a:gd name="connsiteY4" fmla="*/ 172639 h 350532"/>
                <a:gd name="connsiteX0" fmla="*/ 4 w 698832"/>
                <a:gd name="connsiteY0" fmla="*/ 162487 h 340184"/>
                <a:gd name="connsiteX1" fmla="*/ 290998 w 698832"/>
                <a:gd name="connsiteY1" fmla="*/ 47 h 340184"/>
                <a:gd name="connsiteX2" fmla="*/ 698832 w 698832"/>
                <a:gd name="connsiteY2" fmla="*/ 152327 h 340184"/>
                <a:gd name="connsiteX3" fmla="*/ 296078 w 698832"/>
                <a:gd name="connsiteY3" fmla="*/ 340167 h 340184"/>
                <a:gd name="connsiteX4" fmla="*/ 4 w 698832"/>
                <a:gd name="connsiteY4" fmla="*/ 162487 h 340184"/>
                <a:gd name="connsiteX0" fmla="*/ 277 w 699105"/>
                <a:gd name="connsiteY0" fmla="*/ 162517 h 340214"/>
                <a:gd name="connsiteX1" fmla="*/ 291271 w 699105"/>
                <a:gd name="connsiteY1" fmla="*/ 77 h 340214"/>
                <a:gd name="connsiteX2" fmla="*/ 699105 w 699105"/>
                <a:gd name="connsiteY2" fmla="*/ 152357 h 340214"/>
                <a:gd name="connsiteX3" fmla="*/ 296351 w 699105"/>
                <a:gd name="connsiteY3" fmla="*/ 340197 h 340214"/>
                <a:gd name="connsiteX4" fmla="*/ 277 w 699105"/>
                <a:gd name="connsiteY4" fmla="*/ 162517 h 340214"/>
                <a:gd name="connsiteX0" fmla="*/ 277 w 699105"/>
                <a:gd name="connsiteY0" fmla="*/ 162804 h 340547"/>
                <a:gd name="connsiteX1" fmla="*/ 291271 w 699105"/>
                <a:gd name="connsiteY1" fmla="*/ 364 h 340547"/>
                <a:gd name="connsiteX2" fmla="*/ 699105 w 699105"/>
                <a:gd name="connsiteY2" fmla="*/ 152644 h 340547"/>
                <a:gd name="connsiteX3" fmla="*/ 296351 w 699105"/>
                <a:gd name="connsiteY3" fmla="*/ 340484 h 340547"/>
                <a:gd name="connsiteX4" fmla="*/ 277 w 699105"/>
                <a:gd name="connsiteY4" fmla="*/ 162804 h 340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99105" h="340547">
                  <a:moveTo>
                    <a:pt x="277" y="162804"/>
                  </a:moveTo>
                  <a:cubicBezTo>
                    <a:pt x="-570" y="14677"/>
                    <a:pt x="-13160" y="-3023"/>
                    <a:pt x="291271" y="364"/>
                  </a:cubicBezTo>
                  <a:cubicBezTo>
                    <a:pt x="595702" y="3751"/>
                    <a:pt x="699105" y="43292"/>
                    <a:pt x="699105" y="152644"/>
                  </a:cubicBezTo>
                  <a:cubicBezTo>
                    <a:pt x="699105" y="261996"/>
                    <a:pt x="565222" y="338791"/>
                    <a:pt x="296351" y="340484"/>
                  </a:cubicBezTo>
                  <a:cubicBezTo>
                    <a:pt x="27480" y="342177"/>
                    <a:pt x="1124" y="310931"/>
                    <a:pt x="277" y="162804"/>
                  </a:cubicBezTo>
                  <a:close/>
                </a:path>
              </a:pathLst>
            </a:custGeom>
            <a:solidFill>
              <a:schemeClr val="bg1"/>
            </a:solidFill>
            <a:ln w="9525" cmpd="sng">
              <a:solidFill>
                <a:schemeClr val="accent3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59" name="Oval 226"/>
            <p:cNvSpPr/>
            <p:nvPr/>
          </p:nvSpPr>
          <p:spPr>
            <a:xfrm>
              <a:off x="4109855" y="3466674"/>
              <a:ext cx="99490" cy="26397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cxnSp>
          <p:nvCxnSpPr>
            <p:cNvPr id="99" name="Straight Connector 227"/>
            <p:cNvCxnSpPr>
              <a:stCxn id="101" idx="2"/>
              <a:endCxn id="59" idx="2"/>
            </p:cNvCxnSpPr>
            <p:nvPr/>
          </p:nvCxnSpPr>
          <p:spPr>
            <a:xfrm>
              <a:off x="4109855" y="3461000"/>
              <a:ext cx="0" cy="18872"/>
            </a:xfrm>
            <a:prstGeom prst="line">
              <a:avLst/>
            </a:prstGeom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228"/>
            <p:cNvCxnSpPr>
              <a:stCxn id="101" idx="6"/>
              <a:endCxn id="59" idx="6"/>
            </p:cNvCxnSpPr>
            <p:nvPr/>
          </p:nvCxnSpPr>
          <p:spPr>
            <a:xfrm>
              <a:off x="4209346" y="3461000"/>
              <a:ext cx="0" cy="18872"/>
            </a:xfrm>
            <a:prstGeom prst="line">
              <a:avLst/>
            </a:prstGeom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Oval 229"/>
            <p:cNvSpPr/>
            <p:nvPr/>
          </p:nvSpPr>
          <p:spPr>
            <a:xfrm>
              <a:off x="4109855" y="3447802"/>
              <a:ext cx="99490" cy="26397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102" name="Rectangle 230"/>
            <p:cNvSpPr/>
            <p:nvPr/>
          </p:nvSpPr>
          <p:spPr>
            <a:xfrm rot="296598">
              <a:off x="4109855" y="3644241"/>
              <a:ext cx="99490" cy="1309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cxnSp>
          <p:nvCxnSpPr>
            <p:cNvPr id="103" name="Straight Connector 231"/>
            <p:cNvCxnSpPr/>
            <p:nvPr/>
          </p:nvCxnSpPr>
          <p:spPr>
            <a:xfrm flipH="1">
              <a:off x="4522497" y="3594698"/>
              <a:ext cx="0" cy="33672"/>
            </a:xfrm>
            <a:prstGeom prst="line">
              <a:avLst/>
            </a:prstGeom>
            <a:ln w="28575" cmpd="sng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Oval 100358"/>
            <p:cNvSpPr/>
            <p:nvPr/>
          </p:nvSpPr>
          <p:spPr>
            <a:xfrm>
              <a:off x="4384192" y="5024366"/>
              <a:ext cx="227459" cy="171547"/>
            </a:xfrm>
            <a:custGeom>
              <a:avLst/>
              <a:gdLst>
                <a:gd name="connsiteX0" fmla="*/ 0 w 508611"/>
                <a:gd name="connsiteY0" fmla="*/ 279906 h 559812"/>
                <a:gd name="connsiteX1" fmla="*/ 254306 w 508611"/>
                <a:gd name="connsiteY1" fmla="*/ 0 h 559812"/>
                <a:gd name="connsiteX2" fmla="*/ 508612 w 508611"/>
                <a:gd name="connsiteY2" fmla="*/ 279906 h 559812"/>
                <a:gd name="connsiteX3" fmla="*/ 254306 w 508611"/>
                <a:gd name="connsiteY3" fmla="*/ 559812 h 559812"/>
                <a:gd name="connsiteX4" fmla="*/ 0 w 508611"/>
                <a:gd name="connsiteY4" fmla="*/ 279906 h 559812"/>
                <a:gd name="connsiteX0" fmla="*/ 0 w 508612"/>
                <a:gd name="connsiteY0" fmla="*/ 328417 h 608323"/>
                <a:gd name="connsiteX1" fmla="*/ 254306 w 508612"/>
                <a:gd name="connsiteY1" fmla="*/ 48511 h 608323"/>
                <a:gd name="connsiteX2" fmla="*/ 508612 w 508612"/>
                <a:gd name="connsiteY2" fmla="*/ 328417 h 608323"/>
                <a:gd name="connsiteX3" fmla="*/ 254306 w 508612"/>
                <a:gd name="connsiteY3" fmla="*/ 608323 h 608323"/>
                <a:gd name="connsiteX4" fmla="*/ 0 w 508612"/>
                <a:gd name="connsiteY4" fmla="*/ 328417 h 608323"/>
                <a:gd name="connsiteX0" fmla="*/ 999 w 509611"/>
                <a:gd name="connsiteY0" fmla="*/ 262992 h 542898"/>
                <a:gd name="connsiteX1" fmla="*/ 336948 w 509611"/>
                <a:gd name="connsiteY1" fmla="*/ 48400 h 542898"/>
                <a:gd name="connsiteX2" fmla="*/ 509611 w 509611"/>
                <a:gd name="connsiteY2" fmla="*/ 262992 h 542898"/>
                <a:gd name="connsiteX3" fmla="*/ 255305 w 509611"/>
                <a:gd name="connsiteY3" fmla="*/ 542898 h 542898"/>
                <a:gd name="connsiteX4" fmla="*/ 999 w 509611"/>
                <a:gd name="connsiteY4" fmla="*/ 262992 h 542898"/>
                <a:gd name="connsiteX0" fmla="*/ 999 w 509747"/>
                <a:gd name="connsiteY0" fmla="*/ 260856 h 540762"/>
                <a:gd name="connsiteX1" fmla="*/ 336948 w 509747"/>
                <a:gd name="connsiteY1" fmla="*/ 46264 h 540762"/>
                <a:gd name="connsiteX2" fmla="*/ 509611 w 509747"/>
                <a:gd name="connsiteY2" fmla="*/ 260856 h 540762"/>
                <a:gd name="connsiteX3" fmla="*/ 255305 w 509747"/>
                <a:gd name="connsiteY3" fmla="*/ 540762 h 540762"/>
                <a:gd name="connsiteX4" fmla="*/ 999 w 509747"/>
                <a:gd name="connsiteY4" fmla="*/ 260856 h 540762"/>
                <a:gd name="connsiteX0" fmla="*/ 999 w 509611"/>
                <a:gd name="connsiteY0" fmla="*/ 250386 h 530292"/>
                <a:gd name="connsiteX1" fmla="*/ 336948 w 509611"/>
                <a:gd name="connsiteY1" fmla="*/ 35794 h 530292"/>
                <a:gd name="connsiteX2" fmla="*/ 509611 w 509611"/>
                <a:gd name="connsiteY2" fmla="*/ 250386 h 530292"/>
                <a:gd name="connsiteX3" fmla="*/ 255305 w 509611"/>
                <a:gd name="connsiteY3" fmla="*/ 530292 h 530292"/>
                <a:gd name="connsiteX4" fmla="*/ 999 w 509611"/>
                <a:gd name="connsiteY4" fmla="*/ 250386 h 530292"/>
                <a:gd name="connsiteX0" fmla="*/ 716 w 503885"/>
                <a:gd name="connsiteY0" fmla="*/ 215594 h 497807"/>
                <a:gd name="connsiteX1" fmla="*/ 336665 w 503885"/>
                <a:gd name="connsiteY1" fmla="*/ 1002 h 497807"/>
                <a:gd name="connsiteX2" fmla="*/ 503885 w 503885"/>
                <a:gd name="connsiteY2" fmla="*/ 302680 h 497807"/>
                <a:gd name="connsiteX3" fmla="*/ 255022 w 503885"/>
                <a:gd name="connsiteY3" fmla="*/ 495500 h 497807"/>
                <a:gd name="connsiteX4" fmla="*/ 716 w 503885"/>
                <a:gd name="connsiteY4" fmla="*/ 215594 h 497807"/>
                <a:gd name="connsiteX0" fmla="*/ 904 w 504073"/>
                <a:gd name="connsiteY0" fmla="*/ 150801 h 433014"/>
                <a:gd name="connsiteX1" fmla="*/ 347739 w 504073"/>
                <a:gd name="connsiteY1" fmla="*/ 1523 h 433014"/>
                <a:gd name="connsiteX2" fmla="*/ 504073 w 504073"/>
                <a:gd name="connsiteY2" fmla="*/ 237887 h 433014"/>
                <a:gd name="connsiteX3" fmla="*/ 255210 w 504073"/>
                <a:gd name="connsiteY3" fmla="*/ 430707 h 433014"/>
                <a:gd name="connsiteX4" fmla="*/ 904 w 504073"/>
                <a:gd name="connsiteY4" fmla="*/ 150801 h 433014"/>
                <a:gd name="connsiteX0" fmla="*/ 904 w 504073"/>
                <a:gd name="connsiteY0" fmla="*/ 108050 h 390263"/>
                <a:gd name="connsiteX1" fmla="*/ 347739 w 504073"/>
                <a:gd name="connsiteY1" fmla="*/ 2315 h 390263"/>
                <a:gd name="connsiteX2" fmla="*/ 504073 w 504073"/>
                <a:gd name="connsiteY2" fmla="*/ 195136 h 390263"/>
                <a:gd name="connsiteX3" fmla="*/ 255210 w 504073"/>
                <a:gd name="connsiteY3" fmla="*/ 387956 h 390263"/>
                <a:gd name="connsiteX4" fmla="*/ 904 w 504073"/>
                <a:gd name="connsiteY4" fmla="*/ 108050 h 390263"/>
                <a:gd name="connsiteX0" fmla="*/ 678 w 503847"/>
                <a:gd name="connsiteY0" fmla="*/ 107626 h 307023"/>
                <a:gd name="connsiteX1" fmla="*/ 347513 w 503847"/>
                <a:gd name="connsiteY1" fmla="*/ 1891 h 307023"/>
                <a:gd name="connsiteX2" fmla="*/ 503847 w 503847"/>
                <a:gd name="connsiteY2" fmla="*/ 194712 h 307023"/>
                <a:gd name="connsiteX3" fmla="*/ 265870 w 503847"/>
                <a:gd name="connsiteY3" fmla="*/ 289561 h 307023"/>
                <a:gd name="connsiteX4" fmla="*/ 678 w 503847"/>
                <a:gd name="connsiteY4" fmla="*/ 107626 h 307023"/>
                <a:gd name="connsiteX0" fmla="*/ 181 w 503350"/>
                <a:gd name="connsiteY0" fmla="*/ 131849 h 331246"/>
                <a:gd name="connsiteX1" fmla="*/ 347016 w 503350"/>
                <a:gd name="connsiteY1" fmla="*/ 26114 h 331246"/>
                <a:gd name="connsiteX2" fmla="*/ 503350 w 503350"/>
                <a:gd name="connsiteY2" fmla="*/ 218935 h 331246"/>
                <a:gd name="connsiteX3" fmla="*/ 265373 w 503350"/>
                <a:gd name="connsiteY3" fmla="*/ 313784 h 331246"/>
                <a:gd name="connsiteX4" fmla="*/ 181 w 503350"/>
                <a:gd name="connsiteY4" fmla="*/ 131849 h 331246"/>
                <a:gd name="connsiteX0" fmla="*/ 677 w 503846"/>
                <a:gd name="connsiteY0" fmla="*/ 107666 h 314169"/>
                <a:gd name="connsiteX1" fmla="*/ 347512 w 503846"/>
                <a:gd name="connsiteY1" fmla="*/ 1931 h 314169"/>
                <a:gd name="connsiteX2" fmla="*/ 503846 w 503846"/>
                <a:gd name="connsiteY2" fmla="*/ 194752 h 314169"/>
                <a:gd name="connsiteX3" fmla="*/ 265869 w 503846"/>
                <a:gd name="connsiteY3" fmla="*/ 300486 h 314169"/>
                <a:gd name="connsiteX4" fmla="*/ 677 w 503846"/>
                <a:gd name="connsiteY4" fmla="*/ 107666 h 314169"/>
                <a:gd name="connsiteX0" fmla="*/ 21 w 503190"/>
                <a:gd name="connsiteY0" fmla="*/ 123636 h 330139"/>
                <a:gd name="connsiteX1" fmla="*/ 346856 w 503190"/>
                <a:gd name="connsiteY1" fmla="*/ 17901 h 330139"/>
                <a:gd name="connsiteX2" fmla="*/ 503190 w 503190"/>
                <a:gd name="connsiteY2" fmla="*/ 210722 h 330139"/>
                <a:gd name="connsiteX3" fmla="*/ 265213 w 503190"/>
                <a:gd name="connsiteY3" fmla="*/ 316456 h 330139"/>
                <a:gd name="connsiteX4" fmla="*/ 21 w 503190"/>
                <a:gd name="connsiteY4" fmla="*/ 123636 h 330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3190" h="330139">
                  <a:moveTo>
                    <a:pt x="21" y="123636"/>
                  </a:moveTo>
                  <a:cubicBezTo>
                    <a:pt x="-2701" y="-45866"/>
                    <a:pt x="262995" y="3387"/>
                    <a:pt x="346856" y="17901"/>
                  </a:cubicBezTo>
                  <a:cubicBezTo>
                    <a:pt x="430717" y="32415"/>
                    <a:pt x="503190" y="56134"/>
                    <a:pt x="503190" y="210722"/>
                  </a:cubicBezTo>
                  <a:cubicBezTo>
                    <a:pt x="503190" y="365310"/>
                    <a:pt x="349074" y="330970"/>
                    <a:pt x="265213" y="316456"/>
                  </a:cubicBezTo>
                  <a:cubicBezTo>
                    <a:pt x="181352" y="301942"/>
                    <a:pt x="2743" y="293138"/>
                    <a:pt x="21" y="12363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105" name="Oval 44"/>
            <p:cNvSpPr/>
            <p:nvPr/>
          </p:nvSpPr>
          <p:spPr>
            <a:xfrm>
              <a:off x="4411028" y="4054648"/>
              <a:ext cx="166674" cy="306728"/>
            </a:xfrm>
            <a:custGeom>
              <a:avLst/>
              <a:gdLst>
                <a:gd name="connsiteX0" fmla="*/ 0 w 209533"/>
                <a:gd name="connsiteY0" fmla="*/ 308731 h 617461"/>
                <a:gd name="connsiteX1" fmla="*/ 104767 w 209533"/>
                <a:gd name="connsiteY1" fmla="*/ 0 h 617461"/>
                <a:gd name="connsiteX2" fmla="*/ 209534 w 209533"/>
                <a:gd name="connsiteY2" fmla="*/ 308731 h 617461"/>
                <a:gd name="connsiteX3" fmla="*/ 104767 w 209533"/>
                <a:gd name="connsiteY3" fmla="*/ 617462 h 617461"/>
                <a:gd name="connsiteX4" fmla="*/ 0 w 209533"/>
                <a:gd name="connsiteY4" fmla="*/ 308731 h 617461"/>
                <a:gd name="connsiteX0" fmla="*/ 0 w 240014"/>
                <a:gd name="connsiteY0" fmla="*/ 308736 h 617472"/>
                <a:gd name="connsiteX1" fmla="*/ 104767 w 240014"/>
                <a:gd name="connsiteY1" fmla="*/ 5 h 617472"/>
                <a:gd name="connsiteX2" fmla="*/ 240014 w 240014"/>
                <a:gd name="connsiteY2" fmla="*/ 314832 h 617472"/>
                <a:gd name="connsiteX3" fmla="*/ 104767 w 240014"/>
                <a:gd name="connsiteY3" fmla="*/ 617467 h 617472"/>
                <a:gd name="connsiteX4" fmla="*/ 0 w 240014"/>
                <a:gd name="connsiteY4" fmla="*/ 308736 h 617472"/>
                <a:gd name="connsiteX0" fmla="*/ 0 w 240014"/>
                <a:gd name="connsiteY0" fmla="*/ 278256 h 586992"/>
                <a:gd name="connsiteX1" fmla="*/ 104767 w 240014"/>
                <a:gd name="connsiteY1" fmla="*/ 5 h 586992"/>
                <a:gd name="connsiteX2" fmla="*/ 240014 w 240014"/>
                <a:gd name="connsiteY2" fmla="*/ 284352 h 586992"/>
                <a:gd name="connsiteX3" fmla="*/ 104767 w 240014"/>
                <a:gd name="connsiteY3" fmla="*/ 586987 h 586992"/>
                <a:gd name="connsiteX4" fmla="*/ 0 w 240014"/>
                <a:gd name="connsiteY4" fmla="*/ 278256 h 586992"/>
                <a:gd name="connsiteX0" fmla="*/ 3 w 240017"/>
                <a:gd name="connsiteY0" fmla="*/ 278407 h 587143"/>
                <a:gd name="connsiteX1" fmla="*/ 104770 w 240017"/>
                <a:gd name="connsiteY1" fmla="*/ 156 h 587143"/>
                <a:gd name="connsiteX2" fmla="*/ 240017 w 240017"/>
                <a:gd name="connsiteY2" fmla="*/ 284503 h 587143"/>
                <a:gd name="connsiteX3" fmla="*/ 104770 w 240017"/>
                <a:gd name="connsiteY3" fmla="*/ 587138 h 587143"/>
                <a:gd name="connsiteX4" fmla="*/ 3 w 240017"/>
                <a:gd name="connsiteY4" fmla="*/ 278407 h 587143"/>
                <a:gd name="connsiteX0" fmla="*/ 0 w 288782"/>
                <a:gd name="connsiteY0" fmla="*/ 278256 h 586992"/>
                <a:gd name="connsiteX1" fmla="*/ 153535 w 288782"/>
                <a:gd name="connsiteY1" fmla="*/ 5 h 586992"/>
                <a:gd name="connsiteX2" fmla="*/ 288782 w 288782"/>
                <a:gd name="connsiteY2" fmla="*/ 284352 h 586992"/>
                <a:gd name="connsiteX3" fmla="*/ 153535 w 288782"/>
                <a:gd name="connsiteY3" fmla="*/ 586987 h 586992"/>
                <a:gd name="connsiteX4" fmla="*/ 0 w 288782"/>
                <a:gd name="connsiteY4" fmla="*/ 278256 h 586992"/>
                <a:gd name="connsiteX0" fmla="*/ 0 w 288782"/>
                <a:gd name="connsiteY0" fmla="*/ 329856 h 676114"/>
                <a:gd name="connsiteX1" fmla="*/ 153535 w 288782"/>
                <a:gd name="connsiteY1" fmla="*/ 51605 h 676114"/>
                <a:gd name="connsiteX2" fmla="*/ 288782 w 288782"/>
                <a:gd name="connsiteY2" fmla="*/ 335952 h 676114"/>
                <a:gd name="connsiteX3" fmla="*/ 153535 w 288782"/>
                <a:gd name="connsiteY3" fmla="*/ 638587 h 676114"/>
                <a:gd name="connsiteX4" fmla="*/ 0 w 288782"/>
                <a:gd name="connsiteY4" fmla="*/ 329856 h 676114"/>
                <a:gd name="connsiteX0" fmla="*/ 240 w 289022"/>
                <a:gd name="connsiteY0" fmla="*/ 281555 h 590292"/>
                <a:gd name="connsiteX1" fmla="*/ 153775 w 289022"/>
                <a:gd name="connsiteY1" fmla="*/ 3304 h 590292"/>
                <a:gd name="connsiteX2" fmla="*/ 289022 w 289022"/>
                <a:gd name="connsiteY2" fmla="*/ 287651 h 590292"/>
                <a:gd name="connsiteX3" fmla="*/ 153775 w 289022"/>
                <a:gd name="connsiteY3" fmla="*/ 590286 h 590292"/>
                <a:gd name="connsiteX4" fmla="*/ 240 w 289022"/>
                <a:gd name="connsiteY4" fmla="*/ 281555 h 590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022" h="590292">
                  <a:moveTo>
                    <a:pt x="240" y="281555"/>
                  </a:moveTo>
                  <a:cubicBezTo>
                    <a:pt x="-5856" y="-47923"/>
                    <a:pt x="105645" y="2288"/>
                    <a:pt x="153775" y="3304"/>
                  </a:cubicBezTo>
                  <a:cubicBezTo>
                    <a:pt x="201905" y="4320"/>
                    <a:pt x="289022" y="117144"/>
                    <a:pt x="289022" y="287651"/>
                  </a:cubicBezTo>
                  <a:cubicBezTo>
                    <a:pt x="289022" y="458158"/>
                    <a:pt x="201905" y="591302"/>
                    <a:pt x="153775" y="590286"/>
                  </a:cubicBezTo>
                  <a:cubicBezTo>
                    <a:pt x="105645" y="589270"/>
                    <a:pt x="6336" y="611033"/>
                    <a:pt x="240" y="281555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3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cxnSp>
          <p:nvCxnSpPr>
            <p:cNvPr id="106" name="Straight Connector 234"/>
            <p:cNvCxnSpPr/>
            <p:nvPr/>
          </p:nvCxnSpPr>
          <p:spPr>
            <a:xfrm flipH="1">
              <a:off x="4522497" y="4062832"/>
              <a:ext cx="0" cy="280595"/>
            </a:xfrm>
            <a:prstGeom prst="line">
              <a:avLst/>
            </a:prstGeom>
            <a:ln w="28575" cmpd="sng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7" name="Group 235"/>
            <p:cNvGrpSpPr/>
            <p:nvPr/>
          </p:nvGrpSpPr>
          <p:grpSpPr>
            <a:xfrm>
              <a:off x="4428717" y="4056497"/>
              <a:ext cx="52732" cy="306784"/>
              <a:chOff x="1979080" y="2816607"/>
              <a:chExt cx="91440" cy="590400"/>
            </a:xfrm>
          </p:grpSpPr>
          <p:cxnSp>
            <p:nvCxnSpPr>
              <p:cNvPr id="149" name="Straight Connector 277"/>
              <p:cNvCxnSpPr/>
              <p:nvPr/>
            </p:nvCxnSpPr>
            <p:spPr>
              <a:xfrm>
                <a:off x="1979080" y="2865882"/>
                <a:ext cx="333" cy="450000"/>
              </a:xfrm>
              <a:prstGeom prst="line">
                <a:avLst/>
              </a:prstGeom>
              <a:ln w="952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278"/>
              <p:cNvCxnSpPr/>
              <p:nvPr/>
            </p:nvCxnSpPr>
            <p:spPr>
              <a:xfrm>
                <a:off x="2070520" y="2816607"/>
                <a:ext cx="0" cy="590400"/>
              </a:xfrm>
              <a:prstGeom prst="line">
                <a:avLst/>
              </a:prstGeom>
              <a:ln w="952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279"/>
              <p:cNvCxnSpPr/>
              <p:nvPr/>
            </p:nvCxnSpPr>
            <p:spPr>
              <a:xfrm>
                <a:off x="2034520" y="2816607"/>
                <a:ext cx="3600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280"/>
              <p:cNvCxnSpPr/>
              <p:nvPr/>
            </p:nvCxnSpPr>
            <p:spPr>
              <a:xfrm>
                <a:off x="1984120" y="2863258"/>
                <a:ext cx="8640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Straight Connector 281"/>
              <p:cNvCxnSpPr/>
              <p:nvPr/>
            </p:nvCxnSpPr>
            <p:spPr>
              <a:xfrm>
                <a:off x="1979080" y="2909909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Straight Connector 282"/>
              <p:cNvCxnSpPr/>
              <p:nvPr/>
            </p:nvCxnSpPr>
            <p:spPr>
              <a:xfrm>
                <a:off x="1979080" y="2956560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5" name="Straight Connector 283"/>
              <p:cNvCxnSpPr/>
              <p:nvPr/>
            </p:nvCxnSpPr>
            <p:spPr>
              <a:xfrm>
                <a:off x="1979080" y="3003211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284"/>
              <p:cNvCxnSpPr/>
              <p:nvPr/>
            </p:nvCxnSpPr>
            <p:spPr>
              <a:xfrm>
                <a:off x="1979080" y="3049862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Straight Connector 285"/>
              <p:cNvCxnSpPr/>
              <p:nvPr/>
            </p:nvCxnSpPr>
            <p:spPr>
              <a:xfrm>
                <a:off x="1979080" y="3096513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8" name="Straight Connector 286"/>
              <p:cNvCxnSpPr/>
              <p:nvPr/>
            </p:nvCxnSpPr>
            <p:spPr>
              <a:xfrm>
                <a:off x="1979080" y="3143164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9" name="Straight Connector 287"/>
              <p:cNvCxnSpPr/>
              <p:nvPr/>
            </p:nvCxnSpPr>
            <p:spPr>
              <a:xfrm>
                <a:off x="1979080" y="3236466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0" name="Straight Connector 288"/>
              <p:cNvCxnSpPr/>
              <p:nvPr/>
            </p:nvCxnSpPr>
            <p:spPr>
              <a:xfrm>
                <a:off x="1979080" y="3329768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1" name="Straight Connector 289"/>
              <p:cNvCxnSpPr/>
              <p:nvPr/>
            </p:nvCxnSpPr>
            <p:spPr>
              <a:xfrm>
                <a:off x="1979080" y="3283117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290"/>
              <p:cNvCxnSpPr/>
              <p:nvPr/>
            </p:nvCxnSpPr>
            <p:spPr>
              <a:xfrm>
                <a:off x="1979080" y="3189815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3" name="Straight Connector 291"/>
              <p:cNvCxnSpPr/>
              <p:nvPr/>
            </p:nvCxnSpPr>
            <p:spPr>
              <a:xfrm>
                <a:off x="2023720" y="3376419"/>
                <a:ext cx="4680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8" name="Straight Connector 236"/>
            <p:cNvCxnSpPr/>
            <p:nvPr/>
          </p:nvCxnSpPr>
          <p:spPr>
            <a:xfrm flipH="1">
              <a:off x="4428694" y="5029675"/>
              <a:ext cx="215" cy="130945"/>
            </a:xfrm>
            <a:prstGeom prst="line">
              <a:avLst/>
            </a:prstGeom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237"/>
            <p:cNvCxnSpPr/>
            <p:nvPr/>
          </p:nvCxnSpPr>
          <p:spPr>
            <a:xfrm>
              <a:off x="4481426" y="5026847"/>
              <a:ext cx="0" cy="149650"/>
            </a:xfrm>
            <a:prstGeom prst="line">
              <a:avLst/>
            </a:prstGeom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238"/>
            <p:cNvCxnSpPr/>
            <p:nvPr/>
          </p:nvCxnSpPr>
          <p:spPr>
            <a:xfrm>
              <a:off x="4428694" y="5088609"/>
              <a:ext cx="52732" cy="0"/>
            </a:xfrm>
            <a:prstGeom prst="line">
              <a:avLst/>
            </a:prstGeom>
            <a:ln w="6350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239"/>
            <p:cNvCxnSpPr/>
            <p:nvPr/>
          </p:nvCxnSpPr>
          <p:spPr>
            <a:xfrm>
              <a:off x="4428694" y="5161331"/>
              <a:ext cx="52732" cy="0"/>
            </a:xfrm>
            <a:prstGeom prst="line">
              <a:avLst/>
            </a:prstGeom>
            <a:ln w="6350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240"/>
            <p:cNvCxnSpPr/>
            <p:nvPr/>
          </p:nvCxnSpPr>
          <p:spPr>
            <a:xfrm>
              <a:off x="4428694" y="5137090"/>
              <a:ext cx="52732" cy="0"/>
            </a:xfrm>
            <a:prstGeom prst="line">
              <a:avLst/>
            </a:prstGeom>
            <a:ln w="6350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241"/>
            <p:cNvCxnSpPr/>
            <p:nvPr/>
          </p:nvCxnSpPr>
          <p:spPr>
            <a:xfrm>
              <a:off x="4428694" y="5040127"/>
              <a:ext cx="52732" cy="0"/>
            </a:xfrm>
            <a:prstGeom prst="line">
              <a:avLst/>
            </a:prstGeom>
            <a:ln w="6350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242"/>
            <p:cNvCxnSpPr/>
            <p:nvPr/>
          </p:nvCxnSpPr>
          <p:spPr>
            <a:xfrm>
              <a:off x="4428694" y="5064368"/>
              <a:ext cx="52732" cy="0"/>
            </a:xfrm>
            <a:prstGeom prst="line">
              <a:avLst/>
            </a:prstGeom>
            <a:ln w="6350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243"/>
            <p:cNvCxnSpPr/>
            <p:nvPr/>
          </p:nvCxnSpPr>
          <p:spPr>
            <a:xfrm>
              <a:off x="4428694" y="5112850"/>
              <a:ext cx="52732" cy="0"/>
            </a:xfrm>
            <a:prstGeom prst="line">
              <a:avLst/>
            </a:prstGeom>
            <a:ln w="6350" cmpd="sng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244"/>
            <p:cNvCxnSpPr/>
            <p:nvPr/>
          </p:nvCxnSpPr>
          <p:spPr>
            <a:xfrm flipH="1">
              <a:off x="4522497" y="5026847"/>
              <a:ext cx="0" cy="97273"/>
            </a:xfrm>
            <a:prstGeom prst="line">
              <a:avLst/>
            </a:prstGeom>
            <a:ln w="28575" cmpd="sng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245"/>
            <p:cNvCxnSpPr/>
            <p:nvPr/>
          </p:nvCxnSpPr>
          <p:spPr>
            <a:xfrm flipV="1">
              <a:off x="4522497" y="5124120"/>
              <a:ext cx="0" cy="75585"/>
            </a:xfrm>
            <a:prstGeom prst="line">
              <a:avLst/>
            </a:prstGeom>
            <a:ln w="28575" cmpd="sng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Rectangle 246"/>
            <p:cNvSpPr/>
            <p:nvPr/>
          </p:nvSpPr>
          <p:spPr>
            <a:xfrm>
              <a:off x="4229059" y="3411092"/>
              <a:ext cx="74969" cy="277145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119" name="Teardrop 69"/>
            <p:cNvSpPr/>
            <p:nvPr/>
          </p:nvSpPr>
          <p:spPr>
            <a:xfrm flipV="1">
              <a:off x="4104786" y="2706186"/>
              <a:ext cx="85428" cy="772664"/>
            </a:xfrm>
            <a:custGeom>
              <a:avLst/>
              <a:gdLst>
                <a:gd name="connsiteX0" fmla="*/ 0 w 122798"/>
                <a:gd name="connsiteY0" fmla="*/ 670339 h 1340677"/>
                <a:gd name="connsiteX1" fmla="*/ 61399 w 122798"/>
                <a:gd name="connsiteY1" fmla="*/ 0 h 1340677"/>
                <a:gd name="connsiteX2" fmla="*/ 122798 w 122798"/>
                <a:gd name="connsiteY2" fmla="*/ 0 h 1340677"/>
                <a:gd name="connsiteX3" fmla="*/ 122798 w 122798"/>
                <a:gd name="connsiteY3" fmla="*/ 670339 h 1340677"/>
                <a:gd name="connsiteX4" fmla="*/ 61399 w 122798"/>
                <a:gd name="connsiteY4" fmla="*/ 1340678 h 1340677"/>
                <a:gd name="connsiteX5" fmla="*/ 0 w 122798"/>
                <a:gd name="connsiteY5" fmla="*/ 670339 h 1340677"/>
                <a:gd name="connsiteX0" fmla="*/ 68 w 92386"/>
                <a:gd name="connsiteY0" fmla="*/ 675419 h 1340679"/>
                <a:gd name="connsiteX1" fmla="*/ 30987 w 92386"/>
                <a:gd name="connsiteY1" fmla="*/ 0 h 1340679"/>
                <a:gd name="connsiteX2" fmla="*/ 92386 w 92386"/>
                <a:gd name="connsiteY2" fmla="*/ 0 h 1340679"/>
                <a:gd name="connsiteX3" fmla="*/ 92386 w 92386"/>
                <a:gd name="connsiteY3" fmla="*/ 670339 h 1340679"/>
                <a:gd name="connsiteX4" fmla="*/ 30987 w 92386"/>
                <a:gd name="connsiteY4" fmla="*/ 1340678 h 1340679"/>
                <a:gd name="connsiteX5" fmla="*/ 68 w 92386"/>
                <a:gd name="connsiteY5" fmla="*/ 675419 h 1340679"/>
                <a:gd name="connsiteX0" fmla="*/ 17668 w 109986"/>
                <a:gd name="connsiteY0" fmla="*/ 675419 h 1340680"/>
                <a:gd name="connsiteX1" fmla="*/ 48587 w 109986"/>
                <a:gd name="connsiteY1" fmla="*/ 0 h 1340680"/>
                <a:gd name="connsiteX2" fmla="*/ 109986 w 109986"/>
                <a:gd name="connsiteY2" fmla="*/ 0 h 1340680"/>
                <a:gd name="connsiteX3" fmla="*/ 109986 w 109986"/>
                <a:gd name="connsiteY3" fmla="*/ 670339 h 1340680"/>
                <a:gd name="connsiteX4" fmla="*/ 48587 w 109986"/>
                <a:gd name="connsiteY4" fmla="*/ 1340678 h 1340680"/>
                <a:gd name="connsiteX5" fmla="*/ 17668 w 109986"/>
                <a:gd name="connsiteY5" fmla="*/ 675419 h 134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9986" h="1340680">
                  <a:moveTo>
                    <a:pt x="17668" y="675419"/>
                  </a:moveTo>
                  <a:cubicBezTo>
                    <a:pt x="-22972" y="259481"/>
                    <a:pt x="14677" y="0"/>
                    <a:pt x="48587" y="0"/>
                  </a:cubicBezTo>
                  <a:lnTo>
                    <a:pt x="109986" y="0"/>
                  </a:lnTo>
                  <a:lnTo>
                    <a:pt x="109986" y="670339"/>
                  </a:lnTo>
                  <a:cubicBezTo>
                    <a:pt x="109986" y="1040557"/>
                    <a:pt x="63973" y="1339831"/>
                    <a:pt x="48587" y="1340678"/>
                  </a:cubicBezTo>
                  <a:cubicBezTo>
                    <a:pt x="33201" y="1341525"/>
                    <a:pt x="58308" y="1091357"/>
                    <a:pt x="17668" y="675419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72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00"/>
                </a:spcBef>
              </a:pPr>
              <a:endParaRPr lang="ru-RU" sz="1500" b="0" dirty="0" smtClean="0"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grpSp>
          <p:nvGrpSpPr>
            <p:cNvPr id="120" name="Group 248"/>
            <p:cNvGrpSpPr/>
            <p:nvPr/>
          </p:nvGrpSpPr>
          <p:grpSpPr>
            <a:xfrm>
              <a:off x="4649973" y="3377012"/>
              <a:ext cx="29855" cy="70830"/>
              <a:chOff x="2235165" y="2860824"/>
              <a:chExt cx="55722" cy="146722"/>
            </a:xfrm>
          </p:grpSpPr>
          <p:cxnSp>
            <p:nvCxnSpPr>
              <p:cNvPr id="145" name="Straight Connector 273"/>
              <p:cNvCxnSpPr/>
              <p:nvPr/>
            </p:nvCxnSpPr>
            <p:spPr>
              <a:xfrm>
                <a:off x="2246599" y="2954089"/>
                <a:ext cx="0" cy="53457"/>
              </a:xfrm>
              <a:prstGeom prst="line">
                <a:avLst/>
              </a:prstGeom>
              <a:ln w="952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Straight Connector 274"/>
              <p:cNvCxnSpPr/>
              <p:nvPr/>
            </p:nvCxnSpPr>
            <p:spPr>
              <a:xfrm flipH="1">
                <a:off x="2238698" y="2949206"/>
                <a:ext cx="52189" cy="0"/>
              </a:xfrm>
              <a:prstGeom prst="line">
                <a:avLst/>
              </a:prstGeom>
              <a:ln w="952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275"/>
              <p:cNvCxnSpPr/>
              <p:nvPr/>
            </p:nvCxnSpPr>
            <p:spPr>
              <a:xfrm>
                <a:off x="2285452" y="2860824"/>
                <a:ext cx="0" cy="80754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Straight Connector 276"/>
              <p:cNvCxnSpPr/>
              <p:nvPr/>
            </p:nvCxnSpPr>
            <p:spPr>
              <a:xfrm>
                <a:off x="2235165" y="2860824"/>
                <a:ext cx="0" cy="80755"/>
              </a:xfrm>
              <a:prstGeom prst="line">
                <a:avLst/>
              </a:prstGeom>
              <a:ln w="317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1" name="Group 249"/>
            <p:cNvGrpSpPr/>
            <p:nvPr/>
          </p:nvGrpSpPr>
          <p:grpSpPr>
            <a:xfrm>
              <a:off x="4329258" y="3538632"/>
              <a:ext cx="35511" cy="85532"/>
              <a:chOff x="3343495" y="2682249"/>
              <a:chExt cx="45719" cy="125689"/>
            </a:xfrm>
          </p:grpSpPr>
          <p:sp>
            <p:nvSpPr>
              <p:cNvPr id="143" name="Isosceles Triangle 26"/>
              <p:cNvSpPr/>
              <p:nvPr/>
            </p:nvSpPr>
            <p:spPr>
              <a:xfrm flipH="1">
                <a:off x="3354924" y="2733745"/>
                <a:ext cx="34290" cy="74193"/>
              </a:xfrm>
              <a:custGeom>
                <a:avLst/>
                <a:gdLst>
                  <a:gd name="connsiteX0" fmla="*/ 0 w 45720"/>
                  <a:gd name="connsiteY0" fmla="*/ 72141 h 72141"/>
                  <a:gd name="connsiteX1" fmla="*/ 22860 w 45720"/>
                  <a:gd name="connsiteY1" fmla="*/ 0 h 72141"/>
                  <a:gd name="connsiteX2" fmla="*/ 45720 w 45720"/>
                  <a:gd name="connsiteY2" fmla="*/ 72141 h 72141"/>
                  <a:gd name="connsiteX3" fmla="*/ 0 w 45720"/>
                  <a:gd name="connsiteY3" fmla="*/ 72141 h 72141"/>
                  <a:gd name="connsiteX0" fmla="*/ 0 w 34290"/>
                  <a:gd name="connsiteY0" fmla="*/ 72141 h 72141"/>
                  <a:gd name="connsiteX1" fmla="*/ 22860 w 34290"/>
                  <a:gd name="connsiteY1" fmla="*/ 0 h 72141"/>
                  <a:gd name="connsiteX2" fmla="*/ 34290 w 34290"/>
                  <a:gd name="connsiteY2" fmla="*/ 58806 h 72141"/>
                  <a:gd name="connsiteX3" fmla="*/ 0 w 34290"/>
                  <a:gd name="connsiteY3" fmla="*/ 72141 h 72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290" h="72141">
                    <a:moveTo>
                      <a:pt x="0" y="72141"/>
                    </a:moveTo>
                    <a:lnTo>
                      <a:pt x="22860" y="0"/>
                    </a:lnTo>
                    <a:lnTo>
                      <a:pt x="34290" y="58806"/>
                    </a:lnTo>
                    <a:lnTo>
                      <a:pt x="0" y="72141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ru-RU" sz="1500" b="0" dirty="0" smtClean="0">
                  <a:latin typeface="Yu Gothic UI Light" panose="020B0604020202020204" charset="-128"/>
                  <a:ea typeface="Yu Gothic UI Light" panose="020B0604020202020204" charset="-128"/>
                </a:endParaRPr>
              </a:p>
            </p:txBody>
          </p:sp>
          <p:sp>
            <p:nvSpPr>
              <p:cNvPr id="144" name="Oval 272"/>
              <p:cNvSpPr/>
              <p:nvPr/>
            </p:nvSpPr>
            <p:spPr>
              <a:xfrm>
                <a:off x="3343495" y="2682249"/>
                <a:ext cx="45719" cy="45719"/>
              </a:xfrm>
              <a:prstGeom prst="ellipse">
                <a:avLst/>
              </a:prstGeom>
              <a:solidFill>
                <a:schemeClr val="accent6"/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ru-RU" sz="1500" b="0" dirty="0" smtClean="0">
                  <a:latin typeface="Yu Gothic UI Light" panose="020B0604020202020204" charset="-128"/>
                  <a:ea typeface="Yu Gothic UI Light" panose="020B0604020202020204" charset="-128"/>
                </a:endParaRPr>
              </a:p>
            </p:txBody>
          </p:sp>
        </p:grpSp>
        <p:grpSp>
          <p:nvGrpSpPr>
            <p:cNvPr id="122" name="Group 250"/>
            <p:cNvGrpSpPr/>
            <p:nvPr/>
          </p:nvGrpSpPr>
          <p:grpSpPr>
            <a:xfrm>
              <a:off x="4428717" y="3438643"/>
              <a:ext cx="52732" cy="201969"/>
              <a:chOff x="1979080" y="2816607"/>
              <a:chExt cx="91440" cy="388687"/>
            </a:xfrm>
          </p:grpSpPr>
          <p:cxnSp>
            <p:nvCxnSpPr>
              <p:cNvPr id="133" name="Straight Connector 261"/>
              <p:cNvCxnSpPr/>
              <p:nvPr/>
            </p:nvCxnSpPr>
            <p:spPr>
              <a:xfrm>
                <a:off x="1979080" y="2865882"/>
                <a:ext cx="333" cy="339412"/>
              </a:xfrm>
              <a:prstGeom prst="line">
                <a:avLst/>
              </a:prstGeom>
              <a:ln w="952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262"/>
              <p:cNvCxnSpPr/>
              <p:nvPr/>
            </p:nvCxnSpPr>
            <p:spPr>
              <a:xfrm>
                <a:off x="2070520" y="2864502"/>
                <a:ext cx="0" cy="339411"/>
              </a:xfrm>
              <a:prstGeom prst="line">
                <a:avLst/>
              </a:prstGeom>
              <a:ln w="9525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263"/>
              <p:cNvCxnSpPr/>
              <p:nvPr/>
            </p:nvCxnSpPr>
            <p:spPr>
              <a:xfrm>
                <a:off x="2034520" y="2816607"/>
                <a:ext cx="3600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264"/>
              <p:cNvCxnSpPr/>
              <p:nvPr/>
            </p:nvCxnSpPr>
            <p:spPr>
              <a:xfrm>
                <a:off x="1979080" y="2909909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265"/>
              <p:cNvCxnSpPr/>
              <p:nvPr/>
            </p:nvCxnSpPr>
            <p:spPr>
              <a:xfrm>
                <a:off x="1979080" y="2956560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266"/>
              <p:cNvCxnSpPr/>
              <p:nvPr/>
            </p:nvCxnSpPr>
            <p:spPr>
              <a:xfrm>
                <a:off x="1979080" y="3003211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267"/>
              <p:cNvCxnSpPr/>
              <p:nvPr/>
            </p:nvCxnSpPr>
            <p:spPr>
              <a:xfrm>
                <a:off x="1979080" y="3049862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268"/>
              <p:cNvCxnSpPr/>
              <p:nvPr/>
            </p:nvCxnSpPr>
            <p:spPr>
              <a:xfrm>
                <a:off x="1979080" y="3096513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269"/>
              <p:cNvCxnSpPr/>
              <p:nvPr/>
            </p:nvCxnSpPr>
            <p:spPr>
              <a:xfrm>
                <a:off x="1979080" y="3143164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Straight Connector 270"/>
              <p:cNvCxnSpPr/>
              <p:nvPr/>
            </p:nvCxnSpPr>
            <p:spPr>
              <a:xfrm>
                <a:off x="1979080" y="3189815"/>
                <a:ext cx="91440" cy="0"/>
              </a:xfrm>
              <a:prstGeom prst="line">
                <a:avLst/>
              </a:prstGeom>
              <a:ln w="6350" cmpd="sng"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up 251"/>
            <p:cNvGrpSpPr/>
            <p:nvPr/>
          </p:nvGrpSpPr>
          <p:grpSpPr>
            <a:xfrm>
              <a:off x="4494108" y="3487531"/>
              <a:ext cx="100312" cy="118178"/>
              <a:chOff x="3347719" y="2682240"/>
              <a:chExt cx="129149" cy="168860"/>
            </a:xfrm>
          </p:grpSpPr>
          <p:sp>
            <p:nvSpPr>
              <p:cNvPr id="129" name="Isosceles Triangle 257"/>
              <p:cNvSpPr/>
              <p:nvPr/>
            </p:nvSpPr>
            <p:spPr>
              <a:xfrm>
                <a:off x="3347719" y="2722880"/>
                <a:ext cx="72000" cy="116840"/>
              </a:xfrm>
              <a:prstGeom prst="triangle">
                <a:avLst/>
              </a:prstGeom>
              <a:solidFill>
                <a:schemeClr val="accent6"/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ru-RU" sz="1500" b="0" dirty="0" smtClean="0">
                  <a:latin typeface="Yu Gothic UI Light" panose="020B0604020202020204" charset="-128"/>
                  <a:ea typeface="Yu Gothic UI Light" panose="020B0604020202020204" charset="-128"/>
                </a:endParaRPr>
              </a:p>
            </p:txBody>
          </p:sp>
          <p:sp>
            <p:nvSpPr>
              <p:cNvPr id="130" name="Oval 258"/>
              <p:cNvSpPr/>
              <p:nvPr/>
            </p:nvSpPr>
            <p:spPr>
              <a:xfrm>
                <a:off x="3360860" y="2682240"/>
                <a:ext cx="45719" cy="45719"/>
              </a:xfrm>
              <a:prstGeom prst="ellipse">
                <a:avLst/>
              </a:prstGeom>
              <a:solidFill>
                <a:schemeClr val="accent6"/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ru-RU" sz="1500" b="0" dirty="0" smtClean="0">
                  <a:latin typeface="Yu Gothic UI Light" panose="020B0604020202020204" charset="-128"/>
                  <a:ea typeface="Yu Gothic UI Light" panose="020B0604020202020204" charset="-128"/>
                </a:endParaRPr>
              </a:p>
            </p:txBody>
          </p:sp>
          <p:sp>
            <p:nvSpPr>
              <p:cNvPr id="131" name="Oval 259"/>
              <p:cNvSpPr/>
              <p:nvPr/>
            </p:nvSpPr>
            <p:spPr>
              <a:xfrm>
                <a:off x="3431149" y="2724737"/>
                <a:ext cx="45719" cy="45719"/>
              </a:xfrm>
              <a:prstGeom prst="ellipse">
                <a:avLst/>
              </a:prstGeom>
              <a:solidFill>
                <a:schemeClr val="accent6"/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ru-RU" sz="1500" b="0" dirty="0" smtClean="0">
                  <a:latin typeface="Yu Gothic UI Light" panose="020B0604020202020204" charset="-128"/>
                  <a:ea typeface="Yu Gothic UI Light" panose="020B0604020202020204" charset="-128"/>
                </a:endParaRPr>
              </a:p>
            </p:txBody>
          </p:sp>
          <p:sp>
            <p:nvSpPr>
              <p:cNvPr id="132" name="Isosceles Triangle 173"/>
              <p:cNvSpPr/>
              <p:nvPr/>
            </p:nvSpPr>
            <p:spPr>
              <a:xfrm>
                <a:off x="3432619" y="2776906"/>
                <a:ext cx="30922" cy="74194"/>
              </a:xfrm>
              <a:custGeom>
                <a:avLst/>
                <a:gdLst>
                  <a:gd name="connsiteX0" fmla="*/ 0 w 45720"/>
                  <a:gd name="connsiteY0" fmla="*/ 74194 h 74194"/>
                  <a:gd name="connsiteX1" fmla="*/ 22860 w 45720"/>
                  <a:gd name="connsiteY1" fmla="*/ 0 h 74194"/>
                  <a:gd name="connsiteX2" fmla="*/ 45720 w 45720"/>
                  <a:gd name="connsiteY2" fmla="*/ 74194 h 74194"/>
                  <a:gd name="connsiteX3" fmla="*/ 0 w 45720"/>
                  <a:gd name="connsiteY3" fmla="*/ 74194 h 74194"/>
                  <a:gd name="connsiteX0" fmla="*/ 0 w 24765"/>
                  <a:gd name="connsiteY0" fmla="*/ 74194 h 74194"/>
                  <a:gd name="connsiteX1" fmla="*/ 22860 w 24765"/>
                  <a:gd name="connsiteY1" fmla="*/ 0 h 74194"/>
                  <a:gd name="connsiteX2" fmla="*/ 24765 w 24765"/>
                  <a:gd name="connsiteY2" fmla="*/ 58954 h 74194"/>
                  <a:gd name="connsiteX3" fmla="*/ 0 w 24765"/>
                  <a:gd name="connsiteY3" fmla="*/ 74194 h 74194"/>
                  <a:gd name="connsiteX0" fmla="*/ 0 w 30922"/>
                  <a:gd name="connsiteY0" fmla="*/ 74194 h 74194"/>
                  <a:gd name="connsiteX1" fmla="*/ 22860 w 30922"/>
                  <a:gd name="connsiteY1" fmla="*/ 0 h 74194"/>
                  <a:gd name="connsiteX2" fmla="*/ 24765 w 30922"/>
                  <a:gd name="connsiteY2" fmla="*/ 58954 h 74194"/>
                  <a:gd name="connsiteX3" fmla="*/ 0 w 30922"/>
                  <a:gd name="connsiteY3" fmla="*/ 74194 h 74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922" h="74194">
                    <a:moveTo>
                      <a:pt x="0" y="74194"/>
                    </a:moveTo>
                    <a:lnTo>
                      <a:pt x="22860" y="0"/>
                    </a:lnTo>
                    <a:cubicBezTo>
                      <a:pt x="23495" y="19651"/>
                      <a:pt x="39370" y="37398"/>
                      <a:pt x="24765" y="58954"/>
                    </a:cubicBezTo>
                    <a:lnTo>
                      <a:pt x="0" y="74194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72000" tIns="72000" rIns="72000" bIns="72000" rtlCol="0" anchor="t" anchorCtr="0"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400"/>
                  </a:spcBef>
                </a:pPr>
                <a:endParaRPr lang="ru-RU" sz="1500" b="0" dirty="0" smtClean="0">
                  <a:latin typeface="Yu Gothic UI Light" panose="020B0604020202020204" charset="-128"/>
                  <a:ea typeface="Yu Gothic UI Light" panose="020B0604020202020204" charset="-128"/>
                </a:endParaRPr>
              </a:p>
            </p:txBody>
          </p:sp>
        </p:grpSp>
        <p:sp>
          <p:nvSpPr>
            <p:cNvPr id="124" name="RbNavigator"/>
            <p:cNvSpPr txBox="1"/>
            <p:nvPr/>
          </p:nvSpPr>
          <p:spPr>
            <a:xfrm>
              <a:off x="4550006" y="450854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kumimoji="1" lang="en-US" sz="1300" b="1" dirty="0" smtClean="0">
                  <a:solidFill>
                    <a:schemeClr val="bg1"/>
                  </a:solidFill>
                  <a:latin typeface="Yu Gothic UI Light" panose="020B0604020202020204" charset="-128"/>
                  <a:ea typeface="Yu Gothic UI Light" panose="020B0604020202020204" charset="-128"/>
                </a:rPr>
                <a:t>3</a:t>
              </a:r>
              <a:endParaRPr kumimoji="1" lang="ru-RU" sz="1300" b="1" dirty="0">
                <a:solidFill>
                  <a:schemeClr val="bg1"/>
                </a:solidFill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125" name="RbNavigator"/>
            <p:cNvSpPr txBox="1"/>
            <p:nvPr/>
          </p:nvSpPr>
          <p:spPr>
            <a:xfrm>
              <a:off x="3835172" y="3917488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kumimoji="1" lang="ru-RU" sz="1300" b="1" dirty="0" smtClean="0">
                  <a:solidFill>
                    <a:schemeClr val="bg1"/>
                  </a:solidFill>
                  <a:latin typeface="Yu Gothic UI Light" panose="020B0604020202020204" charset="-128"/>
                  <a:ea typeface="Yu Gothic UI Light" panose="020B0604020202020204" charset="-128"/>
                </a:rPr>
                <a:t>4</a:t>
              </a:r>
              <a:endParaRPr kumimoji="1" lang="ru-RU" sz="1300" b="1" dirty="0">
                <a:solidFill>
                  <a:schemeClr val="bg1"/>
                </a:solidFill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126" name="RbNavigator"/>
            <p:cNvSpPr txBox="1"/>
            <p:nvPr/>
          </p:nvSpPr>
          <p:spPr>
            <a:xfrm>
              <a:off x="3835172" y="3177332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kumimoji="1" lang="en-US" sz="1300" b="1" dirty="0" smtClean="0">
                  <a:solidFill>
                    <a:schemeClr val="bg1"/>
                  </a:solidFill>
                  <a:latin typeface="Yu Gothic UI Light" panose="020B0604020202020204" charset="-128"/>
                  <a:ea typeface="Yu Gothic UI Light" panose="020B0604020202020204" charset="-128"/>
                </a:rPr>
                <a:t>2</a:t>
              </a:r>
              <a:endParaRPr kumimoji="1" lang="ru-RU" sz="1300" b="1" dirty="0">
                <a:solidFill>
                  <a:schemeClr val="bg1"/>
                </a:solidFill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127" name="RbNavigator"/>
            <p:cNvSpPr txBox="1"/>
            <p:nvPr/>
          </p:nvSpPr>
          <p:spPr>
            <a:xfrm>
              <a:off x="4989857" y="5041807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kumimoji="1" lang="ru-RU" sz="1300" b="1" dirty="0" smtClean="0">
                  <a:solidFill>
                    <a:schemeClr val="bg1"/>
                  </a:solidFill>
                  <a:latin typeface="Yu Gothic UI Light" panose="020B0604020202020204" charset="-128"/>
                  <a:ea typeface="Yu Gothic UI Light" panose="020B0604020202020204" charset="-128"/>
                </a:rPr>
                <a:t>5</a:t>
              </a:r>
              <a:endParaRPr kumimoji="1" lang="ru-RU" sz="1300" b="1" dirty="0">
                <a:solidFill>
                  <a:schemeClr val="bg1"/>
                </a:solidFill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  <p:sp>
          <p:nvSpPr>
            <p:cNvPr id="128" name="RbNavigator"/>
            <p:cNvSpPr txBox="1"/>
            <p:nvPr/>
          </p:nvSpPr>
          <p:spPr>
            <a:xfrm>
              <a:off x="4807720" y="3375951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none" lIns="0" tIns="0" rIns="0" bIns="0" rtlCol="0" anchor="ctr">
              <a:noAutofit/>
            </a:bodyPr>
            <a:lstStyle/>
            <a:p>
              <a:pPr algn="ctr"/>
              <a:r>
                <a:rPr kumimoji="1" lang="ru-RU" sz="1300" b="1" dirty="0" smtClean="0">
                  <a:solidFill>
                    <a:schemeClr val="bg1"/>
                  </a:solidFill>
                  <a:latin typeface="Yu Gothic UI Light" panose="020B0604020202020204" charset="-128"/>
                  <a:ea typeface="Yu Gothic UI Light" panose="020B0604020202020204" charset="-128"/>
                </a:rPr>
                <a:t>1</a:t>
              </a:r>
              <a:endParaRPr kumimoji="1" lang="ru-RU" sz="1300" b="1" dirty="0">
                <a:solidFill>
                  <a:schemeClr val="bg1"/>
                </a:solidFill>
                <a:latin typeface="Yu Gothic UI Light" panose="020B0604020202020204" charset="-128"/>
                <a:ea typeface="Yu Gothic UI Light" panose="020B0604020202020204" charset="-128"/>
              </a:endParaRPr>
            </a:p>
          </p:txBody>
        </p:sp>
      </p:grpSp>
      <p:sp>
        <p:nvSpPr>
          <p:cNvPr id="166" name="Объект 2"/>
          <p:cNvSpPr txBox="1">
            <a:spLocks/>
          </p:cNvSpPr>
          <p:nvPr/>
        </p:nvSpPr>
        <p:spPr>
          <a:xfrm>
            <a:off x="5018082" y="1860468"/>
            <a:ext cx="3452360" cy="3913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kumimoji="1" sz="16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5"/>
              </a:buBlip>
              <a:defRPr kumimoji="1" sz="14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5"/>
              </a:buBlip>
              <a:defRPr kumimoji="1"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2" indent="0" hangingPunct="1">
              <a:lnSpc>
                <a:spcPct val="90000"/>
              </a:lnSpc>
              <a:spcBef>
                <a:spcPts val="300"/>
              </a:spcBef>
              <a:buSzPct val="100000"/>
              <a:buNone/>
            </a:pP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Сборка </a:t>
            </a:r>
            <a:r>
              <a:rPr lang="ru-RU" sz="1400" b="1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гондолы, ступицы </a:t>
            </a: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(собственное производство в Волгодонске)</a:t>
            </a:r>
            <a:endParaRPr lang="ru-RU" sz="1400" kern="0" dirty="0">
              <a:solidFill>
                <a:schemeClr val="accent6"/>
              </a:solidFill>
              <a:latin typeface="Yu Gothic UI Light" panose="020B0604020202020204" charset="-128"/>
              <a:ea typeface="Yu Gothic UI Light" panose="020B0604020202020204" charset="-128"/>
            </a:endParaRPr>
          </a:p>
        </p:txBody>
      </p:sp>
      <p:sp>
        <p:nvSpPr>
          <p:cNvPr id="167" name="Объект 2"/>
          <p:cNvSpPr txBox="1">
            <a:spLocks/>
          </p:cNvSpPr>
          <p:nvPr/>
        </p:nvSpPr>
        <p:spPr>
          <a:xfrm>
            <a:off x="5024217" y="2712457"/>
            <a:ext cx="3452360" cy="14080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kumimoji="1" sz="16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5"/>
              </a:buBlip>
              <a:defRPr kumimoji="1" sz="14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5"/>
              </a:buBlip>
              <a:defRPr kumimoji="1"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2" indent="0" hangingPunct="1">
              <a:spcBef>
                <a:spcPts val="300"/>
              </a:spcBef>
              <a:spcAft>
                <a:spcPct val="0"/>
              </a:spcAft>
              <a:buSzPct val="100000"/>
              <a:buNone/>
            </a:pP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Локализация в смежных отраслях:</a:t>
            </a:r>
          </a:p>
          <a:p>
            <a:pPr marL="336550" lvl="3" indent="0" hangingPunct="1">
              <a:spcBef>
                <a:spcPts val="300"/>
              </a:spcBef>
              <a:buSzPct val="100000"/>
              <a:buNone/>
            </a:pPr>
            <a:r>
              <a:rPr lang="ru-RU" sz="1400" b="1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- Лопасти</a:t>
            </a: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 (сотрудничество с</a:t>
            </a:r>
            <a:r>
              <a:rPr lang="en-US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 </a:t>
            </a:r>
            <a:r>
              <a:rPr lang="ru-RU" sz="1400" kern="0" dirty="0" err="1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Юмат</a:t>
            </a:r>
            <a:r>
              <a:rPr lang="ru-RU" sz="1400" kern="0" dirty="0" err="1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екс</a:t>
            </a: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), </a:t>
            </a:r>
            <a:endParaRPr lang="ru-RU" sz="1400" kern="0" dirty="0">
              <a:solidFill>
                <a:schemeClr val="accent6"/>
              </a:solidFill>
              <a:latin typeface="Yu Gothic UI Light" panose="020B0604020202020204" charset="-128"/>
              <a:ea typeface="Yu Gothic UI Light" panose="020B0604020202020204" charset="-128"/>
            </a:endParaRPr>
          </a:p>
          <a:p>
            <a:pPr marL="336550" lvl="3" indent="0" hangingPunct="1">
              <a:spcBef>
                <a:spcPts val="300"/>
              </a:spcBef>
              <a:buSzPct val="100000"/>
              <a:buNone/>
            </a:pP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- </a:t>
            </a:r>
            <a:r>
              <a:rPr lang="ru-RU" sz="1400" b="1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Литье</a:t>
            </a: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 </a:t>
            </a:r>
            <a:r>
              <a:rPr lang="ru-RU" sz="1400" kern="0" dirty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(сотрудничество  с </a:t>
            </a:r>
            <a:r>
              <a:rPr lang="ru-RU" sz="1400" kern="0" dirty="0" err="1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АЭМ</a:t>
            </a:r>
            <a:r>
              <a:rPr lang="ru-RU" sz="1400" kern="0" dirty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), </a:t>
            </a:r>
          </a:p>
          <a:p>
            <a:pPr marL="336550" lvl="3" indent="0" hangingPunct="1">
              <a:spcBef>
                <a:spcPts val="300"/>
              </a:spcBef>
              <a:buSzPct val="100000"/>
              <a:buNone/>
            </a:pP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- </a:t>
            </a:r>
            <a:r>
              <a:rPr lang="ru-RU" sz="1400" b="1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Трансформаторы</a:t>
            </a:r>
            <a:r>
              <a:rPr lang="ru-RU" sz="1400" kern="0" dirty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, </a:t>
            </a:r>
            <a:r>
              <a:rPr lang="ru-RU" sz="1400" b="1" kern="0" dirty="0" err="1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преобразова</a:t>
            </a:r>
            <a:r>
              <a:rPr lang="en-US" sz="1400" b="1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-</a:t>
            </a:r>
            <a:r>
              <a:rPr lang="ru-RU" sz="1400" b="1" kern="0" dirty="0" err="1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тели</a:t>
            </a:r>
            <a:r>
              <a:rPr lang="ru-RU" sz="1400" b="1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 </a:t>
            </a:r>
            <a:r>
              <a:rPr lang="ru-RU" sz="1400" b="1" kern="0" dirty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тока</a:t>
            </a:r>
            <a:r>
              <a:rPr lang="ru-RU" sz="1400" kern="0" dirty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, прочие компоненты</a:t>
            </a:r>
          </a:p>
        </p:txBody>
      </p:sp>
      <p:sp>
        <p:nvSpPr>
          <p:cNvPr id="168" name="Объект 2"/>
          <p:cNvSpPr txBox="1">
            <a:spLocks/>
          </p:cNvSpPr>
          <p:nvPr/>
        </p:nvSpPr>
        <p:spPr>
          <a:xfrm>
            <a:off x="5024217" y="2314663"/>
            <a:ext cx="3452360" cy="3913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4"/>
              </a:buBlip>
              <a:defRPr kumimoji="1" sz="16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5"/>
              </a:buBlip>
              <a:defRPr kumimoji="1" sz="14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5"/>
              </a:buBlip>
              <a:defRPr kumimoji="1" sz="22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+mn-lt"/>
                <a:ea typeface="Arial" charset="0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2" indent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SzPct val="100000"/>
              <a:buNone/>
            </a:pPr>
            <a:r>
              <a:rPr lang="ru-RU" sz="1400" kern="0" dirty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Производство </a:t>
            </a:r>
            <a:r>
              <a:rPr lang="ru-RU" sz="1400" b="1" kern="0" dirty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башен</a:t>
            </a:r>
            <a:r>
              <a:rPr lang="ru-RU" sz="1400" kern="0" dirty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 (собственное производство в </a:t>
            </a: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Волгодонске</a:t>
            </a:r>
            <a:r>
              <a:rPr lang="en-US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 c 2019 </a:t>
            </a:r>
            <a:r>
              <a:rPr lang="ru-RU" sz="1400" kern="0" dirty="0" smtClean="0">
                <a:solidFill>
                  <a:schemeClr val="accent6"/>
                </a:solidFill>
                <a:latin typeface="Yu Gothic UI Light" panose="020B0604020202020204" charset="-128"/>
                <a:ea typeface="Yu Gothic UI Light" panose="020B0604020202020204" charset="-128"/>
              </a:rPr>
              <a:t>года)</a:t>
            </a:r>
            <a:endParaRPr lang="ru-RU" sz="1400" kern="0" dirty="0">
              <a:solidFill>
                <a:schemeClr val="accent6"/>
              </a:solidFill>
              <a:latin typeface="Yu Gothic UI Light" panose="020B0604020202020204" charset="-128"/>
              <a:ea typeface="Yu Gothic UI Light" panose="020B0604020202020204" charset="-128"/>
            </a:endParaRPr>
          </a:p>
        </p:txBody>
      </p:sp>
      <p:sp>
        <p:nvSpPr>
          <p:cNvPr id="169" name="Rectangle 122"/>
          <p:cNvSpPr/>
          <p:nvPr/>
        </p:nvSpPr>
        <p:spPr>
          <a:xfrm>
            <a:off x="3923928" y="4155926"/>
            <a:ext cx="4653001" cy="37663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accent3"/>
                </a:solidFill>
                <a:latin typeface="Yu Gothic UI Light" panose="020B0604020202020204" charset="-128"/>
                <a:ea typeface="Yu Gothic UI Light" panose="020B0604020202020204" charset="-128"/>
              </a:rPr>
              <a:t>Цель: выход на внешние рынки с собственным продуктом</a:t>
            </a:r>
            <a:endParaRPr lang="ru-RU" sz="1400" b="1" dirty="0">
              <a:solidFill>
                <a:schemeClr val="accent3"/>
              </a:solidFill>
              <a:latin typeface="Yu Gothic UI Light" panose="020B0604020202020204" charset="-128"/>
              <a:ea typeface="Yu Gothic UI Light" panose="020B0604020202020204" charset="-128"/>
            </a:endParaRPr>
          </a:p>
        </p:txBody>
      </p:sp>
      <p:sp>
        <p:nvSpPr>
          <p:cNvPr id="8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4836319"/>
            <a:ext cx="627062" cy="283369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latin typeface="Arial Narrow" panose="020B0606020202030204" pitchFamily="34" charset="0"/>
              </a:rPr>
              <a:t>4</a:t>
            </a:r>
            <a:endParaRPr lang="ru-RU" dirty="0" smtClean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3628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ИЭ как элемент достижения показателей снижения выбросов парниковых газов</a:t>
            </a:r>
            <a:endParaRPr lang="ru-RU" dirty="0"/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14802883"/>
              </p:ext>
            </p:extLst>
          </p:nvPr>
        </p:nvGraphicFramePr>
        <p:xfrm>
          <a:off x="304219" y="869884"/>
          <a:ext cx="3672408" cy="21062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4836319"/>
            <a:ext cx="627062" cy="283369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latin typeface="Arial Narrow" panose="020B0606020202030204" pitchFamily="34" charset="0"/>
              </a:rPr>
              <a:t>5</a:t>
            </a:r>
            <a:endParaRPr lang="ru-RU" dirty="0" smtClean="0">
              <a:latin typeface="Arial Narrow" panose="020B0606020202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5536" y="3661380"/>
            <a:ext cx="8453601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 Narrow"/>
                <a:cs typeface="Arial Narrow"/>
              </a:rPr>
              <a:t>Крупные компании, включая </a:t>
            </a:r>
            <a:r>
              <a:rPr lang="ru-RU" dirty="0" err="1" smtClean="0">
                <a:latin typeface="Arial Narrow"/>
                <a:cs typeface="Arial Narrow"/>
              </a:rPr>
              <a:t>госкорпорации</a:t>
            </a:r>
            <a:r>
              <a:rPr lang="ru-RU" dirty="0" smtClean="0">
                <a:latin typeface="Arial Narrow"/>
                <a:cs typeface="Arial Narrow"/>
              </a:rPr>
              <a:t>, должны стать лидерами в реализации системы учета и сокращения выбросов парниковых газов </a:t>
            </a:r>
          </a:p>
          <a:p>
            <a:r>
              <a:rPr lang="ru-RU" dirty="0" smtClean="0">
                <a:latin typeface="Arial Narrow"/>
                <a:cs typeface="Arial Narrow"/>
              </a:rPr>
              <a:t>ВИЭ может стать одним из ключевых элементов достижения целей Парижского соглашения</a:t>
            </a:r>
            <a:endParaRPr lang="ru-RU" dirty="0">
              <a:latin typeface="Arial Narrow"/>
              <a:cs typeface="Arial Narrow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77969" y="1399223"/>
            <a:ext cx="47525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>
                <a:latin typeface="Arial Narrow"/>
                <a:cs typeface="Arial Narrow"/>
              </a:rPr>
              <a:t>национального плана по </a:t>
            </a:r>
            <a:r>
              <a:rPr lang="ru-RU" dirty="0">
                <a:latin typeface="Arial Narrow"/>
                <a:cs typeface="Arial Narrow"/>
              </a:rPr>
              <a:t>сокращению </a:t>
            </a:r>
            <a:r>
              <a:rPr lang="ru-RU" dirty="0" smtClean="0">
                <a:latin typeface="Arial Narrow"/>
                <a:cs typeface="Arial Narrow"/>
              </a:rPr>
              <a:t>выбросов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>
                <a:latin typeface="Arial Narrow"/>
                <a:cs typeface="Arial Narrow"/>
              </a:rPr>
              <a:t>стратегии </a:t>
            </a:r>
            <a:r>
              <a:rPr lang="ru-RU" dirty="0">
                <a:latin typeface="Arial Narrow"/>
                <a:cs typeface="Arial Narrow"/>
              </a:rPr>
              <a:t>долгосрочного развития с низким уровнем выбросов парниковых газов до 2050 года </a:t>
            </a:r>
            <a:endParaRPr lang="ru-RU" dirty="0" smtClean="0">
              <a:latin typeface="Arial Narrow"/>
              <a:cs typeface="Arial Narrow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>
                <a:latin typeface="Arial Narrow"/>
                <a:cs typeface="Arial Narrow"/>
              </a:rPr>
              <a:t>модели </a:t>
            </a:r>
            <a:r>
              <a:rPr lang="ru-RU" dirty="0">
                <a:latin typeface="Arial Narrow"/>
                <a:cs typeface="Arial Narrow"/>
              </a:rPr>
              <a:t>государственного регулирования выбросов парниковых </a:t>
            </a:r>
            <a:r>
              <a:rPr lang="ru-RU" dirty="0" smtClean="0">
                <a:latin typeface="Arial Narrow"/>
                <a:cs typeface="Arial Narrow"/>
              </a:rPr>
              <a:t>газов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>
                <a:latin typeface="Arial Narrow"/>
                <a:cs typeface="Arial Narrow"/>
              </a:rPr>
              <a:t>системы </a:t>
            </a:r>
            <a:r>
              <a:rPr lang="ru-RU" dirty="0">
                <a:latin typeface="Arial Narrow"/>
                <a:cs typeface="Arial Narrow"/>
              </a:rPr>
              <a:t>финансовой поддержки «зеленых» </a:t>
            </a:r>
            <a:r>
              <a:rPr lang="ru-RU" dirty="0" smtClean="0">
                <a:latin typeface="Arial Narrow"/>
                <a:cs typeface="Arial Narrow"/>
              </a:rPr>
              <a:t>проектов</a:t>
            </a:r>
            <a:endParaRPr lang="ru-RU" dirty="0">
              <a:latin typeface="Arial Narrow"/>
              <a:cs typeface="Arial Narrow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431539" y="2553385"/>
            <a:ext cx="245388" cy="733663"/>
          </a:xfrm>
          <a:prstGeom prst="rightArrow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4393993" y="869884"/>
            <a:ext cx="4320480" cy="463985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bg1"/>
                </a:solidFill>
                <a:latin typeface="Arial Narrow"/>
                <a:cs typeface="Arial Narrow"/>
              </a:rPr>
              <a:t>В настоящее время в России ведется разработка</a:t>
            </a:r>
            <a:r>
              <a:rPr lang="ru-RU" sz="1600" dirty="0">
                <a:solidFill>
                  <a:schemeClr val="bg1"/>
                </a:solidFill>
              </a:rPr>
              <a:t>: </a:t>
            </a:r>
          </a:p>
        </p:txBody>
      </p:sp>
    </p:spTree>
    <p:extLst>
      <p:ext uri="{BB962C8B-B14F-4D97-AF65-F5344CB8AC3E}">
        <p14:creationId xmlns:p14="http://schemas.microsoft.com/office/powerpoint/2010/main" val="3710714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звитие экологически ответственного бизнес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4836319"/>
            <a:ext cx="627062" cy="283369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latin typeface="Arial Narrow" panose="020B0606020202030204" pitchFamily="34" charset="0"/>
              </a:rPr>
              <a:t>6</a:t>
            </a:r>
            <a:endParaRPr lang="ru-RU" dirty="0" smtClean="0"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283968" y="2571750"/>
            <a:ext cx="468052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ru-RU" sz="1600" dirty="0" smtClean="0"/>
              <a:t>подготовка </a:t>
            </a:r>
            <a:r>
              <a:rPr lang="ru-RU" sz="1600" dirty="0"/>
              <a:t>публичной нефинансовой </a:t>
            </a:r>
            <a:r>
              <a:rPr lang="ru-RU" sz="1600" dirty="0" smtClean="0"/>
              <a:t>отчетности</a:t>
            </a:r>
            <a:endParaRPr lang="ru-RU" sz="1600" dirty="0"/>
          </a:p>
          <a:p>
            <a:pPr marL="285750" indent="-285750">
              <a:buFont typeface="Wingdings" charset="2"/>
              <a:buChar char="§"/>
            </a:pPr>
            <a:r>
              <a:rPr lang="ru-RU" sz="1600" dirty="0" smtClean="0"/>
              <a:t>создание </a:t>
            </a:r>
            <a:r>
              <a:rPr lang="ru-RU" sz="1600" dirty="0"/>
              <a:t>внутрикорпоративных систем сбора данных </a:t>
            </a:r>
            <a:r>
              <a:rPr lang="ru-RU" sz="1600" dirty="0" smtClean="0"/>
              <a:t>о выбросах и  </a:t>
            </a:r>
            <a:r>
              <a:rPr lang="ru-RU" sz="1600" dirty="0"/>
              <a:t>«углеродном следе</a:t>
            </a:r>
            <a:r>
              <a:rPr lang="ru-RU" sz="1600" dirty="0" smtClean="0"/>
              <a:t>» и мер по сокращению выбросов</a:t>
            </a:r>
          </a:p>
          <a:p>
            <a:pPr marL="285750" indent="-285750">
              <a:buFont typeface="Wingdings" charset="2"/>
              <a:buChar char="§"/>
            </a:pPr>
            <a:r>
              <a:rPr lang="ru-RU" sz="1600" dirty="0"/>
              <a:t>у</a:t>
            </a:r>
            <a:r>
              <a:rPr lang="ru-RU" sz="1600" dirty="0" smtClean="0"/>
              <a:t>довлетворение </a:t>
            </a:r>
            <a:r>
              <a:rPr lang="ru-RU" sz="1600" dirty="0"/>
              <a:t>спроса социально ответственного бизнеса </a:t>
            </a:r>
            <a:r>
              <a:rPr lang="ru-RU" sz="1600" dirty="0" smtClean="0"/>
              <a:t>на «зеленую» энергию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68313" y="1256444"/>
            <a:ext cx="662495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charset="2"/>
              <a:buChar char="§"/>
            </a:pPr>
            <a:r>
              <a:rPr lang="ru-RU" dirty="0" smtClean="0"/>
              <a:t>Приоритет вопросов экологии и сохранности экосистемы</a:t>
            </a:r>
          </a:p>
          <a:p>
            <a:pPr marL="285750" indent="-285750">
              <a:buFont typeface="Wingdings" charset="2"/>
              <a:buChar char="§"/>
            </a:pPr>
            <a:r>
              <a:rPr lang="ru-RU" dirty="0"/>
              <a:t>П</a:t>
            </a:r>
            <a:r>
              <a:rPr lang="ru-RU" dirty="0" smtClean="0"/>
              <a:t>ринцип эквивалентного обмена с природой</a:t>
            </a:r>
          </a:p>
          <a:p>
            <a:pPr marL="285750" indent="-285750">
              <a:buFont typeface="Wingdings" charset="2"/>
              <a:buChar char="§"/>
            </a:pP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755576" y="824396"/>
            <a:ext cx="5144294" cy="36933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FFFF"/>
                </a:solidFill>
              </a:rPr>
              <a:t>Ключевые составляющие «зеленого» бизнеса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27984" y="2139702"/>
            <a:ext cx="4032448" cy="369332"/>
          </a:xfrm>
          <a:prstGeom prst="rect">
            <a:avLst/>
          </a:prstGeom>
          <a:solidFill>
            <a:srgbClr val="002060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Направления работ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4" name="Изображение 13"/>
          <p:cNvPicPr>
            <a:picLocks noChangeAspect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2000"/>
                    </a14:imgEffect>
                    <a14:imgEffect>
                      <a14:colorTemperature colorTemp="6609"/>
                    </a14:imgEffect>
                    <a14:imgEffect>
                      <a14:saturation sat="135000"/>
                    </a14:imgEffect>
                    <a14:imgEffect>
                      <a14:brightnessContrast bright="30000" contrast="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600" y="2409732"/>
            <a:ext cx="2880320" cy="1728192"/>
          </a:xfrm>
          <a:prstGeom prst="ellipse">
            <a:avLst/>
          </a:prstGeom>
          <a:ln w="63500" cap="rnd">
            <a:noFill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0096531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2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5F&quot; g=&quot;5F&quot; b=&quot;5F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6mXniqT3ue0kdA48QRIQ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b-default 7">
    <a:dk1>
      <a:srgbClr val="414142"/>
    </a:dk1>
    <a:lt1>
      <a:srgbClr val="FFFFFF"/>
    </a:lt1>
    <a:dk2>
      <a:srgbClr val="003274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706</TotalTime>
  <Words>529</Words>
  <Application>Microsoft Office PowerPoint</Application>
  <PresentationFormat>Экран (16:9)</PresentationFormat>
  <Paragraphs>112</Paragraphs>
  <Slides>7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1" baseType="lpstr">
      <vt:lpstr>b-default</vt:lpstr>
      <vt:lpstr>2_b-default</vt:lpstr>
      <vt:lpstr>3_b-default</vt:lpstr>
      <vt:lpstr>think-cell Slide</vt:lpstr>
      <vt:lpstr>Презентация PowerPoint</vt:lpstr>
      <vt:lpstr>Госкорпорация «Росатом» в лице АО «НоваВинд» участвует в создании в России новой отрасли – ветроэнергетики</vt:lpstr>
      <vt:lpstr>Масштабная программа локализации производства и строительства ветроэлектростанций</vt:lpstr>
      <vt:lpstr>В декабре 2016 г. выбран технологический партнер АО «НоваВинд» - голландская компания Lagerwey</vt:lpstr>
      <vt:lpstr>Требования по локализации – дополнительные возможности для российской энергетической отрасли</vt:lpstr>
      <vt:lpstr>ВИЭ как элемент достижения показателей снижения выбросов парниковых газов</vt:lpstr>
      <vt:lpstr>Развитие экологически ответственного бизнеса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Родионов</dc:creator>
  <cp:lastModifiedBy>User</cp:lastModifiedBy>
  <cp:revision>1977</cp:revision>
  <cp:lastPrinted>2018-03-20T12:52:55Z</cp:lastPrinted>
  <dcterms:created xsi:type="dcterms:W3CDTF">2011-08-02T09:38:54Z</dcterms:created>
  <dcterms:modified xsi:type="dcterms:W3CDTF">2018-03-21T15:27:50Z</dcterms:modified>
</cp:coreProperties>
</file>